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ink/ink40.xml" ContentType="application/inkml+xml"/>
  <Override PartName="/ppt/ink/ink41.xml" ContentType="application/inkml+xml"/>
  <Override PartName="/ppt/ink/ink42.xml" ContentType="application/inkml+xml"/>
  <Override PartName="/ppt/ink/ink43.xml" ContentType="application/inkml+xml"/>
  <Override PartName="/ppt/ink/ink44.xml" ContentType="application/inkml+xml"/>
  <Override PartName="/ppt/ink/ink45.xml" ContentType="application/inkml+xml"/>
  <Override PartName="/ppt/ink/ink46.xml" ContentType="application/inkml+xml"/>
  <Override PartName="/ppt/ink/ink47.xml" ContentType="application/inkml+xml"/>
  <Override PartName="/ppt/ink/ink48.xml" ContentType="application/inkml+xml"/>
  <Override PartName="/ppt/ink/ink49.xml" ContentType="application/inkml+xml"/>
  <Override PartName="/ppt/ink/ink50.xml" ContentType="application/inkml+xml"/>
  <Override PartName="/ppt/ink/ink51.xml" ContentType="application/inkml+xml"/>
  <Override PartName="/ppt/ink/ink52.xml" ContentType="application/inkml+xml"/>
  <Override PartName="/ppt/ink/ink53.xml" ContentType="application/inkml+xml"/>
  <Override PartName="/ppt/ink/ink54.xml" ContentType="application/inkml+xml"/>
  <Override PartName="/ppt/ink/ink55.xml" ContentType="application/inkml+xml"/>
  <Override PartName="/ppt/ink/ink56.xml" ContentType="application/inkml+xml"/>
  <Override PartName="/ppt/ink/ink57.xml" ContentType="application/inkml+xml"/>
  <Override PartName="/ppt/ink/ink58.xml" ContentType="application/inkml+xml"/>
  <Override PartName="/ppt/ink/ink59.xml" ContentType="application/inkml+xml"/>
  <Override PartName="/ppt/ink/ink60.xml" ContentType="application/inkml+xml"/>
  <Override PartName="/ppt/ink/ink61.xml" ContentType="application/inkml+xml"/>
  <Override PartName="/ppt/ink/ink62.xml" ContentType="application/inkml+xml"/>
  <Override PartName="/ppt/ink/ink63.xml" ContentType="application/inkml+xml"/>
  <Override PartName="/ppt/ink/ink64.xml" ContentType="application/inkml+xml"/>
  <Override PartName="/ppt/ink/ink65.xml" ContentType="application/inkml+xml"/>
  <Override PartName="/ppt/ink/ink66.xml" ContentType="application/inkml+xml"/>
  <Override PartName="/ppt/ink/ink67.xml" ContentType="application/inkml+xml"/>
  <Override PartName="/ppt/ink/ink68.xml" ContentType="application/inkml+xml"/>
  <Override PartName="/ppt/ink/ink69.xml" ContentType="application/inkml+xml"/>
  <Override PartName="/ppt/ink/ink70.xml" ContentType="application/inkml+xml"/>
  <Override PartName="/ppt/ink/ink71.xml" ContentType="application/inkml+xml"/>
  <Override PartName="/ppt/ink/ink72.xml" ContentType="application/inkml+xml"/>
  <Override PartName="/ppt/ink/ink73.xml" ContentType="application/inkml+xml"/>
  <Override PartName="/ppt/ink/ink74.xml" ContentType="application/inkml+xml"/>
  <Override PartName="/ppt/ink/ink75.xml" ContentType="application/inkml+xml"/>
  <Override PartName="/ppt/ink/ink76.xml" ContentType="application/inkml+xml"/>
  <Override PartName="/ppt/ink/ink77.xml" ContentType="application/inkml+xml"/>
  <Override PartName="/ppt/ink/ink78.xml" ContentType="application/inkml+xml"/>
  <Override PartName="/ppt/ink/ink79.xml" ContentType="application/inkml+xml"/>
  <Override PartName="/ppt/ink/ink80.xml" ContentType="application/inkml+xml"/>
  <Override PartName="/ppt/ink/ink81.xml" ContentType="application/inkml+xml"/>
  <Override PartName="/ppt/ink/ink82.xml" ContentType="application/inkml+xml"/>
  <Override PartName="/ppt/ink/ink83.xml" ContentType="application/inkml+xml"/>
  <Override PartName="/ppt/ink/ink84.xml" ContentType="application/inkml+xml"/>
  <Override PartName="/ppt/ink/ink85.xml" ContentType="application/inkml+xml"/>
  <Override PartName="/ppt/ink/ink86.xml" ContentType="application/inkml+xml"/>
  <Override PartName="/ppt/ink/ink87.xml" ContentType="application/inkml+xml"/>
  <Override PartName="/ppt/ink/ink88.xml" ContentType="application/inkml+xml"/>
  <Override PartName="/ppt/ink/ink89.xml" ContentType="application/inkml+xml"/>
  <Override PartName="/ppt/ink/ink90.xml" ContentType="application/inkml+xml"/>
  <Override PartName="/ppt/ink/ink91.xml" ContentType="application/inkml+xml"/>
  <Override PartName="/ppt/ink/ink92.xml" ContentType="application/inkml+xml"/>
  <Override PartName="/ppt/ink/ink93.xml" ContentType="application/inkml+xml"/>
  <Override PartName="/ppt/ink/ink94.xml" ContentType="application/inkml+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ink/ink95.xml" ContentType="application/inkml+xml"/>
  <Override PartName="/ppt/ink/ink96.xml" ContentType="application/inkml+xml"/>
  <Override PartName="/ppt/ink/ink97.xml" ContentType="application/inkml+xml"/>
  <Override PartName="/ppt/ink/ink98.xml" ContentType="application/inkml+xml"/>
  <Override PartName="/ppt/ink/ink99.xml" ContentType="application/inkml+xml"/>
  <Override PartName="/ppt/ink/ink100.xml" ContentType="application/inkml+xml"/>
  <Override PartName="/ppt/ink/ink101.xml" ContentType="application/inkml+xml"/>
  <Override PartName="/ppt/ink/ink102.xml" ContentType="application/inkml+xml"/>
  <Override PartName="/ppt/ink/ink103.xml" ContentType="application/inkml+xml"/>
  <Override PartName="/ppt/ink/ink104.xml" ContentType="application/inkml+xml"/>
  <Override PartName="/ppt/ink/ink105.xml" ContentType="application/inkml+xml"/>
  <Override PartName="/ppt/ink/ink106.xml" ContentType="application/inkml+xml"/>
  <Override PartName="/ppt/ink/ink107.xml" ContentType="application/inkml+xml"/>
  <Override PartName="/ppt/ink/ink108.xml" ContentType="application/inkml+xml"/>
  <Override PartName="/ppt/ink/ink109.xml" ContentType="application/inkml+xml"/>
  <Override PartName="/ppt/ink/ink110.xml" ContentType="application/inkml+xml"/>
  <Override PartName="/ppt/ink/ink111.xml" ContentType="application/inkml+xml"/>
  <Override PartName="/ppt/ink/ink112.xml" ContentType="application/inkml+xml"/>
  <Override PartName="/ppt/ink/ink113.xml" ContentType="application/inkml+xml"/>
  <Override PartName="/ppt/ink/ink114.xml" ContentType="application/inkml+xml"/>
  <Override PartName="/ppt/ink/ink115.xml" ContentType="application/inkml+xml"/>
  <Override PartName="/ppt/ink/ink116.xml" ContentType="application/inkml+xml"/>
  <Override PartName="/ppt/ink/ink117.xml" ContentType="application/inkml+xml"/>
  <Override PartName="/ppt/ink/ink118.xml" ContentType="application/inkml+xml"/>
  <Override PartName="/ppt/ink/ink119.xml" ContentType="application/inkml+xml"/>
  <Override PartName="/ppt/ink/ink120.xml" ContentType="application/inkml+xml"/>
  <Override PartName="/ppt/ink/ink121.xml" ContentType="application/inkml+xml"/>
  <Override PartName="/ppt/ink/ink122.xml" ContentType="application/inkml+xml"/>
  <Override PartName="/ppt/ink/ink123.xml" ContentType="application/inkml+xml"/>
  <Override PartName="/ppt/ink/ink124.xml" ContentType="application/inkml+xml"/>
  <Override PartName="/ppt/ink/ink125.xml" ContentType="application/inkml+xml"/>
  <Override PartName="/ppt/ink/ink126.xml" ContentType="application/inkml+xml"/>
  <Override PartName="/ppt/ink/ink127.xml" ContentType="application/inkml+xml"/>
  <Override PartName="/ppt/ink/ink128.xml" ContentType="application/inkml+xml"/>
  <Override PartName="/ppt/ink/ink129.xml" ContentType="application/inkml+xml"/>
  <Override PartName="/ppt/ink/ink130.xml" ContentType="application/inkml+xml"/>
  <Override PartName="/ppt/ink/ink131.xml" ContentType="application/inkml+xml"/>
  <Override PartName="/ppt/ink/ink132.xml" ContentType="application/inkml+xml"/>
  <Override PartName="/ppt/ink/ink133.xml" ContentType="application/inkml+xml"/>
  <Override PartName="/ppt/ink/ink134.xml" ContentType="application/inkml+xml"/>
  <Override PartName="/ppt/ink/ink135.xml" ContentType="application/inkml+xml"/>
  <Override PartName="/ppt/ink/ink136.xml" ContentType="application/inkml+xml"/>
  <Override PartName="/ppt/ink/ink137.xml" ContentType="application/inkml+xml"/>
  <Override PartName="/ppt/ink/ink138.xml" ContentType="application/inkml+xml"/>
  <Override PartName="/ppt/ink/ink139.xml" ContentType="application/inkml+xml"/>
  <Override PartName="/ppt/ink/ink140.xml" ContentType="application/inkml+xml"/>
  <Override PartName="/ppt/ink/ink141.xml" ContentType="application/inkml+xml"/>
  <Override PartName="/ppt/ink/ink142.xml" ContentType="application/inkml+xml"/>
  <Override PartName="/ppt/ink/ink143.xml" ContentType="application/inkml+xml"/>
  <Override PartName="/ppt/ink/ink144.xml" ContentType="application/inkml+xml"/>
  <Override PartName="/ppt/ink/ink145.xml" ContentType="application/inkml+xml"/>
  <Override PartName="/ppt/ink/ink146.xml" ContentType="application/inkml+xml"/>
  <Override PartName="/ppt/ink/ink147.xml" ContentType="application/inkml+xml"/>
  <Override PartName="/ppt/ink/ink148.xml" ContentType="application/inkml+xml"/>
  <Override PartName="/ppt/ink/ink149.xml" ContentType="application/inkml+xml"/>
  <Override PartName="/ppt/ink/ink150.xml" ContentType="application/inkml+xml"/>
  <Override PartName="/ppt/ink/ink151.xml" ContentType="application/inkml+xml"/>
  <Override PartName="/ppt/ink/ink152.xml" ContentType="application/inkml+xml"/>
  <Override PartName="/ppt/ink/ink153.xml" ContentType="application/inkml+xml"/>
  <Override PartName="/ppt/ink/ink154.xml" ContentType="application/inkml+xml"/>
  <Override PartName="/ppt/ink/ink155.xml" ContentType="application/inkml+xml"/>
  <Override PartName="/ppt/ink/ink156.xml" ContentType="application/inkml+xml"/>
  <Override PartName="/ppt/ink/ink157.xml" ContentType="application/inkml+xml"/>
  <Override PartName="/ppt/ink/ink158.xml" ContentType="application/inkml+xml"/>
  <Override PartName="/ppt/ink/ink159.xml" ContentType="application/inkml+xml"/>
  <Override PartName="/ppt/ink/ink160.xml" ContentType="application/inkml+xml"/>
  <Override PartName="/ppt/ink/ink161.xml" ContentType="application/inkml+xml"/>
  <Override PartName="/ppt/ink/ink162.xml" ContentType="application/inkml+xml"/>
  <Override PartName="/ppt/ink/ink163.xml" ContentType="application/inkml+xml"/>
  <Override PartName="/ppt/ink/ink164.xml" ContentType="application/inkml+xml"/>
  <Override PartName="/ppt/ink/ink165.xml" ContentType="application/inkml+xml"/>
  <Override PartName="/ppt/ink/ink166.xml" ContentType="application/inkml+xml"/>
  <Override PartName="/ppt/ink/ink167.xml" ContentType="application/inkml+xml"/>
  <Override PartName="/ppt/ink/ink168.xml" ContentType="application/inkml+xml"/>
  <Override PartName="/ppt/ink/ink169.xml" ContentType="application/inkml+xml"/>
  <Override PartName="/ppt/ink/ink170.xml" ContentType="application/inkml+xml"/>
  <Override PartName="/ppt/ink/ink171.xml" ContentType="application/inkml+xml"/>
  <Override PartName="/ppt/ink/ink172.xml" ContentType="application/inkml+xml"/>
  <Override PartName="/ppt/ink/ink173.xml" ContentType="application/inkml+xml"/>
  <Override PartName="/ppt/notesSlides/notesSlide7.xml" ContentType="application/vnd.openxmlformats-officedocument.presentationml.notesSlide+xml"/>
  <Override PartName="/ppt/ink/ink174.xml" ContentType="application/inkml+xml"/>
  <Override PartName="/ppt/ink/ink175.xml" ContentType="application/inkml+xml"/>
  <Override PartName="/ppt/ink/ink176.xml" ContentType="application/inkml+xml"/>
  <Override PartName="/ppt/ink/ink177.xml" ContentType="application/inkml+xml"/>
  <Override PartName="/ppt/ink/ink178.xml" ContentType="application/inkml+xml"/>
  <Override PartName="/ppt/ink/ink179.xml" ContentType="application/inkml+xml"/>
  <Override PartName="/ppt/ink/ink180.xml" ContentType="application/inkml+xml"/>
  <Override PartName="/ppt/ink/ink181.xml" ContentType="application/inkml+xml"/>
  <Override PartName="/ppt/ink/ink182.xml" ContentType="application/inkml+xml"/>
  <Override PartName="/ppt/ink/ink183.xml" ContentType="application/inkml+xml"/>
  <Override PartName="/ppt/ink/ink184.xml" ContentType="application/inkml+xml"/>
  <Override PartName="/ppt/ink/ink185.xml" ContentType="application/inkml+xml"/>
  <Override PartName="/ppt/ink/ink186.xml" ContentType="application/inkml+xml"/>
  <Override PartName="/ppt/ink/ink187.xml" ContentType="application/inkml+xml"/>
  <Override PartName="/ppt/ink/ink188.xml" ContentType="application/inkml+xml"/>
  <Override PartName="/ppt/ink/ink189.xml" ContentType="application/inkml+xml"/>
  <Override PartName="/ppt/ink/ink190.xml" ContentType="application/inkml+xml"/>
  <Override PartName="/ppt/ink/ink191.xml" ContentType="application/inkml+xml"/>
  <Override PartName="/ppt/ink/ink192.xml" ContentType="application/inkml+xml"/>
  <Override PartName="/ppt/ink/ink193.xml" ContentType="application/inkml+xml"/>
  <Override PartName="/ppt/ink/ink194.xml" ContentType="application/inkml+xml"/>
  <Override PartName="/ppt/ink/ink195.xml" ContentType="application/inkml+xml"/>
  <Override PartName="/ppt/ink/ink196.xml" ContentType="application/inkml+xml"/>
  <Override PartName="/ppt/ink/ink197.xml" ContentType="application/inkml+xml"/>
  <Override PartName="/ppt/ink/ink198.xml" ContentType="application/inkml+xml"/>
  <Override PartName="/ppt/ink/ink199.xml" ContentType="application/inkml+xml"/>
  <Override PartName="/ppt/ink/ink200.xml" ContentType="application/inkml+xml"/>
  <Override PartName="/ppt/ink/ink201.xml" ContentType="application/inkml+xml"/>
  <Override PartName="/ppt/ink/ink202.xml" ContentType="application/inkml+xml"/>
  <Override PartName="/ppt/ink/ink203.xml" ContentType="application/inkml+xml"/>
  <Override PartName="/ppt/ink/ink204.xml" ContentType="application/inkml+xml"/>
  <Override PartName="/ppt/notesSlides/notesSlide8.xml" ContentType="application/vnd.openxmlformats-officedocument.presentationml.notesSlide+xml"/>
  <Override PartName="/ppt/ink/ink205.xml" ContentType="application/inkml+xml"/>
  <Override PartName="/ppt/ink/ink206.xml" ContentType="application/inkml+xml"/>
  <Override PartName="/ppt/ink/ink207.xml" ContentType="application/inkml+xml"/>
  <Override PartName="/ppt/ink/ink208.xml" ContentType="application/inkml+xml"/>
  <Override PartName="/ppt/ink/ink209.xml" ContentType="application/inkml+xml"/>
  <Override PartName="/ppt/ink/ink210.xml" ContentType="application/inkml+xml"/>
  <Override PartName="/ppt/ink/ink211.xml" ContentType="application/inkml+xml"/>
  <Override PartName="/ppt/tags/tag9.xml" ContentType="application/vnd.openxmlformats-officedocument.presentationml.tags+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ink/ink212.xml" ContentType="application/inkml+xml"/>
  <Override PartName="/ppt/ink/ink213.xml" ContentType="application/inkml+xml"/>
  <Override PartName="/ppt/ink/ink214.xml" ContentType="application/inkml+xml"/>
  <Override PartName="/ppt/ink/ink215.xml" ContentType="application/inkml+xml"/>
  <Override PartName="/ppt/tags/tag13.xml" ContentType="application/vnd.openxmlformats-officedocument.presentationml.tags+xml"/>
  <Override PartName="/ppt/tags/tag1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4241" r:id="rId1"/>
  </p:sldMasterIdLst>
  <p:notesMasterIdLst>
    <p:notesMasterId r:id="rId242"/>
  </p:notesMasterIdLst>
  <p:handoutMasterIdLst>
    <p:handoutMasterId r:id="rId243"/>
  </p:handoutMasterIdLst>
  <p:sldIdLst>
    <p:sldId id="356" r:id="rId2"/>
    <p:sldId id="357" r:id="rId3"/>
    <p:sldId id="359" r:id="rId4"/>
    <p:sldId id="570" r:id="rId5"/>
    <p:sldId id="360" r:id="rId6"/>
    <p:sldId id="361" r:id="rId7"/>
    <p:sldId id="362" r:id="rId8"/>
    <p:sldId id="376" r:id="rId9"/>
    <p:sldId id="377" r:id="rId10"/>
    <p:sldId id="569" r:id="rId11"/>
    <p:sldId id="363" r:id="rId12"/>
    <p:sldId id="387" r:id="rId13"/>
    <p:sldId id="368" r:id="rId14"/>
    <p:sldId id="386" r:id="rId15"/>
    <p:sldId id="369" r:id="rId16"/>
    <p:sldId id="364" r:id="rId17"/>
    <p:sldId id="365" r:id="rId18"/>
    <p:sldId id="366" r:id="rId19"/>
    <p:sldId id="367" r:id="rId20"/>
    <p:sldId id="374" r:id="rId21"/>
    <p:sldId id="380" r:id="rId22"/>
    <p:sldId id="370" r:id="rId23"/>
    <p:sldId id="371" r:id="rId24"/>
    <p:sldId id="372" r:id="rId25"/>
    <p:sldId id="571" r:id="rId26"/>
    <p:sldId id="373" r:id="rId27"/>
    <p:sldId id="375" r:id="rId28"/>
    <p:sldId id="382" r:id="rId29"/>
    <p:sldId id="383" r:id="rId30"/>
    <p:sldId id="384" r:id="rId31"/>
    <p:sldId id="385" r:id="rId32"/>
    <p:sldId id="388" r:id="rId33"/>
    <p:sldId id="389" r:id="rId34"/>
    <p:sldId id="390" r:id="rId35"/>
    <p:sldId id="391" r:id="rId36"/>
    <p:sldId id="421" r:id="rId37"/>
    <p:sldId id="395" r:id="rId38"/>
    <p:sldId id="392" r:id="rId39"/>
    <p:sldId id="393" r:id="rId40"/>
    <p:sldId id="394" r:id="rId41"/>
    <p:sldId id="396" r:id="rId42"/>
    <p:sldId id="397" r:id="rId43"/>
    <p:sldId id="398" r:id="rId44"/>
    <p:sldId id="399" r:id="rId45"/>
    <p:sldId id="400" r:id="rId46"/>
    <p:sldId id="401" r:id="rId47"/>
    <p:sldId id="402" r:id="rId48"/>
    <p:sldId id="403" r:id="rId49"/>
    <p:sldId id="404" r:id="rId50"/>
    <p:sldId id="405" r:id="rId51"/>
    <p:sldId id="406" r:id="rId52"/>
    <p:sldId id="407" r:id="rId53"/>
    <p:sldId id="408" r:id="rId54"/>
    <p:sldId id="409" r:id="rId55"/>
    <p:sldId id="411" r:id="rId56"/>
    <p:sldId id="412" r:id="rId57"/>
    <p:sldId id="413" r:id="rId58"/>
    <p:sldId id="410" r:id="rId59"/>
    <p:sldId id="414" r:id="rId60"/>
    <p:sldId id="415" r:id="rId61"/>
    <p:sldId id="416" r:id="rId62"/>
    <p:sldId id="417" r:id="rId63"/>
    <p:sldId id="418" r:id="rId64"/>
    <p:sldId id="419" r:id="rId65"/>
    <p:sldId id="420" r:id="rId66"/>
    <p:sldId id="422" r:id="rId67"/>
    <p:sldId id="423" r:id="rId68"/>
    <p:sldId id="424" r:id="rId69"/>
    <p:sldId id="425" r:id="rId70"/>
    <p:sldId id="426" r:id="rId71"/>
    <p:sldId id="427" r:id="rId72"/>
    <p:sldId id="428" r:id="rId73"/>
    <p:sldId id="429" r:id="rId74"/>
    <p:sldId id="430" r:id="rId75"/>
    <p:sldId id="431" r:id="rId76"/>
    <p:sldId id="432" r:id="rId77"/>
    <p:sldId id="433" r:id="rId78"/>
    <p:sldId id="434" r:id="rId79"/>
    <p:sldId id="435" r:id="rId80"/>
    <p:sldId id="436" r:id="rId81"/>
    <p:sldId id="438" r:id="rId82"/>
    <p:sldId id="439" r:id="rId83"/>
    <p:sldId id="440" r:id="rId84"/>
    <p:sldId id="441" r:id="rId85"/>
    <p:sldId id="442" r:id="rId86"/>
    <p:sldId id="443" r:id="rId87"/>
    <p:sldId id="444" r:id="rId88"/>
    <p:sldId id="445" r:id="rId89"/>
    <p:sldId id="446" r:id="rId90"/>
    <p:sldId id="447" r:id="rId91"/>
    <p:sldId id="448" r:id="rId92"/>
    <p:sldId id="449" r:id="rId93"/>
    <p:sldId id="450" r:id="rId94"/>
    <p:sldId id="451" r:id="rId95"/>
    <p:sldId id="452" r:id="rId96"/>
    <p:sldId id="453" r:id="rId97"/>
    <p:sldId id="454" r:id="rId98"/>
    <p:sldId id="455" r:id="rId99"/>
    <p:sldId id="456" r:id="rId100"/>
    <p:sldId id="459" r:id="rId101"/>
    <p:sldId id="460" r:id="rId102"/>
    <p:sldId id="458" r:id="rId103"/>
    <p:sldId id="572" r:id="rId104"/>
    <p:sldId id="573" r:id="rId105"/>
    <p:sldId id="457" r:id="rId106"/>
    <p:sldId id="462" r:id="rId107"/>
    <p:sldId id="463" r:id="rId108"/>
    <p:sldId id="464" r:id="rId109"/>
    <p:sldId id="465" r:id="rId110"/>
    <p:sldId id="466" r:id="rId111"/>
    <p:sldId id="467" r:id="rId112"/>
    <p:sldId id="582" r:id="rId113"/>
    <p:sldId id="468" r:id="rId114"/>
    <p:sldId id="469" r:id="rId115"/>
    <p:sldId id="470" r:id="rId116"/>
    <p:sldId id="471" r:id="rId117"/>
    <p:sldId id="473" r:id="rId118"/>
    <p:sldId id="474" r:id="rId119"/>
    <p:sldId id="475" r:id="rId120"/>
    <p:sldId id="476" r:id="rId121"/>
    <p:sldId id="477" r:id="rId122"/>
    <p:sldId id="478" r:id="rId123"/>
    <p:sldId id="479" r:id="rId124"/>
    <p:sldId id="574" r:id="rId125"/>
    <p:sldId id="575" r:id="rId126"/>
    <p:sldId id="576" r:id="rId127"/>
    <p:sldId id="578" r:id="rId128"/>
    <p:sldId id="579" r:id="rId129"/>
    <p:sldId id="580" r:id="rId130"/>
    <p:sldId id="480" r:id="rId131"/>
    <p:sldId id="481" r:id="rId132"/>
    <p:sldId id="482" r:id="rId133"/>
    <p:sldId id="483" r:id="rId134"/>
    <p:sldId id="484" r:id="rId135"/>
    <p:sldId id="485" r:id="rId136"/>
    <p:sldId id="486" r:id="rId137"/>
    <p:sldId id="487" r:id="rId138"/>
    <p:sldId id="488" r:id="rId139"/>
    <p:sldId id="489" r:id="rId140"/>
    <p:sldId id="490" r:id="rId141"/>
    <p:sldId id="491" r:id="rId142"/>
    <p:sldId id="492" r:id="rId143"/>
    <p:sldId id="493" r:id="rId144"/>
    <p:sldId id="494" r:id="rId145"/>
    <p:sldId id="495" r:id="rId146"/>
    <p:sldId id="496" r:id="rId147"/>
    <p:sldId id="497" r:id="rId148"/>
    <p:sldId id="498" r:id="rId149"/>
    <p:sldId id="499" r:id="rId150"/>
    <p:sldId id="500" r:id="rId151"/>
    <p:sldId id="501" r:id="rId152"/>
    <p:sldId id="581" r:id="rId153"/>
    <p:sldId id="584" r:id="rId154"/>
    <p:sldId id="585" r:id="rId155"/>
    <p:sldId id="586" r:id="rId156"/>
    <p:sldId id="502" r:id="rId157"/>
    <p:sldId id="503" r:id="rId158"/>
    <p:sldId id="504" r:id="rId159"/>
    <p:sldId id="507" r:id="rId160"/>
    <p:sldId id="505" r:id="rId161"/>
    <p:sldId id="506" r:id="rId162"/>
    <p:sldId id="508" r:id="rId163"/>
    <p:sldId id="587" r:id="rId164"/>
    <p:sldId id="589" r:id="rId165"/>
    <p:sldId id="590" r:id="rId166"/>
    <p:sldId id="592" r:id="rId167"/>
    <p:sldId id="593" r:id="rId168"/>
    <p:sldId id="594" r:id="rId169"/>
    <p:sldId id="595" r:id="rId170"/>
    <p:sldId id="591" r:id="rId171"/>
    <p:sldId id="509" r:id="rId172"/>
    <p:sldId id="510" r:id="rId173"/>
    <p:sldId id="511" r:id="rId174"/>
    <p:sldId id="512" r:id="rId175"/>
    <p:sldId id="513" r:id="rId176"/>
    <p:sldId id="514" r:id="rId177"/>
    <p:sldId id="515" r:id="rId178"/>
    <p:sldId id="516" r:id="rId179"/>
    <p:sldId id="517" r:id="rId180"/>
    <p:sldId id="518" r:id="rId181"/>
    <p:sldId id="519" r:id="rId182"/>
    <p:sldId id="520" r:id="rId183"/>
    <p:sldId id="521" r:id="rId184"/>
    <p:sldId id="522" r:id="rId185"/>
    <p:sldId id="523" r:id="rId186"/>
    <p:sldId id="524" r:id="rId187"/>
    <p:sldId id="525" r:id="rId188"/>
    <p:sldId id="526" r:id="rId189"/>
    <p:sldId id="527" r:id="rId190"/>
    <p:sldId id="528" r:id="rId191"/>
    <p:sldId id="596" r:id="rId192"/>
    <p:sldId id="534" r:id="rId193"/>
    <p:sldId id="535" r:id="rId194"/>
    <p:sldId id="536" r:id="rId195"/>
    <p:sldId id="532" r:id="rId196"/>
    <p:sldId id="529" r:id="rId197"/>
    <p:sldId id="583" r:id="rId198"/>
    <p:sldId id="530" r:id="rId199"/>
    <p:sldId id="533" r:id="rId200"/>
    <p:sldId id="537" r:id="rId201"/>
    <p:sldId id="538" r:id="rId202"/>
    <p:sldId id="539" r:id="rId203"/>
    <p:sldId id="540" r:id="rId204"/>
    <p:sldId id="541" r:id="rId205"/>
    <p:sldId id="542" r:id="rId206"/>
    <p:sldId id="543" r:id="rId207"/>
    <p:sldId id="544" r:id="rId208"/>
    <p:sldId id="545" r:id="rId209"/>
    <p:sldId id="546" r:id="rId210"/>
    <p:sldId id="547" r:id="rId211"/>
    <p:sldId id="548" r:id="rId212"/>
    <p:sldId id="549" r:id="rId213"/>
    <p:sldId id="550" r:id="rId214"/>
    <p:sldId id="551" r:id="rId215"/>
    <p:sldId id="552" r:id="rId216"/>
    <p:sldId id="553" r:id="rId217"/>
    <p:sldId id="554" r:id="rId218"/>
    <p:sldId id="555" r:id="rId219"/>
    <p:sldId id="556" r:id="rId220"/>
    <p:sldId id="557" r:id="rId221"/>
    <p:sldId id="558" r:id="rId222"/>
    <p:sldId id="559" r:id="rId223"/>
    <p:sldId id="560" r:id="rId224"/>
    <p:sldId id="561" r:id="rId225"/>
    <p:sldId id="562" r:id="rId226"/>
    <p:sldId id="563" r:id="rId227"/>
    <p:sldId id="564" r:id="rId228"/>
    <p:sldId id="565" r:id="rId229"/>
    <p:sldId id="566" r:id="rId230"/>
    <p:sldId id="567" r:id="rId231"/>
    <p:sldId id="531" r:id="rId232"/>
    <p:sldId id="568" r:id="rId233"/>
    <p:sldId id="379" r:id="rId234"/>
    <p:sldId id="437" r:id="rId235"/>
    <p:sldId id="358" r:id="rId236"/>
    <p:sldId id="597" r:id="rId237"/>
    <p:sldId id="598" r:id="rId238"/>
    <p:sldId id="461" r:id="rId239"/>
    <p:sldId id="472" r:id="rId240"/>
    <p:sldId id="381" r:id="rId241"/>
  </p:sldIdLst>
  <p:sldSz cx="9144000" cy="5143500" type="screen16x9"/>
  <p:notesSz cx="7010400" cy="9296400"/>
  <p:defaultTex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3072">
          <p15:clr>
            <a:srgbClr val="A4A3A4"/>
          </p15:clr>
        </p15:guide>
        <p15:guide id="2" pos="5577">
          <p15:clr>
            <a:srgbClr val="A4A3A4"/>
          </p15:clr>
        </p15:guide>
        <p15:guide id="3" pos="180">
          <p15:clr>
            <a:srgbClr val="A4A3A4"/>
          </p15:clr>
        </p15:guide>
        <p15:guide id="4" orient="horz" pos="167">
          <p15:clr>
            <a:srgbClr val="A4A3A4"/>
          </p15:clr>
        </p15:guide>
        <p15:guide id="5" pos="168">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eah, Beng Mey" initials="CBM" lastIdx="5" clrIdx="0">
    <p:extLst>
      <p:ext uri="{19B8F6BF-5375-455C-9EA6-DF929625EA0E}">
        <p15:presenceInfo xmlns:p15="http://schemas.microsoft.com/office/powerpoint/2012/main" userId="S-1-5-21-1971345664-1559653683-1850952788-208039" providerId="AD"/>
      </p:ext>
    </p:extLst>
  </p:cmAuthor>
  <p:cmAuthor id="2" name="R2, Arun" initials="RA" lastIdx="6" clrIdx="1">
    <p:extLst>
      <p:ext uri="{19B8F6BF-5375-455C-9EA6-DF929625EA0E}">
        <p15:presenceInfo xmlns:p15="http://schemas.microsoft.com/office/powerpoint/2012/main" userId="S::Arun_R2@dell.com::4ce6e22d-8e4c-415a-bdf8-c4b2db8d373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53" autoAdjust="0"/>
    <p:restoredTop sz="94434" autoAdjust="0"/>
  </p:normalViewPr>
  <p:slideViewPr>
    <p:cSldViewPr snapToGrid="0">
      <p:cViewPr varScale="1">
        <p:scale>
          <a:sx n="137" d="100"/>
          <a:sy n="137" d="100"/>
        </p:scale>
        <p:origin x="912" y="96"/>
      </p:cViewPr>
      <p:guideLst>
        <p:guide orient="horz" pos="3072"/>
        <p:guide pos="5577"/>
        <p:guide pos="180"/>
        <p:guide orient="horz" pos="167"/>
        <p:guide pos="168"/>
      </p:guideLst>
    </p:cSldViewPr>
  </p:slideViewPr>
  <p:notesTextViewPr>
    <p:cViewPr>
      <p:scale>
        <a:sx n="3" d="2"/>
        <a:sy n="3" d="2"/>
      </p:scale>
      <p:origin x="0" y="0"/>
    </p:cViewPr>
  </p:notesTextViewPr>
  <p:sorterViewPr>
    <p:cViewPr>
      <p:scale>
        <a:sx n="100" d="100"/>
        <a:sy n="100" d="100"/>
      </p:scale>
      <p:origin x="0" y="-33516"/>
    </p:cViewPr>
  </p:sorterViewPr>
  <p:notesViewPr>
    <p:cSldViewPr snapToGrid="0">
      <p:cViewPr varScale="1">
        <p:scale>
          <a:sx n="66" d="100"/>
          <a:sy n="66" d="100"/>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slide" Target="slides/slide169.xml"/><Relationship Id="rId191" Type="http://schemas.openxmlformats.org/officeDocument/2006/relationships/slide" Target="slides/slide190.xml"/><Relationship Id="rId205" Type="http://schemas.openxmlformats.org/officeDocument/2006/relationships/slide" Target="slides/slide204.xml"/><Relationship Id="rId226" Type="http://schemas.openxmlformats.org/officeDocument/2006/relationships/slide" Target="slides/slide225.xml"/><Relationship Id="rId247" Type="http://schemas.openxmlformats.org/officeDocument/2006/relationships/theme" Target="theme/theme1.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16" Type="http://schemas.openxmlformats.org/officeDocument/2006/relationships/slide" Target="slides/slide215.xml"/><Relationship Id="rId237" Type="http://schemas.openxmlformats.org/officeDocument/2006/relationships/slide" Target="slides/slide236.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227" Type="http://schemas.openxmlformats.org/officeDocument/2006/relationships/slide" Target="slides/slide226.xml"/><Relationship Id="rId248" Type="http://schemas.openxmlformats.org/officeDocument/2006/relationships/tableStyles" Target="tableStyles.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3" Type="http://schemas.openxmlformats.org/officeDocument/2006/relationships/slide" Target="slides/slide22.xml"/><Relationship Id="rId119" Type="http://schemas.openxmlformats.org/officeDocument/2006/relationships/slide" Target="slides/slide118.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13" Type="http://schemas.openxmlformats.org/officeDocument/2006/relationships/slide" Target="slides/slide12.xml"/><Relationship Id="rId109" Type="http://schemas.openxmlformats.org/officeDocument/2006/relationships/slide" Target="slides/slide108.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slide" Target="slides/slide168.xml"/><Relationship Id="rId185" Type="http://schemas.openxmlformats.org/officeDocument/2006/relationships/slide" Target="slides/slide184.xml"/><Relationship Id="rId4" Type="http://schemas.openxmlformats.org/officeDocument/2006/relationships/slide" Target="slides/slide3.xml"/><Relationship Id="rId9" Type="http://schemas.openxmlformats.org/officeDocument/2006/relationships/slide" Target="slides/slide8.xml"/><Relationship Id="rId180" Type="http://schemas.openxmlformats.org/officeDocument/2006/relationships/slide" Target="slides/slide179.xml"/><Relationship Id="rId210" Type="http://schemas.openxmlformats.org/officeDocument/2006/relationships/slide" Target="slides/slide209.xml"/><Relationship Id="rId215" Type="http://schemas.openxmlformats.org/officeDocument/2006/relationships/slide" Target="slides/slide214.xml"/><Relationship Id="rId236" Type="http://schemas.openxmlformats.org/officeDocument/2006/relationships/slide" Target="slides/slide235.xml"/><Relationship Id="rId26" Type="http://schemas.openxmlformats.org/officeDocument/2006/relationships/slide" Target="slides/slide25.xml"/><Relationship Id="rId231" Type="http://schemas.openxmlformats.org/officeDocument/2006/relationships/slide" Target="slides/slide230.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notesMaster" Target="notesMasters/notesMaster1.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handoutMaster" Target="handoutMasters/handoutMaster1.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commentAuthors" Target="commentAuthors.xml"/><Relationship Id="rId18" Type="http://schemas.openxmlformats.org/officeDocument/2006/relationships/slide" Target="slides/slide17.xml"/><Relationship Id="rId39" Type="http://schemas.openxmlformats.org/officeDocument/2006/relationships/slide" Target="slides/slide38.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presProps" Target="presProps.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viewProps" Target="viewProps.xml"/><Relationship Id="rId106" Type="http://schemas.openxmlformats.org/officeDocument/2006/relationships/slide" Target="slides/slide105.xml"/><Relationship Id="rId127" Type="http://schemas.openxmlformats.org/officeDocument/2006/relationships/slide" Target="slides/slide12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7865ABAC-9291-4D87-9512-817B6B64A1EE}" type="datetimeFigureOut">
              <a:rPr lang="en-US" smtClean="0"/>
              <a:t>2/13/2022</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52CBB36E-289C-400C-9E73-A4320D1DC1F4}" type="slidenum">
              <a:rPr lang="en-US" smtClean="0"/>
              <a:t>‹#›</a:t>
            </a:fld>
            <a:endParaRPr lang="en-US"/>
          </a:p>
        </p:txBody>
      </p:sp>
      <p:sp>
        <p:nvSpPr>
          <p:cNvPr id="6" name="fl" descr="                              Dell - Internal Use - Confidential&#10;"/>
          <p:cNvSpPr txBox="1"/>
          <p:nvPr/>
        </p:nvSpPr>
        <p:spPr>
          <a:xfrm>
            <a:off x="0" y="8737600"/>
            <a:ext cx="7010400" cy="592470"/>
          </a:xfrm>
          <a:prstGeom prst="rect">
            <a:avLst/>
          </a:prstGeom>
          <a:noFill/>
        </p:spPr>
        <p:txBody>
          <a:bodyPr vert="horz" rtlCol="0">
            <a:spAutoFit/>
          </a:bodyPr>
          <a:lstStyle/>
          <a:p>
            <a:r>
              <a:rPr lang="en-US" sz="850" b="1">
                <a:solidFill>
                  <a:srgbClr val="7F7F7F"/>
                </a:solidFill>
                <a:latin typeface="museo sans for dell"/>
              </a:rPr>
              <a:t>                              Dell - Internal Use - Confidential</a:t>
            </a:r>
          </a:p>
          <a:p>
            <a:endParaRPr lang="en-US"/>
          </a:p>
        </p:txBody>
      </p:sp>
    </p:spTree>
    <p:extLst>
      <p:ext uri="{BB962C8B-B14F-4D97-AF65-F5344CB8AC3E}">
        <p14:creationId xmlns:p14="http://schemas.microsoft.com/office/powerpoint/2010/main" val="1100104109"/>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0.933"/>
    </inkml:context>
    <inkml:brush xml:id="br0">
      <inkml:brushProperty name="width" value="0.025" units="cm"/>
      <inkml:brushProperty name="height" value="0.025" units="cm"/>
      <inkml:brushProperty name="ignorePressure" value="1"/>
    </inkml:brush>
  </inkml:definitions>
  <inkml:trace contextRef="#ctx0" brushRef="#br0">37 1,'0'3,"0"5,0 4,0 3,-3 3,-1 1,0 0,1 2,0-1,2 0,-3 0,-1 0,1-1,0 1,2-4</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1.573"/>
    </inkml:context>
    <inkml:brush xml:id="br0">
      <inkml:brushProperty name="width" value="0.025" units="cm"/>
      <inkml:brushProperty name="height" value="0.025" units="cm"/>
      <inkml:brushProperty name="ignorePressure" value="1"/>
    </inkml:brush>
  </inkml:definitions>
  <inkml:trace contextRef="#ctx0" brushRef="#br0">41 1,'-4'3,"0"5,0 4,0 3,2 3,-3 1,0 1,0 0,2 1,0-1,2-4</inkml:trace>
</inkml:ink>
</file>

<file path=ppt/ink/ink1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18.852"/>
    </inkml:context>
    <inkml:brush xml:id="br0">
      <inkml:brushProperty name="width" value="0.05" units="cm"/>
      <inkml:brushProperty name="height" value="0.05" units="cm"/>
      <inkml:brushProperty name="ignorePressure" value="1"/>
    </inkml:brush>
  </inkml:definitions>
  <inkml:trace contextRef="#ctx0" brushRef="#br0">1 627,'15'-41,"-9"28,12-41,-2-2,-2 0,11-94,-10 55,-27 167,10-40,0-4,3 49,-1-71,1-1,0 1,0 0,0-1,0 1,1-1,0 1,0-1,1 0,0 0,0 0,0 0,0 0,7 6,-8-9,1 0,0 0,0-1,0 1,0-1,0 1,0-1,0 0,1-1,-1 1,0-1,0 1,1-1,-1 0,0 0,1 0,-1 0,0-1,0 0,1 1,-1-1,0 0,0-1,0 1,0 0,0-1,0 0,0 0,-1 0,5-3,2-2,0 0,-1-1,0 0,0 0,-1 0,0-1,11-19,10-36,-1-1,18-76,-33 104,-8 19,-4 14,0 1,1 0,-1 0,1 0,0-1,0 1,1 0,-1 0,0 0,1 1,0-1,2-3,-3 6,-1 1,1-1,0 1,-1-1,1 1,-1 0,1-1,0 1,-1 0,0 0,1-1,-1 1,1 0,-1 0,0 0,0-1,1 1,-1 0,0 0,0 0,0 0,0-1,0 1,0 0,-1 2,4 27,-2 14,-1-17,0 0,2-1,1 1,1-1,11 38,-13-58,1 1,0-1,-1-1,2 1,-1 0,1-1,0 1,0-1,0 0,1-1,0 1,0-1,0 0,0 0,0 0,1-1,0 0,0 0,0 0,0-1,0 0,1 0,-1-1,0 1,1-1,-1-1,12 1,1-1,-2 0</inkml:trace>
</inkml:ink>
</file>

<file path=ppt/ink/ink1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19.629"/>
    </inkml:context>
    <inkml:brush xml:id="br0">
      <inkml:brushProperty name="width" value="0.05" units="cm"/>
      <inkml:brushProperty name="height" value="0.05" units="cm"/>
      <inkml:brushProperty name="ignorePressure" value="1"/>
    </inkml:brush>
  </inkml:definitions>
  <inkml:trace contextRef="#ctx0" brushRef="#br0">0 60,'7'-3,"5"-5,4 0,3 0,1 2,1-1,3 0,1 2,-1 1,-1 2,0 1,-2 0,-5 1</inkml:trace>
</inkml:ink>
</file>

<file path=ppt/ink/ink1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19.970"/>
    </inkml:context>
    <inkml:brush xml:id="br0">
      <inkml:brushProperty name="width" value="0.05" units="cm"/>
      <inkml:brushProperty name="height" value="0.05" units="cm"/>
      <inkml:brushProperty name="ignorePressure" value="1"/>
    </inkml:brush>
  </inkml:definitions>
  <inkml:trace contextRef="#ctx0" brushRef="#br0">1 58,'6'-4,"6"0,5 0,1 0,2-1,1-1,-1 1,1 1,-1-1,0-1,0 1,0 2,-4 0</inkml:trace>
</inkml:ink>
</file>

<file path=ppt/ink/ink1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2.952"/>
    </inkml:context>
    <inkml:brush xml:id="br0">
      <inkml:brushProperty name="width" value="0.05" units="cm"/>
      <inkml:brushProperty name="height" value="0.05" units="cm"/>
      <inkml:brushProperty name="ignorePressure" value="1"/>
    </inkml:brush>
  </inkml:definitions>
  <inkml:trace contextRef="#ctx0" brushRef="#br0">1 219,'23'-25,"-21"22,1-1,0 1,-1 0,1-1,1 2,-1-1,0 0,1 0,-1 1,1 0,0 0,-1 0,1 0,0 1,0-1,0 1,1 0,-1 0,0 0,0 1,1 0,-1 0,5 0,59 14,-53-10,-1 0,0-1,1-1,19 1,-30-3,1-1,-1 1,0-1,1 0,-1 0,0 0,1 0,-1-1,0 0,0 0,0 0,0 0,-1-1,1 1,0-1,-1 0,0 0,5-5,-3 1,0-1,-1 1,0-1,0 0,-1 0,5-12,-6 11,1 1,0 0,1 0,0 0,0 1,6-8,0 4</inkml:trace>
</inkml:ink>
</file>

<file path=ppt/ink/ink1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3.609"/>
    </inkml:context>
    <inkml:brush xml:id="br0">
      <inkml:brushProperty name="width" value="0.05" units="cm"/>
      <inkml:brushProperty name="height" value="0.05" units="cm"/>
      <inkml:brushProperty name="ignorePressure" value="1"/>
    </inkml:brush>
  </inkml:definitions>
  <inkml:trace contextRef="#ctx0" brushRef="#br0">0 40,'1'-1,"-1"-1,0 0,1 1,0-1,-1 0,1 1,0-1,0 1,0-1,0 1,0-1,0 1,1 0,-1-1,0 1,1 0,-1 0,1 0,-1 0,1 0,-1 1,1-1,-1 0,1 1,0-1,0 1,-1-1,1 1,2 0,52-6,-56 6,5-1,0 1,0 0,0 1,0-1,0 1,0 0,-1 0,1 0,0 1,-1-1,1 1,-1 0,1 1,-1-1,0 1,0 0,5 4,-7-4,0 0,0 0,-1 0,1 0,-1 0,1 0,-1 0,0 1,0-1,0 0,-1 1,1-1,-1 1,0-1,0 1,0-1,0 0,-1 1,1-1,-1 1,0-1,0 0,0 1,0-1,-3 3,-1 6,-2 0,0-1,0 0,-1 0,-1 0,-16 15,-24 32,49-57,-1-1,1 0,0 1,-1-1,1 0,0 1,0-1,-1 1,1-1,0 1,0-1,0 0,-1 1,1-1,0 1,0-1,0 1,0-1,0 1,0-1,0 1,0-1,0 1,0-1,0 1,0-1,1 1,-1-1,0 0,0 1,0-1,1 1,-1-1,1 1,17 3,24-11,130-50,-160 52</inkml:trace>
</inkml:ink>
</file>

<file path=ppt/ink/ink1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4.798"/>
    </inkml:context>
    <inkml:brush xml:id="br0">
      <inkml:brushProperty name="width" value="0.05" units="cm"/>
      <inkml:brushProperty name="height" value="0.05" units="cm"/>
      <inkml:brushProperty name="ignorePressure" value="1"/>
    </inkml:brush>
  </inkml:definitions>
  <inkml:trace contextRef="#ctx0" brushRef="#br0">207 45,'1'0,"-1"1,0-1,1 0,-1 0,1 0,-1 0,1 0,-1 0,0 0,1 0,-1 0,1 0,-1-1,1 1,-1 0,0 0,1 0,-1 0,1 0,-1-1,0 1,1 0,-1 0,0-1,1 1,-1 0,0-1,0 1,1 0,-1-1,0 1,0 0,1-1,-1 1,0-1,0 1,0 0,0-2,0 2,0-1,0 0,-1 1,1-1,-1 1,1-1,0 1,-1-1,1 1,-1-1,1 1,-1-1,0 1,1 0,-1-1,1 1,-1 0,0-1,1 1,-1 0,0 0,1 0,-1 0,0-1,0 1,-12 0,1 1,-1 0,1 0,0 1,0 1,-1 0,2 0,-1 2,0-1,1 1,0 1,0 0,0 1,-13 10,22-15,1 0,-1-1,1 1,0 0,0-1,0 1,0 0,0 0,0 0,0 0,0 0,1 0,-1 0,1 1,0-1,-1 0,1 0,0 0,0 0,1 1,-1-1,0 0,1 0,-1 0,1 0,0 0,-1 0,1 0,0 0,0 0,0 0,1-1,-1 1,0 0,1-1,-1 1,3 1,8 9,1-1,0 0,27 17,-17-12,-21-15,0 0,0 0,-1 1,1-1,0 1,-1-1,1 1,-1 0,0-1,1 1,-1 0,0 0,0 0,0 0,-1 0,1 0,0 0,-1 0,1 0,-1 0,0 0,0 1,1-1,-2 0,1 0,0 0,0 0,-1 1,1-1,-1 0,1 0,-1 0,0 0,0 0,0 0,0 0,0-1,-1 1,1 0,0 0,-1-1,1 1,-1-1,0 0,1 1,-1-1,0 0,0 0,0 0,0 0,0 0,0 0,0-1,0 1,0-1,0 0,-1 1,1-1,0 0,0 0,0 0,0 0,-1-1,1 1,0-1,-3 0,5 1,-1-1,1 1,-1 0,0 0,1 0,-1-1,1 1,-1 0,1-1,-1 1,1-1,-1 1,1 0,0-1,-1 1,1-1,0 1,-1-1,1 1,0-1,0 0,-1 1,1-1,0 1,0-1,0 0,0 1,0-1,0 1,0-1,0 0,10-21,28-18,-34 37,16-15,-4 5,-2 0,1-2,-2 1,21-29,-32 40,0 0,0 0,-1 0,1-1,0 1,-1 0,0-1,0 1,0-1,0 0,-1 1,1-1,-1 1,0-1,0 0,0 1,-1-1,1 0,-1 1,0-1,0 1,0-1,0 1,-1 0,0-1,1 1,-1 0,0 0,0 0,-1 0,1 0,-4-3,3 4,0-1,0 1,0 0,0 0,0 0,0 1,0-1,-1 1,1 0,0 0,-1 0,1 0,-6 0,-8-1</inkml:trace>
</inkml:ink>
</file>

<file path=ppt/ink/ink1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5.203"/>
    </inkml:context>
    <inkml:brush xml:id="br0">
      <inkml:brushProperty name="width" value="0.05" units="cm"/>
      <inkml:brushProperty name="height" value="0.05" units="cm"/>
      <inkml:brushProperty name="ignorePressure" value="1"/>
    </inkml:brush>
  </inkml:definitions>
  <inkml:trace contextRef="#ctx0" brushRef="#br0">78 1,'-6'3,"1"1,0 0,0 0,1 0,-1 0,1 1,0 0,0 0,0 0,1 0,0 1,0-1,0 1,1 0,-3 9,2-8,1 1,0 0,0 0,1 0,0-1,0 1,1 0,0 1,0-1,1-1,3 15,-2-18,0 0,0 0,0-1,0 1,1 0,-1-1,1 1,0-1,0 0,1 0,-1 0,1-1,-1 1,1-1,0 0,0 0,0 0,0 0,0-1,0 1,0-1,1 0,-1 0,0-1,1 0,-1 1,0-1,1-1,-1 1,6-2,-5 2,0-1,1 1,-1-1,0-1,0 1,0-1,0 0,0 0,0-1,-1 1,1-1,-1 0,1 0,-1-1,0 1,-1-1,1 0,0 0,-1 0,0 0,0-1,0 1,-1-1,4-9,-4 6,-1 0,1 0,-2 0,1 0,-1 0,-1 0,1-1,-3-7,3 12,-1 0,0 0,-1 0,1 0,0 1,-1-1,0 0,0 1,0-1,0 1,-1-1,0 1,1 0,-1 0,0 0,0 1,-6-4,-9-3</inkml:trace>
</inkml:ink>
</file>

<file path=ppt/ink/ink1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5.555"/>
    </inkml:context>
    <inkml:brush xml:id="br0">
      <inkml:brushProperty name="width" value="0.05" units="cm"/>
      <inkml:brushProperty name="height" value="0.05" units="cm"/>
      <inkml:brushProperty name="ignorePressure" value="1"/>
    </inkml:brush>
  </inkml:definitions>
  <inkml:trace contextRef="#ctx0" brushRef="#br0">1 55,'0'9,"0"1,1-1,-1 0,2 1,-1-1,1 0,1 0,0 0,4 9,-4-14,-1 0,1 0,0-1,0 1,0-1,0 0,1 0,-1 0,1 0,0 0,0-1,0 0,0 0,0 0,0 0,1-1,-1 1,0-1,1 0,6 0,9 2,0-1,0-1,0-1,0-1,30-5,-43 5,-1-1,0 1,1-2,-1 1,0-1,-1 1,1-2,0 1,6-5,-10 5,1 1,0-1,-1 0,0 0,1 0,-1 0,0 0,-1 0,1-1,0 1,-1 0,0-1,0 0,0 1,0-1,-1 0,1-4,-1 4,0-1,-1 1,0-1,0 1,0 0,0 0,0-1,-1 1,0 0,0 0,0 0,0 1,-1-1,0 0,1 1,-1 0,0 0,-1 0,1 0,0 0,-1 0,0 1,0 0,1 0,-1 0,-1 0,-3-1,-2-1,0 0,0 1,0 1,0 0,0 0,0 1,-1 0,1 0,-1 1,-14 3,-1 2,-48 18,52-14</inkml:trace>
</inkml:ink>
</file>

<file path=ppt/ink/ink1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2.443"/>
    </inkml:context>
    <inkml:brush xml:id="br0">
      <inkml:brushProperty name="width" value="0.05" units="cm"/>
      <inkml:brushProperty name="height" value="0.05" units="cm"/>
      <inkml:brushProperty name="ignorePressure" value="1"/>
    </inkml:brush>
  </inkml:definitions>
  <inkml:trace contextRef="#ctx0" brushRef="#br0">197 3,'-12'-1,"13"-1,1 2,-1 0,1 0,0 1,-1-1,1 0,-1 1,1-1,-1 1,0-1,1 1,-1 0,1 0,-1-1,2 3,0-1,-1-1,1 1,-1 1,1-1,-1 0,0 1,0-1,0 1,0-1,-1 1,1 0,-1 0,1 0,-1 0,0 0,0 0,-1 0,1 0,0 1,-1 5,0-4,-1 0,0-1,-1 1,1 0,-1 0,0-1,0 1,0-1,0 1,-1-1,0 0,-4 5,-7 6,-1 1,-1-2,0 0,-1-1,-22 13,7-10,26-13,-1-1,1 1,0 0,0 1,0 0,0 0,1 0,0 0,-7 8,12-12,-1 1,1-1,0 1,0-1,0 1,0-1,0 1,0-1,0 1,0 0,0-1,0 1,0-1,0 1,1-1,-1 1,0-1,0 1,0-1,1 1,-1-1,0 1,1-1,-1 0,0 1,1-1,-1 1,1-1,-1 0,0 1,1-1,-1 0,1 0,-1 1,1-1,-1 0,1 0,-1 0,1 0,-1 1,1-1,-1 0,1 0,0 0,0 0,29 4,-28-4,104 1,-85-1</inkml:trace>
</inkml:ink>
</file>

<file path=ppt/ink/ink1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3.276"/>
    </inkml:context>
    <inkml:brush xml:id="br0">
      <inkml:brushProperty name="width" value="0.05" units="cm"/>
      <inkml:brushProperty name="height" value="0.05" units="cm"/>
      <inkml:brushProperty name="ignorePressure" value="1"/>
    </inkml:brush>
  </inkml:definitions>
  <inkml:trace contextRef="#ctx0" brushRef="#br0">172 2,'1'-1,"-1"1,0 0,0 0,0 0,1 0,-1 0,0 0,0 0,0 0,1 0,-1 0,0 0,0 0,1 0,-1 0,0 0,0 0,1 0,-1 0,0 0,0 0,0 0,1 0,-1 0,0 0,0 0,0 0,1 0,-1 1,0-1,0 0,0 0,0 0,1 0,-1 1,0-1,0 0,0 0,0 0,0 1,0-1,1 0,-1 0,0 0,0 1,0-1,0 0,0 0,0 1,0-1,0 0,0 0,0 0,0 1,0-1,0 0,-1 1,-13 13,-26 11,30-20,0 0,1 0,0 1,0 0,1 0,-13 13,20-18,0-1,1 1,-1 0,0 0,1 0,-1 0,1 0,-1 0,1 0,-1 0,1 1,0-1,0 0,-1 0,1 0,0 0,0 0,0 1,0-1,0 0,1 0,-1 0,0 2,2-1,-1 0,1 0,-1 0,1 0,0 0,-1-1,1 1,0-1,0 1,1-1,-1 1,0-1,0 0,0 0,4 1,1 1,1 0,1 1,-1-1,-1 2,1-1,10 9,-17-13,0 1,0 0,-1 0,1 0,0 0,0 0,0 0,-1 0,1 1,-1-1,1 0,-1 0,1 0,-1 1,1-1,-1 0,0 1,0-1,0 0,0 0,0 1,0-1,0 0,0 1,-1-1,1 0,0 0,-1 1,1-1,-1 0,1 0,-1 0,0 0,1 1,-1-1,0 0,0 0,0 0,0-1,0 1,0 0,0 0,0 0,0-1,-2 2,-4 3,0-1,0 0,-1 0,0 0,1-1,-1 0,0-1,-1 1,1-2,0 1,-1-1,-14 0,5-1</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2.273"/>
    </inkml:context>
    <inkml:brush xml:id="br0">
      <inkml:brushProperty name="width" value="0.025" units="cm"/>
      <inkml:brushProperty name="height" value="0.025" units="cm"/>
      <inkml:brushProperty name="ignorePressure" value="1"/>
    </inkml:brush>
  </inkml:definitions>
  <inkml:trace contextRef="#ctx0" brushRef="#br0">19 4,'-2'2,"0"0,0 0,1 0,-1 0,1 0,0 1,-1-1,1 0,0 1,0-1,1 1,-1 0,0-1,1 1,0 0,0-1,-1 1,1 0,1-1,-1 1,0 0,1-1,-1 1,1-1,0 1,0-1,0 1,0-1,0 1,1-1,-1 0,1 0,-1 0,1 0,0 0,0 0,0 0,0 0,0-1,0 1,5 2,-5-3,-1 0,1 1,0-1,0 0,-1 0,1 0,0-1,0 1,0 0,0-1,0 1,0-1,0 1,0-1,0 0,0 0,0 0,1 0,-1 0,0-1,0 1,0-1,0 1,0-1,0 0,-1 1,1-1,0 0,0 0,0-1,-1 1,1 0,0 0,-1-1,0 1,1-1,-1 0,0 1,1-1,-1 0,0 0,0 0,-1 1,1-1,0 0,-1 0,1 0,-1 0,1 0,-1-1,0 1,0-2,0 1,0 1,0 0,0-1,0 1,0-1,-1 1,1-1,-1 1,0 0,1-1,-1 1,0 0,-1 0,1 0,0 0,0 0,-1 0,1 0,-1 0,0 0,0 1,1-1,-1 0,0 1,0 0,-1 0,1-1,0 1,0 0,0 1,-1-1,1 0,0 1,-1-1,1 1,-4-1,-10 0</inkml:trace>
</inkml:ink>
</file>

<file path=ppt/ink/ink1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3.863"/>
    </inkml:context>
    <inkml:brush xml:id="br0">
      <inkml:brushProperty name="width" value="0.05" units="cm"/>
      <inkml:brushProperty name="height" value="0.05" units="cm"/>
      <inkml:brushProperty name="ignorePressure" value="1"/>
    </inkml:brush>
  </inkml:definitions>
  <inkml:trace contextRef="#ctx0" brushRef="#br0">77 0,'10'0,"1"0,0 1,-1 0,1 1,18 4,-27-5,0 0,0-1,0 1,0 0,0 0,0 0,-1 1,1-1,0 0,-1 1,1-1,-1 1,1 0,-1-1,0 1,1 0,-1 0,0 0,0 0,-1 0,1 0,0 0,-1 0,1 0,-1 0,1 0,-1 0,0 1,0-1,0 0,0 0,-1 0,1 0,0 0,-2 4,0 0,0-1,-1 0,0 1,0-1,0 0,0 0,-1 0,0-1,0 1,0-1,0 0,-7 5,-63 42,65-46,-47 35,56-40,0 0,-1 0,1 1,0-1,0 0,0 0,0 0,0 0,-1 1,1-1,0 0,0 0,0 0,0 0,0 1,0-1,0 0,0 0,0 0,0 1,0-1,0 0,0 0,0 1,0-1,0 0,0 0,0 0,0 1,0-1,0 0,0 0,0 0,0 1,0-1,0 0,0 0,1 0,-1 0,0 1,0-1,0 0,0 0,0 0,1 0,-1 0,0 1,16 3,16-2,71-20,-86 16</inkml:trace>
</inkml:ink>
</file>

<file path=ppt/ink/ink1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4.180"/>
    </inkml:context>
    <inkml:brush xml:id="br0">
      <inkml:brushProperty name="width" value="0.05" units="cm"/>
      <inkml:brushProperty name="height" value="0.05" units="cm"/>
      <inkml:brushProperty name="ignorePressure" value="1"/>
    </inkml:brush>
  </inkml:definitions>
  <inkml:trace contextRef="#ctx0" brushRef="#br0">58 1,'-3'7,"-2"5,1 4,-2-1,-1 1,1 0,2 2,1 0,-2 1,0 0,1 0,1 1,0-4</inkml:trace>
</inkml:ink>
</file>

<file path=ppt/ink/ink1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4.931"/>
    </inkml:context>
    <inkml:brush xml:id="br0">
      <inkml:brushProperty name="width" value="0.05" units="cm"/>
      <inkml:brushProperty name="height" value="0.05" units="cm"/>
      <inkml:brushProperty name="ignorePressure" value="1"/>
    </inkml:brush>
  </inkml:definitions>
  <inkml:trace contextRef="#ctx0" brushRef="#br0">8 12,'0'-3,"-3"-2,-1 1</inkml:trace>
</inkml:ink>
</file>

<file path=ppt/ink/ink1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5.276"/>
    </inkml:context>
    <inkml:brush xml:id="br0">
      <inkml:brushProperty name="width" value="0.05" units="cm"/>
      <inkml:brushProperty name="height" value="0.05" units="cm"/>
      <inkml:brushProperty name="ignorePressure" value="1"/>
    </inkml:brush>
  </inkml:definitions>
  <inkml:trace contextRef="#ctx0" brushRef="#br0">161 0,'-7'12,"-1"-1,1-1,-2 0,0 0,0 0,0-1,-18 13,13-11,1 0,1 1,-16 19,27-30,0-1,1 1,-1 0,0 0,1 0,-1 0,1 0,-1 0,1 0,-1 0,1 1,0-1,-1 0,1 0,0 0,0 0,0 0,0 0,0 1,0-1,0 0,0 0,1 0,-1 0,0 0,1 0,-1 1,1-1,-1 0,1 0,-1 0,1-1,0 1,-1 0,1 0,0 0,0 0,0-1,0 1,0 0,0-1,0 1,0 0,0-1,0 0,0 1,2 0,4 1,0 1,0-2,0 1,0 0,15 0,-4-2</inkml:trace>
</inkml:ink>
</file>

<file path=ppt/ink/ink1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5.609"/>
    </inkml:context>
    <inkml:brush xml:id="br0">
      <inkml:brushProperty name="width" value="0.05" units="cm"/>
      <inkml:brushProperty name="height" value="0.05" units="cm"/>
      <inkml:brushProperty name="ignorePressure" value="1"/>
    </inkml:brush>
  </inkml:definitions>
  <inkml:trace contextRef="#ctx0" brushRef="#br0">95 0,'-3'4,"-2"3,-2 5,-1 3,1 3,-1 1,0 1,3 0,-3-3,1-1,2-1,-3-2,2 0,0 1,2-2</inkml:trace>
</inkml:ink>
</file>

<file path=ppt/ink/ink1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6.127"/>
    </inkml:context>
    <inkml:brush xml:id="br0">
      <inkml:brushProperty name="width" value="0.05" units="cm"/>
      <inkml:brushProperty name="height" value="0.05" units="cm"/>
      <inkml:brushProperty name="ignorePressure" value="1"/>
    </inkml:brush>
  </inkml:definitions>
  <inkml:trace contextRef="#ctx0" brushRef="#br0">113 1,'-4'0,"-3"0,-5 3,-3 2,-3-1,-1 3,0 0,5 2,9-1,9-1,6 1,6 3,-1 2,-2 3,-1 2,-2-2</inkml:trace>
</inkml:ink>
</file>

<file path=ppt/ink/ink1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7.172"/>
    </inkml:context>
    <inkml:brush xml:id="br0">
      <inkml:brushProperty name="width" value="0.05" units="cm"/>
      <inkml:brushProperty name="height" value="0.05" units="cm"/>
      <inkml:brushProperty name="ignorePressure" value="1"/>
    </inkml:brush>
  </inkml:definitions>
  <inkml:trace contextRef="#ctx0" brushRef="#br0">77 16,'0'-1,"0"0,0 1,0-1,0 1,0-1,0 0,0 1,-1-1,1 1,0-1,0 0,-1 1,1-1,0 1,-1-1,1 1,-1-1,1 1,0-1,-1 1,1 0,-1-1,1 1,-1 0,1-1,-1 1,0 0,1-1,-1 1,1 0,-1 0,-1 0,-25 3,25-2,0-1,0 1,0-1,0 1,1 0,-1 0,0 0,1 0,-1 0,0 0,1 1,0-1,-1 0,1 1,0-1,-1 1,1-1,0 1,0 0,0 0,1-1,-1 1,0 0,1 0,-1 0,1 0,-1 2,2-1,0 0,1 0,-1-1,1 1,0-1,0 1,0-1,0 0,0 0,0 1,0-2,1 1,-1 0,4 1,-3 0,1-1,-1 0,0 1,0 0,0-1,-1 1,1 0,0 1,-1-1,2 4,-2-2,-1 1,0-1,0 1,0-1,-1 1,0 0,0-1,0 1,-1-1,0 1,-2 8,-23 63,18-56,1-5</inkml:trace>
</inkml:ink>
</file>

<file path=ppt/ink/ink1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8.536"/>
    </inkml:context>
    <inkml:brush xml:id="br0">
      <inkml:brushProperty name="width" value="0.05" units="cm"/>
      <inkml:brushProperty name="height" value="0.05" units="cm"/>
      <inkml:brushProperty name="ignorePressure" value="1"/>
    </inkml:brush>
  </inkml:definitions>
  <inkml:trace contextRef="#ctx0" brushRef="#br0">191 0,'-74'6,"69"-5,-1 0,1 1,-1-1,1 1,0 0,0 0,-1 1,1 0,1 0,-9 6,13-9,-1 1,0 0,1 0,-1 0,1 0,-1-1,1 1,-1 0,1 0,0 0,-1 0,1 0,0 0,0 0,0 0,0 0,0 0,0 0,0 0,0 0,0 0,0 0,0 0,1 0,-1 0,0 0,1 0,-1 0,1 0,-1 0,1 0,0-1,-1 1,1 0,0 0,-1-1,1 1,0 0,1 0,43 31,-29-22,-14-9,-1 0,1 1,0-1,-1 0,1 1,-1-1,1 1,-1-1,0 1,1 0,-1 0,0-1,0 1,0 0,-1 0,1 0,0 0,-1 0,1 0,-1 0,0 0,0 0,0 3,0-2,-1 0,0-1,0 1,-1 0,1-1,-1 0,1 1,-1-1,1 0,-1 0,0 1,0-1,0-1,-5 4,-6 4,0-2,0 1,-1-2,1 0,-17 5,12-6</inkml:trace>
</inkml:ink>
</file>

<file path=ppt/ink/ink1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8.857"/>
    </inkml:context>
    <inkml:brush xml:id="br0">
      <inkml:brushProperty name="width" value="0.05" units="cm"/>
      <inkml:brushProperty name="height" value="0.05" units="cm"/>
      <inkml:brushProperty name="ignorePressure" value="1"/>
    </inkml:brush>
  </inkml:definitions>
  <inkml:trace contextRef="#ctx0" brushRef="#br0">120 0,'0'7,"0"5,-3 7,-1 4,-1 4,2 5,-3 3,0 2,-2 5,-3 5,0 5,-1-1,-2-1,1-4,0 1,2-7</inkml:trace>
</inkml:ink>
</file>

<file path=ppt/ink/ink1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0.237"/>
    </inkml:context>
    <inkml:brush xml:id="br0">
      <inkml:brushProperty name="width" value="0.05" units="cm"/>
      <inkml:brushProperty name="height" value="0.05" units="cm"/>
      <inkml:brushProperty name="ignorePressure" value="1"/>
    </inkml:brush>
  </inkml:definitions>
  <inkml:trace contextRef="#ctx0" brushRef="#br0">288 2,'-18'-1,"1"1,0 0,0 2,-1 0,1 1,0 0,1 1,-21 9,36-13,0 0,0 1,0-1,-1 1,1-1,0 1,0-1,0 1,0 0,0-1,1 1,-1 0,0 0,0 0,0 0,1-1,-1 1,0 0,1 0,-1 1,1-1,-1 0,1 0,0 0,-1 0,1 0,0 0,0 1,0-1,0 0,0 0,0 0,0 0,0 1,0-1,1 0,-1 0,1 2,2 3,1 0,0 0,1 0,-1-1,10 9,-10-11,-1 0,0 0,0 0,-1 0,1 0,0 1,-1-1,0 1,0-1,0 1,0 0,-1 0,2 5,-4-6,1 0,-1 0,0 0,0 1,-1-1,1 0,-1 0,1-1,-1 1,0 0,0-1,0 1,-1-1,1 1,0-1,-1 0,0 0,1 0,-1 0,0-1,0 1,0-1,0 0,-7 2,3 0,-1-1,0 0,0 0,0-1,-1 0,1 0,0-1,-17-1,8-3</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3.251"/>
    </inkml:context>
    <inkml:brush xml:id="br0">
      <inkml:brushProperty name="width" value="0.025" units="cm"/>
      <inkml:brushProperty name="height" value="0.025" units="cm"/>
      <inkml:brushProperty name="ignorePressure" value="1"/>
    </inkml:brush>
  </inkml:definitions>
  <inkml:trace contextRef="#ctx0" brushRef="#br0">142 0,'-11'8,"0"0,0 1,1 0,0 1,1 0,-12 15,-11 12,29-35,1 0,-1 1,1-1,0 1,0 0,0 0,0 0,0 0,1 0,-1 0,1 1,-1 2,2-5,0 0,0 0,0-1,0 1,0 0,0-1,0 1,1 0,-1-1,0 1,0 0,1-1,-1 1,0-1,1 1,-1-1,1 1,-1 0,0-1,1 1,0-1,-1 0,2 1,27 7,74-11,-85 3</inkml:trace>
</inkml:ink>
</file>

<file path=ppt/ink/ink1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0.572"/>
    </inkml:context>
    <inkml:brush xml:id="br0">
      <inkml:brushProperty name="width" value="0.05" units="cm"/>
      <inkml:brushProperty name="height" value="0.05" units="cm"/>
      <inkml:brushProperty name="ignorePressure" value="1"/>
    </inkml:brush>
  </inkml:definitions>
  <inkml:trace contextRef="#ctx0" brushRef="#br0">197 1,'-2'30,"-2"-1,-2 0,0 1,-2-2,-1 1,-15 30,-8 30,-64 155,88-205,6-23</inkml:trace>
</inkml:ink>
</file>

<file path=ppt/ink/ink1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1.056"/>
    </inkml:context>
    <inkml:brush xml:id="br0">
      <inkml:brushProperty name="width" value="0.05" units="cm"/>
      <inkml:brushProperty name="height" value="0.05" units="cm"/>
      <inkml:brushProperty name="ignorePressure" value="1"/>
    </inkml:brush>
  </inkml:definitions>
  <inkml:trace contextRef="#ctx0" brushRef="#br0">109 2,'2'-1,"-1"1,1 0,-1 0,1 0,0 0,-1 0,1 0,-1 0,1 1,-1-1,1 1,-1-1,1 1,-1-1,1 1,-1 0,1 0,-1-1,0 1,0 0,1 0,-1 1,0-1,0 0,0 0,0 1,0-1,0 0,-1 1,1-1,0 1,-1-1,1 1,-1-1,1 1,-1-1,0 1,0-1,0 1,0 0,0-1,0 1,0-1,0 1,0 0,-1-1,1 1,-2 1,0 5,0-1,-1 0,-1 0,1 0,-1 0,0-1,0 0,-1 1,-5 5,-97 82,107-94,0 0,0 0,0 0,0 0,0 0,0 0,-1 1,1-1,0 0,0 0,0 0,0 0,0 0,0 0,0 1,0-1,0 0,0 0,0 0,0 0,0 1,0-1,0 0,0 0,0 0,0 0,0 0,0 1,0-1,0 0,0 0,0 0,0 0,0 1,0-1,0 0,0 0,1 0,-1 0,0 0,0 0,0 0,0 1,0-1,0 0,0 0,1 0,-1 0,0 0,0 0,0 0,0 0,0 0,1 0,-1 0,0 0,0 0,0 0,0 0,1 0,-1 0,0 0,0 0,20 0,21-6,-36 5,19-4,45-15,-56 14</inkml:trace>
</inkml:ink>
</file>

<file path=ppt/ink/ink1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1.636"/>
    </inkml:context>
    <inkml:brush xml:id="br0">
      <inkml:brushProperty name="width" value="0.05" units="cm"/>
      <inkml:brushProperty name="height" value="0.05" units="cm"/>
      <inkml:brushProperty name="ignorePressure" value="1"/>
    </inkml:brush>
  </inkml:definitions>
  <inkml:trace contextRef="#ctx0" brushRef="#br0">1 1,'19'0,"-4"-1,0 1,0 1,0 0,-1 1,26 6,-36-6,0-1,-1 1,1 0,-1-1,0 1,1 1,-1-1,0 1,0-1,-1 1,1 0,0 0,-1 0,0 0,0 0,0 1,0-1,0 0,-1 1,1 0,-1-1,0 1,0 0,0 0,-1 0,0 0,1 4,-1 9,-1 1,0-1,-1 0,-5 19,-3 34,9-55</inkml:trace>
</inkml:ink>
</file>

<file path=ppt/ink/ink1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1.969"/>
    </inkml:context>
    <inkml:brush xml:id="br0">
      <inkml:brushProperty name="width" value="0.05" units="cm"/>
      <inkml:brushProperty name="height" value="0.05" units="cm"/>
      <inkml:brushProperty name="ignorePressure" value="1"/>
    </inkml:brush>
  </inkml:definitions>
  <inkml:trace contextRef="#ctx0" brushRef="#br0">1 1,'3'0,"5"0,4 0,3 0,3 0,1 0,1 0,0 0,0 0,-3 0</inkml:trace>
</inkml:ink>
</file>

<file path=ppt/ink/ink1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2.301"/>
    </inkml:context>
    <inkml:brush xml:id="br0">
      <inkml:brushProperty name="width" value="0.05" units="cm"/>
      <inkml:brushProperty name="height" value="0.05" units="cm"/>
      <inkml:brushProperty name="ignorePressure" value="1"/>
    </inkml:brush>
  </inkml:definitions>
  <inkml:trace contextRef="#ctx0" brushRef="#br0">75 1,'-3'3,"-2"5,1 4,-3 3,1 3,0 1,-1 1,0 0,-3 0,2 0,1 0,2-3</inkml:trace>
  <inkml:trace contextRef="#ctx0" brushRef="#br0" timeOffset="1">172 20,'-4'7,"0"5,-4 4,1 3,-3 1,1 1,1-1,0-3,0-1,2 0,2 0,2 2,0-4</inkml:trace>
</inkml:ink>
</file>

<file path=ppt/ink/ink1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2.635"/>
    </inkml:context>
    <inkml:brush xml:id="br0">
      <inkml:brushProperty name="width" value="0.05" units="cm"/>
      <inkml:brushProperty name="height" value="0.05" units="cm"/>
      <inkml:brushProperty name="ignorePressure" value="1"/>
    </inkml:brush>
  </inkml:definitions>
  <inkml:trace contextRef="#ctx0" brushRef="#br0">0 1,'0'0</inkml:trace>
</inkml:ink>
</file>

<file path=ppt/ink/ink1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3.135"/>
    </inkml:context>
    <inkml:brush xml:id="br0">
      <inkml:brushProperty name="width" value="0.05" units="cm"/>
      <inkml:brushProperty name="height" value="0.05" units="cm"/>
      <inkml:brushProperty name="ignorePressure" value="1"/>
    </inkml:brush>
  </inkml:definitions>
  <inkml:trace contextRef="#ctx0" brushRef="#br0">35 1,'3'0,"0"0,0 0,0 0,1 0,-1 1,0-1,0 1,0 0,0 0,0 0,0 0,-1 1,1-1,0 1,3 2,-4-2,-1 0,0-1,0 1,0 0,0 0,0 0,-1 0,1 0,-1 0,1 0,-1 0,0 0,1 0,-1 0,0 0,0 0,-1 0,1 0,0 0,-1 0,1 0,-1 0,0 0,-1 3,0 3,0-1,1 1,0 0,0 15,2-16,-2 0,1 1,-1-1,0 0,-4 13,4-18,0 0,0 1,-1-1,1 0,-1 0,1 0,-1 0,0 0,1-1,-1 1,0 0,0-1,0 1,0-1,-1 0,1 0,0 0,0 0,-1 0,1 0,-4 0,-11 2,1-2</inkml:trace>
</inkml:ink>
</file>

<file path=ppt/ink/ink1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3.551"/>
    </inkml:context>
    <inkml:brush xml:id="br0">
      <inkml:brushProperty name="width" value="0.05" units="cm"/>
      <inkml:brushProperty name="height" value="0.05" units="cm"/>
      <inkml:brushProperty name="ignorePressure" value="1"/>
    </inkml:brush>
  </inkml:definitions>
  <inkml:trace contextRef="#ctx0" brushRef="#br0">149 0,'-7'0,"-5"0,-4 3,-3 2,-1 2,3 4,7 3,9 3,8 2,3 0,-1 1,-5-3,-6-5,-6 0,-6-3,-2-3,-4-2,4-2</inkml:trace>
</inkml:ink>
</file>

<file path=ppt/ink/ink1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6.001"/>
    </inkml:context>
    <inkml:brush xml:id="br0">
      <inkml:brushProperty name="width" value="0.05" units="cm"/>
      <inkml:brushProperty name="height" value="0.05" units="cm"/>
      <inkml:brushProperty name="ignorePressure" value="1"/>
    </inkml:brush>
  </inkml:definitions>
  <inkml:trace contextRef="#ctx0" brushRef="#br0">1 36,'0'-2,"1"0,-1 0,1 1,-1-1,1 0,0 1,0-1,0 0,0 1,0-1,0 1,1 0,-1-1,0 1,1 0,-1 0,1 0,-1 0,1 0,-1 0,1 0,0 0,-1 1,1-1,0 1,0-1,0 1,-1 0,1 0,0 0,3 0,4-1,0 0,-1 1,1 1,0-1,11 3,-18-2,1-1,0 1,-1 0,1 0,-1 0,1 0,-1 0,0 0,0 1,1-1,-1 1,0-1,0 1,0 0,0 0,2 3,-4-3,1-1,0 1,-1 0,1 0,-1 0,1 0,-1 0,0 0,0 0,0 0,0 0,0 0,0 0,0-1,-1 1,1 0,-2 3,-3 7,-1 0,-1-1,0 1,0-1,-14 14,-4 10,25-34,-1-1,1 1,0-1,-1 1,1-1,0 1,-1-1,1 1,0 0,0-1,0 1,-1-1,1 1,0 0,0-1,0 1,0 0,0-1,0 1,0-1,0 1,1 0,-1-1,0 1,0-1,0 1,1 0,-1-1,0 1,1-1,-1 1,0-1,1 1,-1-1,1 1,-1-1,1 1,-1-1,1 0,-1 1,1-1,-1 0,1 0,0 1,-1-1,1 0,-1 0,1 0,0 0,-1 1,1-1,0 0,-1 0,1 0,-1 0,1-1,0 1,-1 0,1 0,0-1,51-6,-42 5,188-40,-181 39</inkml:trace>
</inkml:ink>
</file>

<file path=ppt/ink/ink1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6.515"/>
    </inkml:context>
    <inkml:brush xml:id="br0">
      <inkml:brushProperty name="width" value="0.05" units="cm"/>
      <inkml:brushProperty name="height" value="0.05" units="cm"/>
      <inkml:brushProperty name="ignorePressure" value="1"/>
    </inkml:brush>
  </inkml:definitions>
  <inkml:trace contextRef="#ctx0" brushRef="#br0">76 11,'27'36,"-26"-31,1 0,-1 0,-1 0,1 0,-1 1,0-1,0 0,0 0,-1 1,0-1,0 0,0 0,-1 0,0 0,-3 8,3-10,1 1,-1 0,0-1,-1 1,1-1,-1 1,1-1,-1 0,0 0,0 0,0-1,-1 1,1-1,-1 0,1 0,-1 0,0 0,1 0,-1-1,-5 1,8-5,8-7,11-7,21-9,18-13,-53 37,-1-1,0 0,0 0,0 0,-1 0,1 0,-1-1,1 1,-1-1,0 1,-1-1,3-6,-4 8,0 0,0 1,0-1,0 0,-1 1,1-1,-1 0,1 1,-1-1,1 0,-1 1,0-1,0 1,0-1,0 1,0-1,0 1,0 0,0 0,-1-1,1 1,0 0,-1 0,1 0,-1 0,1 1,-1-1,0 0,1 1,-1-1,0 1,1-1,-5 1,-2-3,-1 1,0 1,1 0,-1 0,-13 0,11 3,1-1,-1 2,1-1,-10 5,3-1</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3.701"/>
    </inkml:context>
    <inkml:brush xml:id="br0">
      <inkml:brushProperty name="width" value="0.025" units="cm"/>
      <inkml:brushProperty name="height" value="0.025" units="cm"/>
      <inkml:brushProperty name="ignorePressure" value="1"/>
    </inkml:brush>
  </inkml:definitions>
  <inkml:trace contextRef="#ctx0" brushRef="#br0">97 1,'-3'3,"-4"5,-2 4,2 3,-2 3,0 1,-1-2,2-1,1 0,-1-3,1 0,1 2,2 0,2-2</inkml:trace>
</inkml:ink>
</file>

<file path=ppt/ink/ink1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7.035"/>
    </inkml:context>
    <inkml:brush xml:id="br0">
      <inkml:brushProperty name="width" value="0.05" units="cm"/>
      <inkml:brushProperty name="height" value="0.05" units="cm"/>
      <inkml:brushProperty name="ignorePressure" value="1"/>
    </inkml:brush>
  </inkml:definitions>
  <inkml:trace contextRef="#ctx0" brushRef="#br0">154 1,'-18'12,"-6"3,1 0,1 2,-31 30,52-46,0 0,-1 0,1 0,1 0,-1 0,0 0,0 0,0 1,0-1,1 0,-1 1,1-1,-1 0,1 1,-1-1,1 1,0-1,0 0,0 1,0-1,0 1,0-1,0 1,0-1,1 3,0-2,0 0,1-1,-1 1,1 0,-1-1,1 1,0-1,-1 0,1 0,0 1,0-1,0 0,0 0,0-1,2 2,7 1,1 0,-1 0,1-1,0-1,12 0,-4-1,5 1,0-2,0 0,38-8,-46 4</inkml:trace>
</inkml:ink>
</file>

<file path=ppt/ink/ink1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7.366"/>
    </inkml:context>
    <inkml:brush xml:id="br0">
      <inkml:brushProperty name="width" value="0.05" units="cm"/>
      <inkml:brushProperty name="height" value="0.05" units="cm"/>
      <inkml:brushProperty name="ignorePressure" value="1"/>
    </inkml:brush>
  </inkml:definitions>
  <inkml:trace contextRef="#ctx0" brushRef="#br0">107 1,'-4'3,"0"5,-4 0,0 3,1 2,-1 3,1 2,-2-3,0 0,2 1,-1-3,1 0,1 1,2 2,-1 1,-1-2</inkml:trace>
</inkml:ink>
</file>

<file path=ppt/ink/ink1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7.696"/>
    </inkml:context>
    <inkml:brush xml:id="br0">
      <inkml:brushProperty name="width" value="0.05" units="cm"/>
      <inkml:brushProperty name="height" value="0.05" units="cm"/>
      <inkml:brushProperty name="ignorePressure" value="1"/>
    </inkml:brush>
  </inkml:definitions>
  <inkml:trace contextRef="#ctx0" brushRef="#br0">174 0,'-13'4,"-8"3,-4 5,0 0,0 1,2 2,1 2,7 1,10-3,9-4,7-3,5-3,3-3,2-2,0 0,0-1,-3 0</inkml:trace>
</inkml:ink>
</file>

<file path=ppt/ink/ink1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8.033"/>
    </inkml:context>
    <inkml:brush xml:id="br0">
      <inkml:brushProperty name="width" value="0.05" units="cm"/>
      <inkml:brushProperty name="height" value="0.05" units="cm"/>
      <inkml:brushProperty name="ignorePressure" value="1"/>
    </inkml:brush>
  </inkml:definitions>
  <inkml:trace contextRef="#ctx0" brushRef="#br0">99 1,'-7'6,"-2"6,-3 4,1 3,2 1,0 1,0-1,3 1,2-1,-2 0,0 0,2-1,0 1,2-1,1-3</inkml:trace>
</inkml:ink>
</file>

<file path=ppt/ink/ink1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8.577"/>
    </inkml:context>
    <inkml:brush xml:id="br0">
      <inkml:brushProperty name="width" value="0.05" units="cm"/>
      <inkml:brushProperty name="height" value="0.05" units="cm"/>
      <inkml:brushProperty name="ignorePressure" value="1"/>
    </inkml:brush>
  </inkml:definitions>
  <inkml:trace contextRef="#ctx0" brushRef="#br0">131 1,'-6'1,"1"1,-1 0,1 0,-1 1,1 0,0 0,0 0,-7 7,10-8,1-1,0 1,0 0,0 0,0-1,0 1,0 0,1 0,-1 0,1 0,-1 0,1 0,0 0,0 0,-1 0,2 1,-1-1,0 0,0 0,1 0,-1 0,1 0,-1 0,1 0,0 0,0-1,0 1,2 3,1 2,0 1,-1-1,0 1,0 0,-1 0,0 0,0 0,1 13,-3-18,-1 0,1 0,-1 1,1-1,-1 0,0 0,0 0,0 0,-1 0,1 0,-1 0,1 0,-1-1,0 1,0-1,0 1,-1-1,1 0,-1 1,1-1,-1-1,0 1,1 0,-1-1,-4 2,-28 9,18-9</inkml:trace>
</inkml:ink>
</file>

<file path=ppt/ink/ink1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8.920"/>
    </inkml:context>
    <inkml:brush xml:id="br0">
      <inkml:brushProperty name="width" value="0.05" units="cm"/>
      <inkml:brushProperty name="height" value="0.05" units="cm"/>
      <inkml:brushProperty name="ignorePressure" value="1"/>
    </inkml:brush>
  </inkml:definitions>
  <inkml:trace contextRef="#ctx0" brushRef="#br0">95 0,'0'14,"0"10,-3 8,-5 8,0 5,-3 3,-3 2,2-3,-1 2,1-5,4-3,3-8</inkml:trace>
</inkml:ink>
</file>

<file path=ppt/ink/ink1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0.144"/>
    </inkml:context>
    <inkml:brush xml:id="br0">
      <inkml:brushProperty name="width" value="0.05" units="cm"/>
      <inkml:brushProperty name="height" value="0.05" units="cm"/>
      <inkml:brushProperty name="ignorePressure" value="1"/>
    </inkml:brush>
  </inkml:definitions>
  <inkml:trace contextRef="#ctx0" brushRef="#br0">73 1,'1'0,"0"0,0 0,0 0,0 0,0 0,0 0,0 1,0-1,0 0,0 0,-1 1,1-1,0 1,0-1,0 1,0-1,-1 1,1-1,0 1,0 0,-1-1,1 1,-1 0,1 0,-1-1,1 1,-1 0,1 1,0 1,0-1,-1 1,0 0,0-1,0 1,0 0,0-1,0 1,0 0,-2 3,-1 4,0-1,0 1,-1-1,-7 14,-20 10,27-29,0-1,0 1,0-1,1 1,0 1,-1-1,1 0,1 1,-1-1,-3 10,6-14,0 1,1-1,-1 1,0-1,1 1,-1 0,0-1,1 1,-1-1,1 1,-1-1,1 0,-1 1,1-1,-1 1,1-1,0 0,-1 0,1 1,-1-1,1 0,0 0,-1 0,1 0,0 1,-1-1,1 0,0 0,-1 0,1 0,0-1,-1 1,1 0,1 0,25-3,50-20,-31 8,-29 10</inkml:trace>
</inkml:ink>
</file>

<file path=ppt/ink/ink1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0.480"/>
    </inkml:context>
    <inkml:brush xml:id="br0">
      <inkml:brushProperty name="width" value="0.05" units="cm"/>
      <inkml:brushProperty name="height" value="0.05" units="cm"/>
      <inkml:brushProperty name="ignorePressure" value="1"/>
    </inkml:brush>
  </inkml:definitions>
  <inkml:trace contextRef="#ctx0" brushRef="#br0">0 1,'3'0,"0"-1,1 2,-1-1,0 0,0 0,0 1,0 0,0-1,0 1,0 0,0 1,-1-1,1 0,0 1,-1 0,1-1,-1 1,1 0,-1 0,0 0,0 1,0-1,0 1,0-1,-1 1,1-1,1 5,-1 1,0-1,0 1,0 1,-1-1,-1 0,1 0,-1 0,-1 0,-1 12,-17 73,17-75</inkml:trace>
</inkml:ink>
</file>

<file path=ppt/ink/ink1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0.817"/>
    </inkml:context>
    <inkml:brush xml:id="br0">
      <inkml:brushProperty name="width" value="0.05" units="cm"/>
      <inkml:brushProperty name="height" value="0.05" units="cm"/>
      <inkml:brushProperty name="ignorePressure" value="1"/>
    </inkml:brush>
  </inkml:definitions>
  <inkml:trace contextRef="#ctx0" brushRef="#br0">1 60,'6'-5,"0"0,0 1,1 0,-1 0,1 1,0 0,0 0,0 1,12-3,71-11,-83 15,26-2,49 2,-62 1,-3 0</inkml:trace>
</inkml:ink>
</file>

<file path=ppt/ink/ink1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1.301"/>
    </inkml:context>
    <inkml:brush xml:id="br0">
      <inkml:brushProperty name="width" value="0.05" units="cm"/>
      <inkml:brushProperty name="height" value="0.05" units="cm"/>
      <inkml:brushProperty name="ignorePressure" value="1"/>
    </inkml:brush>
  </inkml:definitions>
  <inkml:trace contextRef="#ctx0" brushRef="#br0">211 0,'-14'1,"0"-1,1 2,-1 0,0 0,1 1,0 1,0 0,0 1,0 1,1 0,-1 0,2 1,-13 9,23-15,-1 0,1 0,0 0,0 1,-1-1,1 0,0 1,0-1,0 1,0-1,1 1,-1-1,0 1,1-1,-1 1,0 3,1-5,0 1,1 0,-1 0,0 0,0-1,1 1,-1 0,0 0,1-1,-1 1,1 0,-1-1,1 1,-1-1,1 1,-1 0,1-1,0 1,-1-1,1 0,0 1,-1-1,1 1,1-1,2 2,1-1,-1 0,1 0,-1 0,1 0,0-1,-1 0,1 0,0 0,6-2,32-9,-34 7,0 2,1-1,-1 1,1 0,-1 1,15 0,-21 1,-1 1,1-1,0 1,-1 0,1 0,0 0,-1 0,1 0,-1 0,0 1,1-1,-1 1,0 0,0 0,0 0,0 0,0 0,0 0,-1 0,1 0,-1 1,0-1,1 1,-1-1,0 1,0 0,0 3,10 31,-7-21</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4.734"/>
    </inkml:context>
    <inkml:brush xml:id="br0">
      <inkml:brushProperty name="width" value="0.025" units="cm"/>
      <inkml:brushProperty name="height" value="0.025" units="cm"/>
      <inkml:brushProperty name="ignorePressure" value="1"/>
    </inkml:brush>
  </inkml:definitions>
  <inkml:trace contextRef="#ctx0" brushRef="#br0">81 17,'25'-11,"-11"5,-30 12,12-5,1 0,0 0,0 0,1 1,-1 0,0-1,0 1,1 0,-1 0,1 0,-1 1,1-1,0 1,0-1,0 1,-3 5,5-6,-1 0,1 1,-1-1,1 0,-1 0,1 0,0 1,0-1,0 0,1 0,-1 1,0-1,1 0,0 0,-1 0,1 0,0 0,0 0,0 0,0 0,0 0,1 0,-1 0,0-1,4 3,-4-3,0 0,0 0,0 0,0 0,0 0,0 0,0 0,0 0,-1 0,1 0,0 1,-1-1,1 0,-1 0,1 1,-1-1,0 0,1 1,-1-1,0 1,0-1,0 0,0 1,0-1,0 0,0 1,-1-1,1 0,0 1,-1-1,1 0,-1 1,0-1,1 0,-1 0,0 0,0 1,0-1,1 0,-1 0,-2 0,-3 4,-1-1,1 0,-1 0,0 0,-15 4,16-6,-6 2</inkml:trace>
</inkml:ink>
</file>

<file path=ppt/ink/ink1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2.577"/>
    </inkml:context>
    <inkml:brush xml:id="br0">
      <inkml:brushProperty name="width" value="0.05" units="cm"/>
      <inkml:brushProperty name="height" value="0.05" units="cm"/>
      <inkml:brushProperty name="ignorePressure" value="1"/>
    </inkml:brush>
  </inkml:definitions>
  <inkml:trace contextRef="#ctx0" brushRef="#br0">52 1,'-2'0,"0"1,0-1,0 1,0 0,0-1,0 1,0 0,1 0,-1 1,0-1,1 0,-1 0,1 1,-1-1,1 1,0 0,-1-1,1 1,0 0,0 0,0-1,0 1,1 0,-2 4,0-1,0 1,1-1,-1 1,1 0,0-1,1 1,-1 10,2-13,0 0,-1 0,1 0,0-1,1 1,-1 0,0-1,1 1,-1-1,1 1,0-1,0 0,0 1,0-1,0 0,3 2,-4-4,0 1,0-1,0 1,0-1,0 1,0-1,0 1,0-1,0 0,0 1,0-1,0 0,0 0,0 0,0 0,0 0,1 0,-1 0,0-1,0 1,0 0,0-1,0 1,0 0,0-1,0 1,0-1,0 0,0 1,-1-1,1 0,0 1,0-1,0 0,-1 0,1 0,0 0,-1 1,1-1,-1 0,1 0,-1 0,0 0,1 0,-1-2,1 0,0 0,0 0,-1 0,1 0,-1 0,0 0,0 0,0 0,0 0,-1 0,1 0,-1 1,1-1,-1 0,0 0,0 0,-1 1,1-1,-4-4,2 1,-1 1,1 1,-1-1,-1 0,1 1,-1 0,1 0,-9-5,-5 0</inkml:trace>
</inkml:ink>
</file>

<file path=ppt/ink/ink1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3.485"/>
    </inkml:context>
    <inkml:brush xml:id="br0">
      <inkml:brushProperty name="width" value="0.05" units="cm"/>
      <inkml:brushProperty name="height" value="0.05" units="cm"/>
      <inkml:brushProperty name="ignorePressure" value="1"/>
    </inkml:brush>
  </inkml:definitions>
  <inkml:trace contextRef="#ctx0" brushRef="#br0">191 1,'-19'1,"-1"0,1 2,0 0,0 1,-21 7,38-10,0 0,0-1,0 1,0 0,0 0,0 0,1 0,-1 1,0-1,0 0,1 1,-1-1,1 1,-1 0,1-1,-2 4,3-4,-1 1,1-1,0 0,0 1,-1-1,1 1,0-1,0 0,1 1,-1-1,0 1,0-1,1 0,-1 1,0-1,1 1,0-1,-1 0,2 2,4 6,1-1,0 1,1-1,-1-1,14 10,3 6,-21-21,-1 0,0 1,0-1,0 1,0 0,0-1,0 1,-1 0,1 0,-1 0,0 0,0 0,0 1,0-1,-1 0,1 0,-1 0,0 1,0-1,0 0,0 1,-1-1,1 0,-1 0,0 0,0 1,0-1,0 0,-1 0,1 0,-1-1,0 1,-2 3,-2 0,0 1,0-1,-1-1,0 1,0-1,0-1,-1 1,1-1,-1 0,0-1,-14 4,5-2</inkml:trace>
</inkml:ink>
</file>

<file path=ppt/ink/ink1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3.834"/>
    </inkml:context>
    <inkml:brush xml:id="br0">
      <inkml:brushProperty name="width" value="0.05" units="cm"/>
      <inkml:brushProperty name="height" value="0.05" units="cm"/>
      <inkml:brushProperty name="ignorePressure" value="1"/>
    </inkml:brush>
  </inkml:definitions>
  <inkml:trace contextRef="#ctx0" brushRef="#br0">86 0,'0'7,"0"8,0 5,0 6,-4 5,0 7,-1 7,-1 6,-1 4,-2 3,1-3,-3 0,2 1,2-4,-1-2,0-12</inkml:trace>
</inkml:ink>
</file>

<file path=ppt/ink/ink1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7.539"/>
    </inkml:context>
    <inkml:brush xml:id="br0">
      <inkml:brushProperty name="width" value="0.05" units="cm"/>
      <inkml:brushProperty name="height" value="0.05" units="cm"/>
      <inkml:brushProperty name="ignorePressure" value="1"/>
    </inkml:brush>
  </inkml:definitions>
  <inkml:trace contextRef="#ctx0" brushRef="#br0">263 0,'-50'2,"1"2,-87 18,135-22,0 0,-1 0,1 0,0 0,0 0,-1 1,1-1,0 1,0-1,0 1,0-1,-1 1,1 0,0-1,0 1,0 0,0 0,0 0,1 0,-1 0,0 0,0 0,1 0,-1 0,-1 2,3-2,-1 1,0-1,1 1,-1-1,1 0,-1 0,1 1,0-1,0 0,-1 0,1 0,0 1,0-1,0 0,0 0,0 0,0-1,3 2,5 5,1-1,0 0,0-1,17 6,-18-8,4 1,1 1,-1 0,0 1,21 12,-32-17,-1 0,1 0,-1 1,1-1,-1 1,1-1,-1 1,0-1,0 1,1 0,-1-1,-1 1,1 0,0 0,0 0,-1 0,2 2,-3-2,1 0,0 0,-1 1,1-1,-1 0,1 0,-1 0,0 0,0 0,0 0,0-1,0 1,0 0,-1 0,1-1,-1 1,1-1,-1 1,1-1,-3 2,-4 2,0-1,0 1,-1-1,1-1,-1 0,1 0,-1 0,-17 1,11-2</inkml:trace>
</inkml:ink>
</file>

<file path=ppt/ink/ink1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7.877"/>
    </inkml:context>
    <inkml:brush xml:id="br0">
      <inkml:brushProperty name="width" value="0.05" units="cm"/>
      <inkml:brushProperty name="height" value="0.05" units="cm"/>
      <inkml:brushProperty name="ignorePressure" value="1"/>
    </inkml:brush>
  </inkml:definitions>
  <inkml:trace contextRef="#ctx0" brushRef="#br0">103 1,'-2'32,"-2"1,-1-1,-2 0,-1 0,-21 54,-15 57,41-124,3-3</inkml:trace>
</inkml:ink>
</file>

<file path=ppt/ink/ink1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8.287"/>
    </inkml:context>
    <inkml:brush xml:id="br0">
      <inkml:brushProperty name="width" value="0.05" units="cm"/>
      <inkml:brushProperty name="height" value="0.05" units="cm"/>
      <inkml:brushProperty name="ignorePressure" value="1"/>
    </inkml:brush>
  </inkml:definitions>
  <inkml:trace contextRef="#ctx0" brushRef="#br0">91 1,'0'0,"1"-1,-1 1,1 0,-1 0,1 0,-1 1,0-1,1 0,-1 0,1 0,-1 0,1 0,-1 0,1 1,-1-1,0 0,1 0,-1 1,1-1,-1 0,0 1,1-1,-1 0,0 1,0-1,1 0,-1 1,0-1,0 1,1-1,-1 0,0 1,0 0,-3 18,-16 14,17-31,1 0,0 1,-1-1,1 1,0-1,0 1,1-1,-1 1,1 0,-1-1,1 1,0 0,0 0,0-1,0 1,0 0,1-1,-1 1,1 0,0-1,0 1,0-1,0 1,0-1,0 1,1-1,1 3,-1-1,0 0,0 0,0 1,-1-1,1 1,-1-1,1 7,-2-9,-1 0,1 0,0 0,-1 0,1 0,-1 0,1-1,-1 1,0 0,0 0,0 0,0 0,0-1,0 1,-1-1,1 1,0-1,-1 1,0-1,1 0,-4 2,-3 3,0-1,-1-1,0 0,-12 4,3-1</inkml:trace>
</inkml:ink>
</file>

<file path=ppt/ink/ink1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8.623"/>
    </inkml:context>
    <inkml:brush xml:id="br0">
      <inkml:brushProperty name="width" value="0.05" units="cm"/>
      <inkml:brushProperty name="height" value="0.05" units="cm"/>
      <inkml:brushProperty name="ignorePressure" value="1"/>
    </inkml:brush>
  </inkml:definitions>
  <inkml:trace contextRef="#ctx0" brushRef="#br0">1 4,'2'1,"0"0,0 1,0-1,0 1,-1 0,1-1,0 1,-1 0,0 0,1 0,-1 0,0 1,0-1,0 0,0 0,1 4,7 11,-7-15,1 1,0 0,1-1,-1 0,0 0,1 0,-1 0,1-1,-1 1,1-1,0 0,0 0,-1 0,9 0,-11-1,1 0,-1 1,0-1,1 0,-1 0,0 0,1 0,-1 0,0-1,1 1,-1 0,0-1,0 1,1-1,-1 1,0-1,0 0,0 1,1-1,-1 0,0 0,0 0,0 0,0 0,-1 0,1 0,0 0,0 0,-1 0,1 0,0 0,-1-1,1 1,-1 0,0 0,1-1,-1 1,0 0,0-1,0 1,0 0,0-1,0 1,0-3,-1 2,1 0,-1 0,0 1,1-1,-1 0,0 0,0 0,0 1,0-1,0 0,0 1,-1-1,1 1,-1-1,1 1,-1 0,1 0,-1 0,0 0,1 0,-1 0,0 0,0 0,-4 0,-2-2,0 2,0-1,0 1,-14 0,4 1</inkml:trace>
</inkml:ink>
</file>

<file path=ppt/ink/ink1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8.953"/>
    </inkml:context>
    <inkml:brush xml:id="br0">
      <inkml:brushProperty name="width" value="0.05" units="cm"/>
      <inkml:brushProperty name="height" value="0.05" units="cm"/>
      <inkml:brushProperty name="ignorePressure" value="1"/>
    </inkml:brush>
  </inkml:definitions>
  <inkml:trace contextRef="#ctx0" brushRef="#br0">1 0,'2'2,"-1"-1,1 1,0 0,0-1,-1 1,1 0,-1 0,1 0,-1 0,0 1,0-1,0 0,0 0,1 5,11 18,-10-23,1 1,-1-1,1 0,-1-1,1 1,0 0,0-1,0 0,0 0,0 0,0-1,0 1,7-1,-10 0,0 0,0 0,1 1,-1-1,0 0,0 0,0 0,0-1,0 1,0 0,0 0,0 0,0-1,0 1,0-1,0 1,0-1,0 1,0-1,0 1,0-1,0 0,0 0,-1 1,1-1,0 0,-1 0,1 0,0 0,-1 0,1 0,-1 0,1 0,-1 0,0 0,0 0,1 0,-1 0,0 0,0 0,0 0,0 0,0-1,0 1,0 0,0 0,-1 0,1 0,0 0,-1 0,1 0,-1-1,-1-1,0 0,0 0,0 0,-1 1,1-1,-1 1,1 0,-1-1,0 1,0 0,0 1,0-1,0 0,0 1,0 0,-1 0,1 0,0 0,-1 0,1 1,-1-1,1 1,-1 0,1 0,-5 1,-11 2</inkml:trace>
</inkml:ink>
</file>

<file path=ppt/ink/ink1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9.285"/>
    </inkml:context>
    <inkml:brush xml:id="br0">
      <inkml:brushProperty name="width" value="0.05" units="cm"/>
      <inkml:brushProperty name="height" value="0.05" units="cm"/>
      <inkml:brushProperty name="ignorePressure" value="1"/>
    </inkml:brush>
  </inkml:definitions>
  <inkml:trace contextRef="#ctx0" brushRef="#br0">1 15,'0'6,"0"-1,0 1,1-1,0 1,0-1,1 0,-1 1,1-1,0 0,1 0,-1 0,1 0,0-1,0 1,0-1,1 0,0 1,6 5,-6-8,-1 0,0 0,1 0,-1 0,1-1,0 0,-1 1,1-1,0-1,0 1,0 0,-1-1,1 0,0 0,0 0,0 0,0-1,0 1,0-1,-1 0,1 0,0-1,-1 1,1-1,-1 0,1 0,4-3,-6 4,-1 0,1-1,0 1,-1 0,1-1,0 1,-1-1,0 1,1-1,-1 0,0 0,0 0,0 1,0-1,0 0,-1 0,1 0,-1 0,1 0,-1-1,1 1,-1 0,0 0,0 0,0 0,-1 0,1 0,0 0,-1 0,1-1,-1 1,0 0,1 1,-1-1,0 0,0 0,-1 0,0-1,0-1,-1 1,1 0,0 0,-1 1,0-1,0 0,0 1,0 0,0 0,0 0,0 0,-1 0,1 0,-1 1,0 0,1 0,-1 0,0 0,1 0,-8 0,-6 4,1 0</inkml:trace>
</inkml:ink>
</file>

<file path=ppt/ink/ink1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0.324"/>
    </inkml:context>
    <inkml:brush xml:id="br0">
      <inkml:brushProperty name="width" value="0.05" units="cm"/>
      <inkml:brushProperty name="height" value="0.05" units="cm"/>
      <inkml:brushProperty name="ignorePressure" value="1"/>
    </inkml:brush>
  </inkml:definitions>
  <inkml:trace contextRef="#ctx0" brushRef="#br0">250 10,'-15'-3,"0"0,0 1,0 1,0 1,0 0,0 1,-1 0,-17 5,33-6,-1 0,1 0,-1 0,0 0,1 0,-1 0,1 0,-1 0,1 0,-1 0,1 0,-1 0,1 0,-1 0,1 1,-1-1,1 0,-1 0,1 1,-1-1,1 0,-1 1,1-1,0 0,-1 1,1-1,0 1,-1-1,1 0,0 1,0-1,-1 1,1-1,0 1,0-1,0 1,-1-1,1 2,17 13,33 9,-50-24,7 3,1 1,-1-1,0 1,0 0,-1 1,0-1,1 1,6 8,-12-12,0 1,0-1,0 0,0 1,0 0,0-1,0 1,-1-1,1 1,-1 0,1 0,-1-1,0 1,0 0,1 0,-1 0,0-1,-1 1,1 0,0 0,0-1,-1 1,1 0,-1 0,0-1,1 1,-1 0,0-1,0 1,0-1,0 1,0-1,0 0,0 1,-1-1,1 0,-1 0,1 0,0 0,-1 0,0 0,-1 1,-7 4,0 0,-1 0,0-1,1 0,-2-1,1 0,0-1,-1-1,1 1,-1-2,0 1,0-2,0 0,-14-1,10-3</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5.833"/>
    </inkml:context>
    <inkml:brush xml:id="br0">
      <inkml:brushProperty name="width" value="0.025" units="cm"/>
      <inkml:brushProperty name="height" value="0.025" units="cm"/>
      <inkml:brushProperty name="ignorePressure" value="1"/>
    </inkml:brush>
  </inkml:definitions>
  <inkml:trace contextRef="#ctx0" brushRef="#br0">31 18,'64'-13,"-51"9,-44 13,28-8,1 0,-1-1,0 1,0 0,1 0,-1 0,1 1,-1-1,1 1,-1-1,1 1,0 0,0 0,0 0,0 0,0 0,0 0,-1 3,2-2,1 0,0 0,0 0,0 0,0 0,0 0,0 0,1 0,0 0,0 0,-1 0,2-1,-1 1,0 0,0-1,1 1,1 2,-1-3,-1 1,1 0,-1-1,0 1,0 0,0-1,-1 1,1 0,-1 0,1 0,-1 0,0 0,0 0,0-1,-1 5,0-5,1-1,-1 1,0 0,0 0,0-1,0 1,-1 0,1-1,0 0,-1 1,1-1,-1 0,1 1,-1-1,0 0,1 0,-1 0,0-1,0 1,0 0,1-1,-1 1,-3 0,-11 2</inkml:trace>
</inkml:ink>
</file>

<file path=ppt/ink/ink1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0.668"/>
    </inkml:context>
    <inkml:brush xml:id="br0">
      <inkml:brushProperty name="width" value="0.05" units="cm"/>
      <inkml:brushProperty name="height" value="0.05" units="cm"/>
      <inkml:brushProperty name="ignorePressure" value="1"/>
    </inkml:brush>
  </inkml:definitions>
  <inkml:trace contextRef="#ctx0" brushRef="#br0">135 1,'1'2,"0"0,1 0,-1 0,0 1,0-1,-1 1,1-1,0 1,-1-1,0 1,1-1,-1 1,0-1,0 1,-1 4,-7 43,5-40,-8 35,-3 0,-29 65,21-59,-17 64,35-99</inkml:trace>
</inkml:ink>
</file>

<file path=ppt/ink/ink1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1.225"/>
    </inkml:context>
    <inkml:brush xml:id="br0">
      <inkml:brushProperty name="width" value="0.05" units="cm"/>
      <inkml:brushProperty name="height" value="0.05" units="cm"/>
      <inkml:brushProperty name="ignorePressure" value="1"/>
    </inkml:brush>
  </inkml:definitions>
  <inkml:trace contextRef="#ctx0" brushRef="#br0">134 1,'4'0,"-1"0,0 0,0 0,0 0,0 1,0-1,0 1,0 0,0 0,0 0,0 0,0 0,0 1,0-1,-1 1,1 0,-1 0,1 0,-1 0,0 0,4 5,-5-5,0 1,0-1,-1 1,1 0,-1-1,1 1,-1 0,0-1,0 1,0 0,0-1,0 1,-1 0,1-1,-1 1,0-1,1 1,-1-1,0 1,-1-1,1 1,0-1,-1 0,1 0,-4 3,4-3,0-1,0 1,1 0,-1 0,0-1,1 1,-1 0,1 0,-1 0,1 0,0 0,0 0,0 0,0 0,0 0,0-1,1 1,-1 0,0 0,1 0,0 0,-1 0,1-1,0 1,0 0,0-1,0 1,0 0,1-1,-1 1,0-1,1 0,2 3,15 25,-18-27,-1 0,0-1,0 1,0-1,0 1,0 0,0-1,0 1,0-1,-1 1,1-1,-1 1,1 0,-1-1,0 0,1 1,-1-1,0 1,0-1,0 0,0 0,-2 2,-3 3,0-1,-1 0,1 0,-1 0,0-1,0 0,-1-1,0 0,1 0,-12 3,13-4,-1-1,1 1,-1-1,1 0,-1-1,1 1,-1-1,0-1,1 1,-1-1,1 0,-1-1,-8-2,3-5,4 0</inkml:trace>
</inkml:ink>
</file>

<file path=ppt/ink/ink1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1.617"/>
    </inkml:context>
    <inkml:brush xml:id="br0">
      <inkml:brushProperty name="width" value="0.05" units="cm"/>
      <inkml:brushProperty name="height" value="0.05" units="cm"/>
      <inkml:brushProperty name="ignorePressure" value="1"/>
    </inkml:brush>
  </inkml:definitions>
  <inkml:trace contextRef="#ctx0" brushRef="#br0">93 1,'6'0,"0"0,1 0,-1 1,0 0,0 0,0 1,0-1,0 1,10 5,-15-6,1 0,-1 0,0-1,0 1,0 0,0 0,0 0,0 1,0-1,0 0,-1 0,1 0,0 1,-1-1,1 0,-1 1,1-1,0 3,-1-2,0 0,0 1,-1-1,1 1,0-1,-1 0,0 1,1-1,-1 0,0 0,0 1,0-1,-1 0,-1 3,-9 10,0 0,-1-1,-1-1,0 0,-17 12,-36 35,66-60,1 0,0 0,-1 0,1 1,0-1,-1 0,1 0,0 0,0 1,-1-1,1 0,0 1,0-1,0 0,-1 1,1-1,0 0,0 1,0-1,0 0,0 1,0-1,-1 0,1 1,0-1,0 0,0 1,0-1,0 0,1 1,-1-1,0 1,0-1,0 0,0 1,0-1,0 0,1 1,-1-1,0 0,0 1,0-1,1 0,-1 1,21 2,23-8,78-21,-105 23</inkml:trace>
</inkml:ink>
</file>

<file path=ppt/ink/ink1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1.955"/>
    </inkml:context>
    <inkml:brush xml:id="br0">
      <inkml:brushProperty name="width" value="0.05" units="cm"/>
      <inkml:brushProperty name="height" value="0.05" units="cm"/>
      <inkml:brushProperty name="ignorePressure" value="1"/>
    </inkml:brush>
  </inkml:definitions>
  <inkml:trace contextRef="#ctx0" brushRef="#br0">131 18,'-1'-1,"1"0,-1 0,1 0,-1 0,0 0,1 0,-1 0,0 0,0 0,0 1,0-1,0 0,0 0,0 1,0-1,0 1,0-1,0 1,0-1,0 1,0-1,0 1,-1 0,1 0,0 0,-2 0,0 0,0 0,0 1,-1 0,1 0,0 0,0 0,0 0,0 1,-5 3,0 0,0 1,0 0,1 1,0 0,-11 13,16-17,1 0,-1 0,1 0,0 0,0 0,0 0,0 0,1 0,-1 1,1-1,0 0,0 0,0 1,0-1,2 6,-2-8,0 1,1-1,-1 0,0 0,1 0,-1 0,1 0,-1 0,1 0,0 0,-1 0,1 0,0 0,0 0,0 0,0 0,0 0,0-1,0 1,0 0,0-1,0 1,0-1,0 1,0-1,0 0,1 1,-1-1,0 0,0 0,0 0,1 0,-1 0,0 0,0 0,0 0,1-1,-1 1,0 0,0-1,0 1,0-1,0 1,2-1,-2 0,0 0,1 1,-1-1,0 0,1 0,-1 0,0 0,0 0,0 0,0 0,0 0,0 0,0-1,0 1,-1 0,1 0,0-1,-1 1,1-1,-1 1,1-1,-1 1,0-1,0 1,1-1,-1 1,0-2,-1 0,1-1,0 1,-1 0,0 0,0 0,0 0,0 0,0 0,-1 0,1 0,-4-4,-7-7</inkml:trace>
</inkml:ink>
</file>

<file path=ppt/ink/ink1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2.282"/>
    </inkml:context>
    <inkml:brush xml:id="br0">
      <inkml:brushProperty name="width" value="0.05" units="cm"/>
      <inkml:brushProperty name="height" value="0.05" units="cm"/>
      <inkml:brushProperty name="ignorePressure" value="1"/>
    </inkml:brush>
  </inkml:definitions>
  <inkml:trace contextRef="#ctx0" brushRef="#br0">0 1,'3'3,"2"5,-1 4,0 3,-2 2,0 3,-2 0,1 0,-1-3</inkml:trace>
</inkml:ink>
</file>

<file path=ppt/ink/ink1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2.601"/>
    </inkml:context>
    <inkml:brush xml:id="br0">
      <inkml:brushProperty name="width" value="0.05" units="cm"/>
      <inkml:brushProperty name="height" value="0.05" units="cm"/>
      <inkml:brushProperty name="ignorePressure" value="1"/>
    </inkml:brush>
  </inkml:definitions>
  <inkml:trace contextRef="#ctx0" brushRef="#br0">1 20,'0'0</inkml:trace>
  <inkml:trace contextRef="#ctx0" brushRef="#br0" timeOffset="1">136 0,'4'0,"0"0</inkml:trace>
</inkml:ink>
</file>

<file path=ppt/ink/ink1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2.936"/>
    </inkml:context>
    <inkml:brush xml:id="br0">
      <inkml:brushProperty name="width" value="0.05" units="cm"/>
      <inkml:brushProperty name="height" value="0.05" units="cm"/>
      <inkml:brushProperty name="ignorePressure" value="1"/>
    </inkml:brush>
  </inkml:definitions>
  <inkml:trace contextRef="#ctx0" brushRef="#br0">0 0,'4'0,"3"0,2 0</inkml:trace>
</inkml:ink>
</file>

<file path=ppt/ink/ink1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30:14.129"/>
    </inkml:context>
    <inkml:brush xml:id="br0">
      <inkml:brushProperty name="width" value="0.05" units="cm"/>
      <inkml:brushProperty name="height" value="0.05" units="cm"/>
      <inkml:brushProperty name="ignorePressure" value="1"/>
    </inkml:brush>
  </inkml:definitions>
  <inkml:trace contextRef="#ctx0" brushRef="#br0">176 1,'-27'664,"-25"561,43-895,0-9,-29 207,18-341,11-115,-2 37,10-94</inkml:trace>
</inkml:ink>
</file>

<file path=ppt/ink/ink1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30:14.130"/>
    </inkml:context>
    <inkml:brush xml:id="br0">
      <inkml:brushProperty name="width" value="0.05" units="cm"/>
      <inkml:brushProperty name="height" value="0.05" units="cm"/>
      <inkml:brushProperty name="ignorePressure" value="1"/>
    </inkml:brush>
  </inkml:definitions>
  <inkml:trace contextRef="#ctx0" brushRef="#br0">0 82,'91'-17,"507"-6,565-12,-793 28,903 13,-758 30,55 3,-490-37,-42-3,-1 3,58 8,-57-4,-22-4</inkml:trace>
</inkml:ink>
</file>

<file path=ppt/ink/ink1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30:14.131"/>
    </inkml:context>
    <inkml:brush xml:id="br0">
      <inkml:brushProperty name="width" value="0.05" units="cm"/>
      <inkml:brushProperty name="height" value="0.05" units="cm"/>
      <inkml:brushProperty name="ignorePressure" value="1"/>
    </inkml:brush>
  </inkml:definitions>
  <inkml:trace contextRef="#ctx0" brushRef="#br0">0 2332,'5'-1,"0"0,0 0,0 0,-1 0,1-1,-1 0,1 0,-1 0,1-1,-1 1,0-1,0 0,-1 0,1 0,0-1,-1 1,0-1,0 0,0 0,3-6,3-4,-1 0,-1-1,0 0,8-27,1-11,125-377,-95 300,-25 66,43-91,6-12,-19 39,-1-8,-18 44,18-64,-38 109,3 0,1 1,34-64,4 1,19-33,-65 128,1 0,1 1,1 0,0 1,0 0,1 1,19-14,-21 18,0 1,0 1,0 0,1 0,0 1,0 1,0 0,0 0,1 1,-1 0,1 1,-1 0,1 1,-1 1,1 0,-1 0,1 1,-1 0,13 5,7 4,0 1,-1 2,0 1,-1 2,36 26,-56-37,135 101,-123-89,0 2,-1 1,0 0,19 30,59 104,-27-38,-15-25,61 131,-96-177,3-1,2-1,35 46,104 113,-106-142,116 96,8 5,-162-140,1-1,1-1,1-1,0-1,1-1,1-1,1-1,0-2,1 0,0-2,1-1,31 6,14 1,-46-9,1-1,1-2,-1-1,33 1,0-5,-15 1,0-1,1-3,-1-2,-1-1,73-21,-63 7,-1-3,-2-2,91-57,31-34,-168 112,0 0,0 1,1 0,-1 1,0 0,1 0,0 0,0 1,-1 0,1 1,0-1,0 2,0-1,-1 1,12 2,15 5,0 1,39 16,-22-7,-7-1,48 25,2 1,67 16,-136-52,2 0,-1-2,1-1,34 1,58 6,-59-3,-36-5,1 2,-1 0,0 1,-1 2,1 1,-1 0,30 19,9 10,68 55,-127-91,8 5,1 0,-1-1,2 0,-1-1,0-1,1 0,0 0,0-1,0-1,1 0,-1-1,0-1,15 0,21-4,0-1,54-13,-76 12</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4.130"/>
    </inkml:context>
    <inkml:brush xml:id="br0">
      <inkml:brushProperty name="width" value="0.025" units="cm"/>
      <inkml:brushProperty name="height" value="0.025" units="cm"/>
      <inkml:brushProperty name="ignorePressure" value="1"/>
    </inkml:brush>
  </inkml:definitions>
  <inkml:trace contextRef="#ctx0" brushRef="#br0">43 4,'-5'4,"1"1,0 0,0 0,1 0,-1 0,1 1,0 0,1-1,-1 1,1 0,0 0,-1 8,3-12,0-1,0 1,0 0,0 0,0 0,0-1,0 1,1 0,-1 0,1-1,-1 1,1 0,0-1,0 1,-1 0,1-1,0 0,2 3,-1-2,1-1,-1 1,0-1,1 1,-1-1,1 0,-1 0,1 0,-1-1,1 1,0 0,-1-1,1 0,0 1,-1-1,4-1,1 1,1-1,-1 0,0-1,0 0,0 0,0 0,0-1,-1 0,1 0,8-6,-13 8,-1 0,1 0,0 0,-1 0,1-1,0 1,-1 0,0-1,1 1,-1-1,0 1,0-1,0 0,0 1,0-1,0 0,0 0,-1 0,1 0,0 0,-1 0,0 0,1 0,-1 0,0 0,0 0,0 0,-1 0,1 1,0-1,-1 0,1 0,-1 0,0 0,1 0,-1 0,0 1,0-1,0 0,0 0,-3-1,1 0,0 0,-1 0,1 1,-1-1,0 1,1 0,-1 0,0 1,-1-1,1 1,0 0,0 0,0 0,-1 0,-8 1,-5-1</inkml:trace>
</inkml:ink>
</file>

<file path=ppt/ink/ink1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0.686"/>
    </inkml:context>
    <inkml:brush xml:id="br0">
      <inkml:brushProperty name="width" value="0.05" units="cm"/>
      <inkml:brushProperty name="height" value="0.05" units="cm"/>
      <inkml:brushProperty name="ignorePressure" value="1"/>
    </inkml:brush>
  </inkml:definitions>
  <inkml:trace contextRef="#ctx0" brushRef="#br0">77 193,'1'4,"0"-1,0 1,-1 0,1 0,-1 0,0 0,0-1,0 1,0 0,-2 6,1-3,-3 35,-1 0,-3-1,-1 0,-3 0,-28 69,50-141,11-57,8-33,9-31,-39 152,1 0,0 0,0 0,0-1,0 1,0 0,0 0,0 0,0 0,0-1,0 1,0 0,0 0,0 0,0 0,0-1,0 1,0 0,0 0,0 0,0 0,1-1,-1 1,0 0,0 0,0 0,0 0,0 0,0-1,0 1,1 0,-1 0,0 0,0 0,0 0,0 0,1 0,-1 0,0 0,0 0,0-1,0 1,1 0,-1 0,0 0,0 0,0 0,0 0,1 0,-1 0,0 0,0 1,0-1,0 0,1 0,-1 0,0 0,0 0,0 0,0 0,0 0,1 0,-1 0,0 1,10 15,4 24,-7-10,2 0,1 0,1-1,2 0,1-1,22 34,-35-60,-1-1,1 0,0 1,0-1,0 0,0 0,0 1,0-1,0 0,0 0,0 0,1 0,-1-1,0 1,1 0,-1 0,0-1,1 1,-1-1,1 1,-1-1,4 1,-4-2,0 1,0-1,0 1,1-1,-1 0,0 0,0 0,0 1,0-1,0 0,0 0,0 0,0 0,-1 0,1-1,0 1,-1 0,1 0,-1 0,1-2,3-6,-1-1,-1 1,0-1,0 1,0-19,7-127,0-23,-9 139,0 23</inkml:trace>
</inkml:ink>
</file>

<file path=ppt/ink/ink1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2.367"/>
    </inkml:context>
    <inkml:brush xml:id="br0">
      <inkml:brushProperty name="width" value="0.05" units="cm"/>
      <inkml:brushProperty name="height" value="0.05" units="cm"/>
      <inkml:brushProperty name="ignorePressure" value="1"/>
    </inkml:brush>
  </inkml:definitions>
  <inkml:trace contextRef="#ctx0" brushRef="#br0">331 3,'-3'-2,"-6"9,-5 10,-8 19,2 2,2 1,-13 41,17-44,-112 328,104-280,3 1,-11 124,28-181,2 0,0 0,2-1,1 1,1-1,2 0,1 0,0 0,2-1,2 0,15 29,-18-42</inkml:trace>
</inkml:ink>
</file>

<file path=ppt/ink/ink1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3.534"/>
    </inkml:context>
    <inkml:brush xml:id="br0">
      <inkml:brushProperty name="width" value="0.05" units="cm"/>
      <inkml:brushProperty name="height" value="0.05" units="cm"/>
      <inkml:brushProperty name="ignorePressure" value="1"/>
    </inkml:brush>
  </inkml:definitions>
  <inkml:trace contextRef="#ctx0" brushRef="#br0">1 412,'1'-4,"0"0,0 0,0 0,1 0,0 0,-1 0,4-4,6-13,93-310,-102 307,-10 33,-13 39,17-31,-1 8,0-1,-2 44,7-62,-1-1,2 1,-1-1,0 0,1 1,0-1,0 0,1 0,0 1,0-1,0-1,0 1,1 0,-1 0,1-1,0 1,1-1,6 7,-8-10,-1 1,1-1,0 0,0 0,0 0,0 0,0 0,0 0,0 0,0-1,0 1,1-1,-1 0,0 1,0-1,0 0,1 0,-1 0,0-1,0 1,4-1,-1-1,-1 0,1 0,-1-1,0 1,0-1,0 0,0 0,-1 0,6-6,2-5,0 0,-1 0,-1-1,12-24,26-87,-50 136,0 0,0 0,1 1,0-1,1 1,0 0,1-1,0 1,0 0,2-1,3 18,-4-20,1-1,1 0,-1-1,1 1,1 0,-1-1,1 0,0 1,0-2,1 1,0 0,0-1,0 0,1 0,-1 0,1-1,10 6,-4-4</inkml:trace>
</inkml:ink>
</file>

<file path=ppt/ink/ink1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4.650"/>
    </inkml:context>
    <inkml:brush xml:id="br0">
      <inkml:brushProperty name="width" value="0.05" units="cm"/>
      <inkml:brushProperty name="height" value="0.05" units="cm"/>
      <inkml:brushProperty name="ignorePressure" value="1"/>
    </inkml:brush>
  </inkml:definitions>
  <inkml:trace contextRef="#ctx0" brushRef="#br0">55 1,'-3'6,"-2"6,1 5,1 1,0 2,2 1,-3 0,-1-1,1 0,1 0,-2-3,-1-2,1 0,1-2</inkml:trace>
</inkml:ink>
</file>

<file path=ppt/ink/ink1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5.579"/>
    </inkml:context>
    <inkml:brush xml:id="br0">
      <inkml:brushProperty name="width" value="0.05" units="cm"/>
      <inkml:brushProperty name="height" value="0.05" units="cm"/>
      <inkml:brushProperty name="ignorePressure" value="1"/>
    </inkml:brush>
  </inkml:definitions>
  <inkml:trace contextRef="#ctx0" brushRef="#br0">233 32,'-22'21,"-46"33,62-50,0 0,0 0,0-1,0 1,-1-2,1 1,-1-1,0 0,1 0,-1-1,0 1,0-2,0 1,-10-1,16 0,-1 0,1 0,-1 0,1-1,0 1,-1 0,1-1,-1 1,1-1,0 1,-1-1,1 0,0 1,0-1,0 0,0 0,-1 0,1 0,0 0,1 0,-1 0,0 0,0 0,0-1,1 1,-1 0,0-1,1 1,-1 0,1-1,0 1,-1-1,1 1,0 0,0-1,0 1,0-1,0 1,0-1,0 1,1 0,0-2,0-1,0 0,0 0,1 0,0 1,0-1,0 1,0-1,1 1,-1 0,1 0,0 0,0 0,6-4,2 0,0 1,1 1,-1 0,1 0,1 1,-1 1,0 0,1 0,22 0,10 2,66 7,-1 0,-51-7,-43 1</inkml:trace>
</inkml:ink>
</file>

<file path=ppt/ink/ink1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6.283"/>
    </inkml:context>
    <inkml:brush xml:id="br0">
      <inkml:brushProperty name="width" value="0.05" units="cm"/>
      <inkml:brushProperty name="height" value="0.05" units="cm"/>
      <inkml:brushProperty name="ignorePressure" value="1"/>
    </inkml:brush>
  </inkml:definitions>
  <inkml:trace contextRef="#ctx0" brushRef="#br0">0 0,'5'3,"-1"0,1 0,-1 0,1-1,0 0,0 0,10 3,-11-4,0 0,1 1,-1-1,0 1,0 0,0 0,0 1,6 4,-9-6,0 1,0 0,0 0,0-1,0 1,-1 0,1 0,0 0,-1 0,1 0,-1 0,0 0,0 0,0 0,0 0,0 0,0 0,0 0,0 0,-1 0,1 0,-1 0,0-1,0 1,0 2,-24 33,21-32,0 0,0 0,0 1,1-1,0 1,-5 12,7-17,1 0,0 0,0 0,0 0,0-1,0 1,0 0,0 0,0 0,0 0,0 0,1 0,-1-1,0 1,1 0,-1 0,0 0,1-1,-1 1,1 0,-1-1,2 2,0-1,-1 1,1-1,1 0,-1 0,0 0,0 0,0 0,0 0,1-1,-1 1,0-1,3 1,16 1,1-1,26-3,-20 1,-10 1</inkml:trace>
</inkml:ink>
</file>

<file path=ppt/ink/ink1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6.978"/>
    </inkml:context>
    <inkml:brush xml:id="br0">
      <inkml:brushProperty name="width" value="0.05" units="cm"/>
      <inkml:brushProperty name="height" value="0.05" units="cm"/>
      <inkml:brushProperty name="ignorePressure" value="1"/>
    </inkml:brush>
  </inkml:definitions>
  <inkml:trace contextRef="#ctx0" brushRef="#br0">0 0,'19'8,"-1"-1,1-1,0 0,0-2,1 0,29 2,124-5,-12-1,-78 5,-1-3,111-13,-163 4,-18 2</inkml:trace>
</inkml:ink>
</file>

<file path=ppt/ink/ink1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8.742"/>
    </inkml:context>
    <inkml:brush xml:id="br0">
      <inkml:brushProperty name="width" value="0.05" units="cm"/>
      <inkml:brushProperty name="height" value="0.05" units="cm"/>
      <inkml:brushProperty name="ignorePressure" value="1"/>
    </inkml:brush>
  </inkml:definitions>
  <inkml:trace contextRef="#ctx0" brushRef="#br0">11 0,'-2'2,"1"1,0-1,0 0,0 1,0-1,0 1,0-1,1 1,-1-1,1 1,0 0,-1-1,1 1,0-1,1 1,-1 0,0-1,1 1,1 3,18 54,-18-54,34 73,87 141,-4-11,-101-172,-2 1,-1 1,18 75,-24-70,-2 0,-2 0,-2 1,-2 0,-1-1,-3 1,-2 0,-1-1,-3 0,-1-1,-2 0,-2 0,-26 51,16-43,-2-1,-2-2,-3-1,-1-1,-54 57,69-85</inkml:trace>
</inkml:ink>
</file>

<file path=ppt/ink/ink1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39.138"/>
    </inkml:context>
    <inkml:brush xml:id="br0">
      <inkml:brushProperty name="width" value="0.05" units="cm"/>
      <inkml:brushProperty name="height" value="0.05" units="cm"/>
      <inkml:brushProperty name="ignorePressure" value="1"/>
    </inkml:brush>
  </inkml:definitions>
  <inkml:trace contextRef="#ctx0" brushRef="#br0">31 0,'1'53,"0"-19,-1-1,-2 0,-9 56,-9 17,20-106,0-1,0 1,0 0,0 0,0 0,0 0,0 0,0 0,1 0,-1 0,0 0,0 0,0 0,0 0,0 0,0 0,0 0,0 0,0 0,0 0,0 0,0 0,0 0,1 0,-1 0,0 0,0 0,0 0,0 0,0 0,0 0,0 0,0 0,0 0,0 0,0 0,0 0,0 0,0 0,1 0,-1 0,0 0,0 0,0 1,0-1,0 0,0 0,0 0,9-13,15-28,-16 27,-1 3,2-5,0 0,2 1,0 0,15-15,-25 28,1 0,0 0,0 0,0 0,0 0,0 1,0-1,0 1,1-1,-1 1,0 0,1 0,-1 0,1 0,0 1,-1-1,1 1,-1-1,1 1,0 0,-1 0,1 0,0 0,-1 0,1 1,0-1,-1 1,1 0,-1 0,1 0,-1 0,1 0,-1 1,0-1,0 0,0 1,3 2,0 2,-1 0,0 0,0 1,-1-1,1 1,-1 0,-1 0,1 0,-1 0,-1 0,1 0,-1 1,0-1,-1 1,0 9,0-6,1 1,1-1,0 0,0 0,7 17,-3-14</inkml:trace>
</inkml:ink>
</file>

<file path=ppt/ink/ink1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44.866"/>
    </inkml:context>
    <inkml:brush xml:id="br0">
      <inkml:brushProperty name="width" value="0.05" units="cm"/>
      <inkml:brushProperty name="height" value="0.05" units="cm"/>
      <inkml:brushProperty name="ignorePressure" value="1"/>
    </inkml:brush>
  </inkml:definitions>
  <inkml:trace contextRef="#ctx0" brushRef="#br0">1 426,'10'-132,"0"-4,-12 100,1 27,0-1,0 0,1 0,0 0,1 1,0-1,1 0,0 1,4-12,-3 22,1 10,0 12,-3 0,1 0,1 0,1 0,7 23,-10-42,1 1,-1-1,1 1,0-1,0 0,0 0,0 0,1 0,0 0,-1 0,2-1,-1 1,0-1,1 0,-1 0,1 0,0 0,0-1,0 0,0 0,1 0,-1 0,0 0,1-1,-1 0,9 1,-8-2,0 0,0-1,0 1,0-1,-1-1,1 1,0-1,0 1,-1-1,1-1,-1 1,1-1,-1 1,0-1,0 0,-1-1,1 1,0-1,-1 1,0-1,0 0,0-1,-1 1,1 0,-1-1,2-5,2-3,-1-1,0 0,-1 0,0 0,-2-1,1 1,-1-26,-1-13,0 49,-2 14,0 11,0 7,0 0,2 0,8 44,-9-66,2 0,-1 1,1-1,-1 0,2-1,-1 1,1 0,0-1,0 1,0-1,1 0,0 0,0 0,0 0,0-1,1 0,0 0,0 0,0 0,0-1,1 0,8 4,1-2</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5.546"/>
    </inkml:context>
    <inkml:brush xml:id="br0">
      <inkml:brushProperty name="width" value="0.025" units="cm"/>
      <inkml:brushProperty name="height" value="0.025" units="cm"/>
      <inkml:brushProperty name="ignorePressure" value="1"/>
    </inkml:brush>
  </inkml:definitions>
  <inkml:trace contextRef="#ctx0" brushRef="#br0">32 0,'14'0,"21"2,-35-2,1 0,-1 0,0 0,0 0,0 0,0 0,0 0,0 0,1 0,-1 0,0 0,0 0,0 0,0 0,0 0,0 0,0 1,0-1,1 0,-1 0,0 0,0 0,0 0,0 0,0 0,0 1,0-1,0 0,0 0,0 0,0 0,0 0,0 0,0 1,0-1,0 0,0 0,0 0,0 0,0 0,0 0,0 1,0-1,0 0,0 0,0 0,0 0,0 0,0 0,-1 0,1 1,0-1,0 0,0 0,0 0,0 0,0 0,0 0,-20 11,12-7,0 0,1 0,-1 1,1 0,-8 6,14-11,1 1,-1 0,0-1,1 1,-1 0,0-1,1 1,-1 0,1 0,0 0,-1-1,1 1,0 0,-1 0,1 0,0 0,0 0,0 0,0 0,0 0,0-1,0 3,1-2,0 1,0-1,0 1,0-1,0 0,0 0,0 1,0-1,0 0,1 0,-1 0,1 0,-1 0,1-1,-1 1,1 0,2 0,-1 0,1 1,-1-1,0 1,0 0,0 0,0 0,0 0,0 0,-1 1,1-1,-1 1,0 0,1 0,-1 0,0 0,-1 0,3 6,-3-8,-1 1,0-1,1 0,-1 1,0-1,0 1,0-1,0 1,-1-1,1 0,0 1,0-1,-1 0,1 1,-1-1,0 0,1 1,-2 1,0-1,0 0,0 0,0 0,0 0,-1 0,1-1,0 1,-1-1,1 0,-1 1,0-1,-3 1,-13 3,1-3</inkml:trace>
</inkml:ink>
</file>

<file path=ppt/ink/ink1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45.766"/>
    </inkml:context>
    <inkml:brush xml:id="br0">
      <inkml:brushProperty name="width" value="0.05" units="cm"/>
      <inkml:brushProperty name="height" value="0.05" units="cm"/>
      <inkml:brushProperty name="ignorePressure" value="1"/>
    </inkml:brush>
  </inkml:definitions>
  <inkml:trace contextRef="#ctx0" brushRef="#br0">208 74,'-4'6,"0"0,-1-1,1 1,-1 0,0-1,0 0,-1-1,1 1,-1-1,0 0,0 0,-1-1,1 0,-1 0,-7 2,11-3,0-1,0 0,-1 0,1 0,-1 0,1-1,0 0,-1 1,1-1,-1 0,1-1,-1 1,1-1,-1 1,1-1,0 0,-1 0,1 0,0-1,0 1,0-1,0 0,0 0,0 0,0 0,1 0,-1-1,1 1,0-1,-1 0,1 0,-2-4,2 5,1-1,0 1,0-1,0 0,0 1,1-1,-1 0,1 0,-1 1,1-1,0 0,0 0,0 0,0 1,1-1,-1 0,1 0,0 1,0-1,0 0,0 1,0-1,0 1,1 0,-1-1,1 1,-1 0,1 0,0 0,0 0,0 0,0 0,1 0,-1 1,0-1,5-1,-1-1,1 1,0 0,-1 1,1-1,0 1,0 1,0-1,1 1,-1 0,0 1,0 0,1 0,7 1,33 6,0-2,75-3,-107-3</inkml:trace>
</inkml:ink>
</file>

<file path=ppt/ink/ink1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46.310"/>
    </inkml:context>
    <inkml:brush xml:id="br0">
      <inkml:brushProperty name="width" value="0.05" units="cm"/>
      <inkml:brushProperty name="height" value="0.05" units="cm"/>
      <inkml:brushProperty name="ignorePressure" value="1"/>
    </inkml:brush>
  </inkml:definitions>
  <inkml:trace contextRef="#ctx0" brushRef="#br0">1 18,'0'-1,"1"0,0-1,-1 1,1 0,0 0,-1 0,1 1,0-1,0 0,0 0,0 0,0 1,0-1,0 0,0 1,0-1,0 1,1-1,-1 1,0 0,0-1,0 1,1 0,-1 0,0 0,0 0,1 0,1 0,37 1,-37-1,-1 1,1-1,0 1,-1-1,1 1,-1 0,1 0,-1 0,1 1,-1-1,0 0,0 1,1 0,-1-1,0 1,-1 0,1 0,0 0,0 0,-1 0,1 1,-1-1,0 0,0 1,0-1,0 1,0-1,0 1,-1 0,1-1,-1 1,0 0,0-1,0 1,0 3,-2 8,-1-1,0 0,-1-1,0 1,-10 19,10-22,4-9,-1-1,1 1,-1 0,1 0,0 0,-1 0,1 0,0 0,0 0,0-1,-1 1,1 0,0 0,0 0,1 0,-1 0,0 0,0 0,0 0,1 0,-1 0,0 0,1-1,-1 1,0 0,1 0,0 0,-1-1,1 1,-1 0,1-1,0 1,1 1,0-1,1 0,0 0,1 1,-1-2,0 1,0 0,0-1,0 1,1-1,3 0,11-1,1-1,25-5,4-2,-29 6</inkml:trace>
</inkml:ink>
</file>

<file path=ppt/ink/ink1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6:16.158"/>
    </inkml:context>
    <inkml:brush xml:id="br0">
      <inkml:brushProperty name="width" value="0.05" units="cm"/>
      <inkml:brushProperty name="height" value="0.05" units="cm"/>
      <inkml:brushProperty name="ignorePressure" value="1"/>
    </inkml:brush>
  </inkml:definitions>
  <inkml:trace contextRef="#ctx0" brushRef="#br0">0 42,'3'-4,"2"-3,2-2,1-2,-1 1</inkml:trace>
</inkml:ink>
</file>

<file path=ppt/ink/ink1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6:45.247"/>
    </inkml:context>
    <inkml:brush xml:id="br0">
      <inkml:brushProperty name="width" value="0.05" units="cm"/>
      <inkml:brushProperty name="height" value="0.05" units="cm"/>
      <inkml:brushProperty name="ignorePressure" value="1"/>
    </inkml:brush>
  </inkml:definitions>
  <inkml:trace contextRef="#ctx0" brushRef="#br0">1 0,'0'0</inkml:trace>
</inkml:ink>
</file>

<file path=ppt/ink/ink17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4:09:45.353"/>
    </inkml:context>
    <inkml:brush xml:id="br0">
      <inkml:brushProperty name="width" value="0.05292" units="cm"/>
      <inkml:brushProperty name="height" value="0.05292" units="cm"/>
      <inkml:brushProperty name="color" value="#0070C0"/>
    </inkml:brush>
  </inkml:definitions>
  <inkml:trace contextRef="#ctx0" brushRef="#br0">14314 728 0,'40'0'31,"-14"0"-15,-13 0-16,1 0 0,12 0 0,0 13 15,-12-13-15,65 0 16,-66 0-16,14 0 0,-1 0 16,-13 0-16,40 0 15,-26 0-15,-1 0 16,-12 0-16</inkml:trace>
  <inkml:trace contextRef="#ctx0" brushRef="#br0" timeOffset="279.3">14737 569 0,'146'66'15,"-120"-53"-15,1 14 0,-1-14 16,14 13 0,-27-12-16,0 12 0,-13-13 0,14 1 0,-14-1 15,0 0-15,-14 13 0,-25 54 16,12-54-16,-52 40 16,39-52-1,14 12-15,-1-13 0</inkml:trace>
  <inkml:trace contextRef="#ctx0" brushRef="#br0" timeOffset="2869.34">16219 542 0,'-27'-13'0,"14"13"0,13 13 15,-39 14 1,25-14-16,1 0 0,0 1 16,0 12-16,-1-13 0,1 27 15,0-14-15,0-12 0,0 39 16,13-40-16,0 13 16,0-13-16,0 1 0,0-1 15,13 0-15,0-13 16,0 0-1,14 0-15,-14-13 0,0 13 16,14-27 0,-27 14-16,13 13 0,-13-13 0,13 13 15,0-13 1,0 26 0,1 0-16,-1 14 15,-13-14 1,26 13-1,-26-12-15,14-14 0,-1 13 0,0 0 16,0-13 0,14-13-16,-1 0 15,-13-1-15,1 1 16,-14 0-16,0 0 0,0-1 16,0-12-1,-14 13-15,14 0 0,-13 13 0,13-14 16,-13 1-16,0 13 0,13-13 0,-13 13 0,-1 0 15,14-13-15,-13 13 16,0 0-16,0 0 0,-1 13 16,1-13-16,13 13 15,-13 0-15,13 1 16,0-1-16,13 13 16,0-26-16,1 13 15,-1-13 1,0 0-16,0 0 0,1-13 0,-1 13 15,0-13-15,0 13 0,0-13 0,1 13 16,12-27 0,-13 14-16,1 13 0,-14-13 15,13 0 1,0 13-16,-13-14 16,13 28 15,-13-1-16,0 0 1,0 0-16,14 1 16,-1 12-1,0-26 1,0 13-16,0-26 16,1 13-16,-1-13 15,0 0 1,-13-1-16,13 1 15,-13 0-15,0 0 16,14-1 0,-14 41 46,0-14-46,0 0-1,13-13-15,-13 14 0,13-1 32,0-26-1,1 13-15,-14-14-16,13 14 15,0-13 1,13 13 31,-26 13-32,14-13 1,-1 0 0,-13-13 15,13 13-31,0 0 31,1 13-15,-1-13-1,0 0 1,0-13-16,14 0 16,-14 0-1,0-14 1,0 14-16,1-14 0,-14 14 0,0 0 15,13 0-15,-13 0 0,0-1 0,0 1 16,13 0-16,-13 0 16,0-1-1,0 41 17,-13-14-32,13 0 0,0 1 0,0-1 15,0 40 1,0-40-16,13 0 0,-13 14 15,0-14-15,0 0 16,13-13-16,-13 13 0,14 1 16,-1-14-16,0 0 31</inkml:trace>
  <inkml:trace contextRef="#ctx0" brushRef="#br0" timeOffset="3103.99">16841 648 0,'13'-13'16,"0"13"-16,0 0 15,1 0-15,-1 0 0,-13-13 0,13 13 16,0 0-16,1 0 0,-1 0 16,0 0-16</inkml:trace>
  <inkml:trace contextRef="#ctx0" brushRef="#br0" timeOffset="3580.47">17489 675 0,'13'0'31,"14"0"-15,-14 0-16,13 0 0,-12 0 16,-1 0-16,0 0 0,13 0 0,-12 0 15,-1 0-15,0 0 0,0-14 16,1 14-16,-1 0 0,13 0 15,-12 0-15,-14-13 16</inkml:trace>
  <inkml:trace contextRef="#ctx0" brushRef="#br0" timeOffset="3843.37">17701 529 0,'39'13'0,"-12"1"15,-14-1-15,27 0 16,-14 0-16,-13 1 0,1-1 16,12 26-1,-13-25-15,-13-1 0,0 27 16,0-27-16,-13 0 15,0 0-15,0 14 0,-1-14 0,1 0 0,0 0 16,0 1-16,-1-14 16,14 13-16,-13-13 0</inkml:trace>
  <inkml:trace contextRef="#ctx0" brushRef="#br0" timeOffset="5168.08">18719 423 0,'-53'40'16,"53"-27"-16,-26 27 16,26-14-16,-13-12 0,-1 12 15,14-13-15,0 14 0,-13 12 16,13-25-16,0-1 16,0 0-16,0 0 0,13-13 0,-13 14 15,14-14-15,-1 0 0,13-14 16,-12 14-1,12-13-15,-13 13 16,14-26-16,-14 26 16,0 0-1,-13 13-15,13-13 16,-13 13-16,14-13 0,-1 27 16,0-14-1,14-13 1,-14 0-16,0 0 0,0 0 15,0 0-15,14-13 16,-27-1-16,13 1 0,0-13 16,-13 12-16,0 1 15,-13 0-15,13 0 0,0 0 0,-13-1 16,-14-12 0,14 26-16,0 0 0,0 0 15,-14 0-15,14 13 16,0 0-16,0-13 0,-1 27 15,14-14-15,0 0 16,0 0 0,14 1-1,-1-14-15,13 0 0,-12 0 16,12 0-16,-13-14 0,0 14 16,40-26-1,-39 13-15,-1 13 0,0-13 0,0-1 16,1 14-16,-14-13 15,26 0-15,-13 13 32,-13 13-17,0 14 17,0-14-32,13-13 15,-13 13-15,0 0 16,14-13-1,-1 13-15,0-13 16,0 0 0,1-13-1,-1 13-15,0-13 16,0 13 0,-13-13-1,14 13 1,-14-13-16,13 13 0,0 0 15,0 0 1,-13 13 0,13-13-1,-13 13-15,14-13 16,-14 13 0,13-13-1,0-13 16,0 13-15,1-13-16,12 13 31,-26 13-31,27-13 16,-27 13-16,13-13 16,0 13-1,0-26-15,0 13 0,1 0 16</inkml:trace>
  <inkml:trace contextRef="#ctx0" brushRef="#br0" timeOffset="5391.19">19619 331 0,'0'13'31,"-13"0"-31,13 40 15,0-40-15,0 14 0,0-14 16,0 13-16,0 27 16,13-39-16,-13-1 0,0 13 15,13-12-15,-13-1 16,13 0-16,-13 0 16</inkml:trace>
  <inkml:trace contextRef="#ctx0" brushRef="#br0" timeOffset="5586.91">19487 556 0,'0'-14'15,"26"1"1,-13 13-16,0 0 0,1 0 0,-1 0 0,0 0 15,0 0-15,1-13 0,39 13 16,-40 0-16,0 0 16</inkml:trace>
  <inkml:trace contextRef="#ctx0" brushRef="#br0" timeOffset="5794.94">19923 503 0,'13'0'0,"-13"13"32,14 13-17,-14 1 1,0-14-16,0 14 16,-14-14-16,14 0 15,0 0 1</inkml:trace>
  <inkml:trace contextRef="#ctx0" brushRef="#br0" timeOffset="5920.17">19976 410 0,'-13'-13'15</inkml:trace>
  <inkml:trace contextRef="#ctx0" brushRef="#br0" timeOffset="6317.19">20029 331 0,'0'66'15,"13"-40"-15,-13 14 0,13 0 16,1-1-16,-1 1 0,13 79 16,-26-79-16,14-14 0,-14 1 15,13-1-15,-13 1 0,0 26 16,-13-40-16,-1 26 16,1-39-1,-13 0 16,12-13-31,1 0 0,13 0 16,0 0-16,0-1 16,0-12-16,13 13 0,-13-1 0,14-12 15,25-27-15,-25 27 16,12 12-16,0-12 0,14-14 16,-13 27-16,-14 0 15,13 0-15,-12 13 0,12-14 0,0 1 16,-12 0-16,-1 13 0,0-13 15,0 13-15</inkml:trace>
  <inkml:trace contextRef="#ctx0" brushRef="#br0" timeOffset="8212.86">16616 1085 0,'13'-13'0,"0"13"0,1 0 0,91-14 16,-65 14-16,13-13 15,0 13-15,0-13 0,0 13 16,0 0-16,0-13 0,-14 13 0,1 0 15,-14 0-15,27-14 16,-26 14-16,-14 0 0,13 0 0,-12 0 16</inkml:trace>
  <inkml:trace contextRef="#ctx0" brushRef="#br0" timeOffset="8605.24">17224 1138 0,'0'39'0,"14"-25"0,39 39 15,-27-27-15,0-13 16,14 14-16,0-14 0,-1 0 0,28 14 15,-14-14-15,224 27 32,-210-27-32,12-13 0,0 0 0,1 0 0,-1-13 0,-13 13 15,0-14-15,133-25 16,-146 12-16,39-13 16,-52 27-16,0-13 0,-14 13 15,1-14-15,25-13 16,-38 27-16,-1 0 0,0 0 15,0-1-15,-13 1 16,14 13-16,-14-13 0,0 0 16</inkml:trace>
  <inkml:trace contextRef="#ctx0" brushRef="#br0" timeOffset="9065.11">18785 1072 0,'27'-27'0,"-14"27"16,27-13 0,-27 13-16,27 13 15,-27-13-15,13 0 0,-12 13 0,25 1 32,-25-1-32,-1 0 0,0 0 0,-13 0 0,13-13 15,-13 14-15,13 12 16,-13-13-16,14 27 15</inkml:trace>
  <inkml:trace contextRef="#ctx0" brushRef="#br0" timeOffset="10707.02">19553 1336 0,'-40'0'0,"27"13"0,0-13 0,-54 27 32,67-14-32,-13-13 0,0 13 0,13 1 15,-13-14-15,13 26 16,0-13-16,13 0 0,0 27 15,0-27-15,1 1 16,-1-14-16,-13 13 0,26 27 16,-12-40-16,-14 13 0,13 0 15,-13 0-15,0 0 16,-13-13-16,-14 27 16,14-27-16,0 13 15,-1-13-15,1 0 0,0 0 0,0 0 16,-14 13-16,1-13 15,26-13 1,-13 13-16</inkml:trace>
  <inkml:trace contextRef="#ctx0" brushRef="#br0" timeOffset="11486.89">19619 1482 0,'0'26'16,"-13"-13"0,13 14-16,0-14 15,13 27 1,-13-27-16,13 0 15,0-13 1,1 13 0,-1-13-16,0-13 0,0 13 15,0-26 1,1 13-16,-14-1 16,13 1-1,-13 0 1,13 13-1,0 13 32,-13 0-31,14-13 0,-1 0 15,0 0-16,0 0-15,1 0 16,-1 0 0,0 14-1,13-1 1,-12-13 15,-14 13-15,13-13-1,0-13 1,14 0 0,-14 13-1,13 13 17,-13-13-32,-13 13 15,14-13 1,-14 13-1,26-26 1,1 0 0,-14 13-1,0-13-15,0 13 0,1 0 0</inkml:trace>
  <inkml:trace contextRef="#ctx0" brushRef="#br0" timeOffset="12009.13">20981 1614 0,'-13'0'0,"0"-13"16,0 0 0,13-14-16,-13 14 15,-1-67 1,14 54-16,0 0 0,0 12 0,0-39 16,14 27-1,-14-1-15,13 14 0,-13 0 0,13 0 16,0 13-16,-13-13 0,13 13 0,1 13 31,-14 13-15,-14 14-16,1-27 0,-13 14 15,13-1-15,-14 1 0,1-1 16,12-13-16,1 0 0,-27 27 16,27-27-16,0 1 15,0-14-15,13 13 16,39-26-1,-25 13 1,25-14 0,1 1-16,39 0 15,-52 0-15,13-1 16,-14 14-16,1 0 0,-14-13 16</inkml:trace>
  <inkml:trace contextRef="#ctx0" brushRef="#br0" timeOffset="12489.08">22106 1257 0,'-93'13'0,"80"-13"16,0 0-1,13 26 1,13-12-16,-13-1 15,13 0-15,-13 0 0,14 1 0,-1-1 16,26 27 0,-25-27-16,-1 0 0,0 0 0,0 0 15,1 14 1,-14-14-16,-14 14 16,14-14-16,-13-13 0,0 13 15,0-13-15,-1 13 0,1-13 16,0 0-16,-27 0 15,27 0-15,0 0 0,0 0 16,-1 0-16,1-13 16,13 0-16,13 0 15</inkml:trace>
  <inkml:trace contextRef="#ctx0" brushRef="#br0" timeOffset="13319.06">22251 1389 0,'-13'13'31,"0"1"-31,13-1 16,0 0-1,0 0-15,0 0 0,0 1 16,0-1-16,0 0 0,13-13 15,-13 13-15,13-13 0,1 0 16,-1 0 0,0 0-16,0 0 0,-13-13 15,14 13-15,-14-13 0,13 0 16,0-1-16,-13 1 16,13 13-16,-13-13 15,0 0-15,14 13 16,-14 26 15,0-13 0,13 1-15,0-1 0,0-26-1,0 13-15,1 0 16,-1-14-16,0 14 0,0 0 15,1 0 1,-1 0 0,0 14-16,0-1 15,-13 0 1,13-13-16,-13 13 16,14 1 15,-1-14 0,0 0-15,0 0-1,1 0 1,-1 13 0,-13 0-1,13-13 1,14 0 15,-27-13-15,13 13-1,0 0 1,0 0 0,0 0-1,1 13-15,-1-13 16,0 0-16,0 0 15</inkml:trace>
  <inkml:trace contextRef="#ctx0" brushRef="#br0" timeOffset="13535.78">23006 1455 0,'0'27'31,"0"-14"-31,0 0 16,-14 0 0,14 1-16,0-1 15</inkml:trace>
  <inkml:trace contextRef="#ctx0" brushRef="#br0" timeOffset="13676.37">23045 1296 0,'-13'-13'15</inkml:trace>
  <inkml:trace contextRef="#ctx0" brushRef="#br0" timeOffset="14160.16">23257 1111 0,'-27'13'16,"27"1"-16,-13-1 0,0 0 0,13 14 0,-26 78 15,12-65-15,14 0 16,-13 0-16,13 12 0,-13-12 16,13 0-16,0 0 0,0 12 0,0-12 15,0 26-15,0-26 0,13-14 16,-13-12-16,13 12 0,-13-13 15,14 14-15,-1 12 16,-13-25 0,-13-41-1,-27 1 1,13-1 0,14 14-16,0 13 0,-14-26 15,14 12-15,0 14 16,0-13-16,13 0 15,13 0 1,13-14 0,1 14-16,-14 0 0,14 0 0,12-14 15,-12 14-15,-1 0 16,1 13-16,-1-14 0,-13 14 0,14-13 16,-14 0-16,0 13 0,0 0 0,1-13 15,-1 13-15</inkml:trace>
  <inkml:trace contextRef="#ctx0" brushRef="#br0" timeOffset="16025.9">23667 1151 0,'13'-13'31,"14"13"-16,-1 13 1,-13 0-16,1 0 0,-1 40 16,0-13-1,-13 39 1,0-39 0,0-27-1</inkml:trace>
  <inkml:trace contextRef="#ctx0" brushRef="#br0" timeOffset="23612.91">23760 1548 0,'13'-13'16,"0"-1"-1,0 14-15</inkml:trace>
  <inkml:trace contextRef="#ctx0" brushRef="#br0" timeOffset="40623.01">16113 728 0,'-92'-93'16,"52"80"-16,13 0 0,-92-40 16,80 39-16,-1 1 15,-13 0-15,13 0 0,-105-1 16,105 1-16,-105 0 15,105 13-15,13 0 16,-12 0-16,12 0 0,-39 0 16,53 0-16,-40 13 15,40-13 1,0 0-16</inkml:trace>
  <inkml:trace contextRef="#ctx0" brushRef="#br0" timeOffset="41010.1">15055 397 0,'-93'13'0,"40"14"15,27-14 1,26 13-16,-27 14 15,27-27-15,0 0 0,14 1 16,25 25 0,-12-39-16,39 27 15,-40-27-15,1 0 16,-1 0-16,1 0 0,12 0 16</inkml:trace>
  <inkml:trace contextRef="#ctx0" brushRef="#br0" timeOffset="42115.08">13348 450 0,'0'-13'16,"13"52"0,1 27-1,-1-26-15,0 0 0,0 26 16,-13-40-16,0 1 15,0 13-15,14-14 0,-14-13 0,0 14 16,0 12-16,0-12 16,13-14-16,-13 0 0,0 0 0</inkml:trace>
  <inkml:trace contextRef="#ctx0" brushRef="#br0" timeOffset="42784.09">13295 384 0,'40'-14'15,"-27"14"-15,27-13 16,13-13 0,-13 13-1,-14 26 1,-13-13-16,0 26 15,1-26-15,-14 13 16,13 1-16,-13 12 0,13-13 0,-13 14 0,13-1 16,14 54-1,-1-14-15,-13-40 16,-13-13-16,14 14 0,-1-1 0,-13-12 16,26 52-1,-12-53-15,-14 0 0,13 0 0,-13 1 16,13-1-16,-13 0 0,0 0 15,0 1 1,0 12-16,-13-13 0,0 0 31,-14-13-31,1 0 16,-1 0-16,14 0 16,-27 0-1,27-13-15</inkml:trace>
  <inkml:trace contextRef="#ctx0" brushRef="#br0" timeOffset="43091.08">13428 489 0,'26'-26'0,"-13"26"0,27-13 16,-27 13-16,0-13 16</inkml:trace>
  <inkml:trace contextRef="#ctx0" brushRef="#br0" timeOffset="43275.98">13494 661 0,'79'-26'15</inkml:trace>
  <inkml:trace contextRef="#ctx0" brushRef="#br0" timeOffset="43511.47">13467 820 0,'27'0'32,"12"0"-17,-25-13-15,-1 13 0,0 0 0,27-13 16,-27 13-16,0 0 16</inkml:trace>
  <inkml:trace contextRef="#ctx0" brushRef="#br0" timeOffset="45883.96">20201 410 0,'-13'0'0,"39"0"31,-13-13-31,27 0 15,-13 13 1,65-40 0,-12 14-16,-1-1 0,-39 27 15,-1-13-15,1 0 0,0 13 16,-1-14-16,1 14 0,-14 0 16,14-13-16,13 13 0,-26 0 15,-1 13-15,0-13 0,1 0 16,-1 0-16,-12 0 0,-1 0 0,0 0 15,14 14-15,-14-14 0,0 0 16,0 0-16,0 0 16,1 0-1,-1 0-15</inkml:trace>
  <inkml:trace contextRef="#ctx0" brushRef="#br0" timeOffset="46210.9">21127 159 0,'0'-13'0,"40"39"16,-27-13-16,0 0 16,0-13-16,1 14 0,-1-1 15,13 0-15,-13 0 0,1 1 16,-1-14-16,0 13 0,-13 0 0,13 0 16,1 1-16,-14 12 15,0-13-15,0 0 0,-14-13 16,1 14-16,0-1 0,0 0 15,-1 0-15,-12 1 0,-27 12 16,40-13-16,0 0 0,-1-13 0,1 0 16</inkml:trace>
  <inkml:trace contextRef="#ctx0" brushRef="#br0" timeOffset="48109.12">21775 251 0,'-26'27'0,"13"-14"15,13 0-15,-27 40 16,27-40-16,0 14 0,0-14 0,-13 14 16,13-14-16,0 0 0,13 0 15,0 27 1,-13-27-16,14-13 0,-1 13 0,0-13 16,13 0-1,-12-13-15,-1 13 0,0-13 0,27 0 16,-27-1-16,0 14 15,-13-13-15,14 13 0,-14-13 16,13 13-16,0-13 16,-13 39 15,0-13-15,-13 1-16,26-1 15,-13 0-15,0 0 16,26-13-1,1-13 1,-14 0-16,0 0 16,-13-1-16,0 1 15,0 0-15,-13-13 32,0 12-32,0 14 0,-1-13 15,1 13-15,0 0 16,-13 0-16,12 0 15,1 0 1,40 0 15,12 13-15,-26-13-16,14 0 16,-14 0-16,0 14 0,1-14 15,-1 0-15,0 13 0,0-13 16,-13 13-16,13-13 15,1 13 1,-1-13-16,-13 13 16,13-13-16,0 0 31,-13-13-31,14 13 16,-14-13-16,39 13 31,-25 0-31,-1 0 0,0 0 15,0 13 1,0 0-16,1-13 16,-14 14-1</inkml:trace>
  <inkml:trace contextRef="#ctx0" brushRef="#br0" timeOffset="48595.97">22542 251 0,'0'14'16,"-13"25"-16,13-12 0,0-14 16,-13 13-16,13-12 0,0-1 0,0 0 15,0 0-15,0 1 16,0-1-16,13 0 0,-13 0 0,0 0 15,-13-26 48,-27 13-47,27 0-16,0 0 0,0 0 0,-1 13 15,-12-13 1,13 14-16,0-14 0,-14 13 15,27 0-15,-13 0 16,66-26 0,-27 13-1,-13-13-15,14 13 0,-14 0 0,14-13 16,-14 13-16,0-14 0,0 14 16,0 0-16,1 0 0,-1 0 0,0 0 15,0 0-15,1 14 16,-1-14-16,0 13 15,0 0 1,-13 0 0</inkml:trace>
  <inkml:trace contextRef="#ctx0" brushRef="#br0" timeOffset="48719.92">22688 397 0,'-13'-13'0</inkml:trace>
  <inkml:trace contextRef="#ctx0" brushRef="#br0" timeOffset="48922.9">22834 212 0,'0'26'16,"13"1"-1,0 12-15,-13-25 0,13 12 16,-13-13-16,13 53 16,-13-39-16,14-14 0,-14 40 15,0-40 1,0 0-16,0 1 0</inkml:trace>
  <inkml:trace contextRef="#ctx0" brushRef="#br0" timeOffset="49234.89">22781 489 0,'0'-13'16,"13"0"-1,13 0 1,-12 13-16,-1-13 0,0 13 16,0 0-16,27-14 15,-27 1-15,14 13 16,-14 0 0,13 13-1,-12-13-15,-14 27 16,13-14-1,-13 0-15,0 0 16,0 1 0</inkml:trace>
  <inkml:trace contextRef="#ctx0" brushRef="#br0" timeOffset="49367.79">22992 291 0,'-13'13'31</inkml:trace>
  <inkml:trace contextRef="#ctx0" brushRef="#br0" timeOffset="49784.02">23072 384 0,'0'53'15,"13"-40"-15,13 0 16,-12-13-16,-1 0 15,0-13-15,0 13 0,-13-13 16,14 13-16,-14-14 0,26-12 16,-26 13-1,-13-1 1,0 28 15,13 12 0,13-13-15,13 1 0,-13-14-16,14 13 15,-14-13-15,0 0 16,1 0-16,12 13 16,-13-13-16,0 0 0,1 0 15,-1 0-15</inkml:trace>
  <inkml:trace contextRef="#ctx0" brushRef="#br0" timeOffset="53655.78">22953 2831 0,'0'27'16,"0"-14"-16,0 0 16,0 27-16,-14-40 15,14 13-15,0 0 16,0 0-16,0 1 15,0-1-15,0-53 47,14 27-47,-14-14 0,0-12 16,13 12-16,-13 1 16,0-1-16,13 14 0,-13-27 15,13 27-15,-13 0 16,27 0-16,-1 13 15,-26 13 1,13 13 0,1-12-16,-1 39 15,-13-40-15,0 0 0,0 14 0,0-14 0,0 0 16,0 0-16,0 0 0,0 27 16,0-27-1</inkml:trace>
  <inkml:trace contextRef="#ctx0" brushRef="#br0" timeOffset="53852.7">22939 2910 0,'27'-26'16,"-14"26"-16,0 0 16,27-13-16,-14 13 15</inkml:trace>
  <inkml:trace contextRef="#ctx0" brushRef="#br0" timeOffset="54156.06">23297 2765 0,'-27'0'0,"14"0"16,0 0-16,13 13 15,0 0-15,0 14 16,13 13-1,-13-27 1,0 0-16,0 0 0,0 0 31,0 1-31,0-1 0,-13 0 16,-1-13 0,1 13-1</inkml:trace>
  <inkml:trace contextRef="#ctx0" brushRef="#br0" timeOffset="54295.85">23389 2805 0</inkml:trace>
  <inkml:trace contextRef="#ctx0" brushRef="#br0" timeOffset="54438.79">23416 3003 0,'0'13'16</inkml:trace>
  <inkml:trace contextRef="#ctx0" brushRef="#br0" timeOffset="54840.85">23627 2805 0,'-13'39'15,"13"-25"1,0 25 0,-13-39-16,13 13 15,0 1 1,13-54-1,0 0 1,1 14 0,-14 13-16,26-14 0,-26 14 15,13 0-15,-13-1 0,27 14 16,-1 0 0,-13 14-1,1-1-15,-14 0 0,26 27 16,-26-27-16,13 0 15,-13 1-15,13-1 0,-13 0 16,0 0-16</inkml:trace>
  <inkml:trace contextRef="#ctx0" brushRef="#br0" timeOffset="55033.97">23693 2858 0,'-13'0'15,"26"-14"1,27 1 0,-27 13-16,1 0 0,25-13 15</inkml:trace>
  <inkml:trace contextRef="#ctx0" brushRef="#br0" timeOffset="55263.87">23945 2752 0,'-13'13'0,"26"0"0,-13 0 16,13 14-1,0-27-15,-13 13 0,13 0 0,-13 1 16,0-1 0,0 0-16,0 0 15,-13-13-15,0 13 0,13 1 16,-26-1 0,12-13-16</inkml:trace>
  <inkml:trace contextRef="#ctx0" brushRef="#br0" timeOffset="55487.02">24315 2924 0,'0'53'0,"0"-40"0,-13 26 16,13-25 0,0-1-16,-13 0 0,13 0 0,-27 14 15</inkml:trace>
  <inkml:trace contextRef="#ctx0" brushRef="#br0" timeOffset="57803.02">24540 2699 0,'-13'0'0,"13"-13"16,13 39 46,14-26-46,-14 13 0,0-13-16,0 0 15,0 13 1,14-13-16,-27 14 31,0 12-15,0-13-16,-13 1 0,-1 12 15,1 1-15,0-14 0,13 0 16,-26 13 0,12-12-16,14-1 0,-13 0 15,13 0 1,13-13-1</inkml:trace>
  <inkml:trace contextRef="#ctx0" brushRef="#br0" timeOffset="58047.32">24818 2725 0,'-13'13'0,"13"14"16,0-14-16,-14 0 0,14 1 16,0-1-16,-13 13 0,13-12 15,0-1-15,0 0 0,-13 0 16</inkml:trace>
  <inkml:trace contextRef="#ctx0" brushRef="#br0" timeOffset="58364.1">24937 2805 0,'-40'26'15,"27"-13"-15,13 1 0,0-1 16,13 13 0,1-26-16,-1 13 15,13-13-15,-13 0 16,27-13 0,-27 13-16,1-13 0,-1 13 0,-13-13 0,13 0 15,-13-1-15,0 1 16,0 0-16,0 0 0,0-1 0,0-12 0,-26-14 15,12 40 1,-12-13 0,13 13-16,-1 0 0,-12 0 0,13 13 15,-14-13-15,1 13 16</inkml:trace>
  <inkml:trace contextRef="#ctx0" brushRef="#br0" timeOffset="59703.54">23495 3228 0,'159'0'15,"-106"0"-15,0 0 0,105 13 16,-78-13 0,-14 0-16,132 13 15,-145-13-15,13 14 0,-13-14 0,0 0 16,40 0-1,-54 0-15,1 0 0,-13 0 0,-1 0 0,1 0 16,-1 0-16,0 0 0,1 0 0,-14-14 16,14 14-16,-14 0 15,0 0-15,0 0 0,1 0 0,-1 0 16,0-13-16,0 13 0,0 0 0,-13-13 16,14 13-16,-1-13 0,0-1 15,0 14-15,-13-13 0,14 0 16,-1-13-1,-13 12-15,0-12 0,0 13 16,0-27-16,0 27 0,0-14 0,0 14 16,0-13-16,13-41 15,-13 41-15,26-53 16,-12 39-16,-1 13 16,0 1-16,0 0 0,-13-1 0,14 14 0,-1-14 15,-13 1-15,0 13 0,13-1 16,-13-38-1,0 38-15,-13 1 0,13 0 0,-13 0 16,-1-1-16,1 1 0,-53-27 16,26 27-16,14 13 15,-14-13-15,-13 0 0,14 0 16,-1 13-16,-13-14 0,13 14 0,-13 0 16,0 0-16,-13-13 0,13 13 0,-66 0 15,66 0-15,-13 0 16,0 0-16,-13 0 0,-1 0 15,14 0-15,-13 0 0,-1 0 0,1 13 16,13-13-16,-13 0 0,26 0 16,-27 0-16,27 14 0,-13-14 0,13 0 15,0 0-15,14 13 0,-1-13 0,14 0 16,-1 0-16,1 13 0,12-13 16,1 0-16,0 0 0,0 0 0,0 13 15,-1 0 1,1 1-16,26 12 15,-13-13-15,14 1 16,-14-1-16,13 40 31,-13 13-31,0-26 16,0 39 0,0 0-1,0-52-15,0-14 0,0 0 16,0 27-1,13-27-15,0 27 16</inkml:trace>
  <inkml:trace contextRef="#ctx0" brushRef="#br0" timeOffset="68816.06">12581 2778 0,'-27'0'0,"14"0"0,0 0 16,66 0 31,53 0-32,-67 0-15,28 0 0,-1-13 16,13 13-16,186-13 15,-186 13-15,14-14 0,92 14 16,-79-13-16,-14 13 0,-12 0 16,12 0-16,173-13 15,-172 13-15,-14 0 0,0-13 16,-13 13-16,1 0 0,-15 0 0,107 0 16,-119 0-1,0 0-15,-14-13 0,14 13 16,-27 0-16,13 0 0,14 0 15,-27 0-15,1 0 0,12 0 32,-13 0-32,0 0 15,1 0 1</inkml:trace>
  <inkml:trace contextRef="#ctx0" brushRef="#br0" timeOffset="69747.19">16060 2791 0,'80'0'0,"-67"0"16,66 0-16,-52 0 15,-1 0-15,1 0 0,-1 0 16,0 0-16,41 0 15,-28 0 1,-12 0 0,-14 0-16,0 0 0,0 0 0,14 14 15,26-14-15,-13 0 16,-14 0-16</inkml:trace>
  <inkml:trace contextRef="#ctx0" brushRef="#br0" timeOffset="70439.75">18957 2725 0,'40'0'15,"0"13"-15,105 1 16,-65-14-16,-14 13 15,185 0 1,-171 0-16,12 1 0,-12-14 0,158 26 16,-159-13-16,-13-13 15,0 14-15,-13-1 0,-13-13 16,26 13-16,-39-13 0,-14 0 16,13 0-16,-13 0 0,1 0 0,-14 13 15,13-13-15,-53 0 31,-26-13-31</inkml:trace>
  <inkml:trace contextRef="#ctx0" brushRef="#br0" timeOffset="73335.96">701 3307 0,'53'14'15,"-26"-14"-15,-1 13 16,106-13-16,-79 13 16,79-13-16,-52 0 0,-1 0 15,1 13-15,-1-13 0,159 0 16,-159 0-16,173-13 15,-160 13 1,-12 0-16,-1 0 0,14 0 16,-14 0-16,1 0 0,-1-13 0,0 13 15,1 0-15,-1 0 0,67 0 16,-67-13-16,0 13 0,-26 0 16,13 0-16,-13 0 0,0 0 0,13 0 15,-13 0-15,0 0 0,53 0 16,-13 0-1,-40 0-15,-14 0 0,-12 0 0,12 0 0,1 0 16,-13 13-16,12-13 0,1 0 16,13 0-16,-27 0 15,1 0-15,-1 0 0,54-13 16,-54 13-16,0 0 0,41 0 16,-41 0-1,1 0-15,-14 0 0,40 0 16,-27 0-16,-13 13 0,1-13 15,12 0-15,-13 0 0,14 0 0,-14 0 16,0 0-16,14 0 0,26 0 16,-27 0-16,-13 0 15,0 0-15,54 0 16,-54 0-16,0 0 0,14 0 0,-14 0 16,13 0-16,-13 0 15,1 0-15,12 0 0,-13 0 0,27 0 16,-13 0-16,-14 0 0,13 0 15,14 0-15,-14 0 16,-12 0-16,12 0 0,-13 0 0,14 0 16,-1 0-16,-13 0 0,14 0 0,-14 0 15,14 0-15,26 13 16,-27-13-16,27 0 16,-40 0-16,14 0 0,-14 0 15,0 0-15,40 0 16,-27 13-16,27-13 15,-26 0-15,-1 0 16,1 0-16,-14 0 0,13 0 16,1 0-16,-1 0 0,-12 0 0,12 0 15,0 0-15,-12 0 0,12 0 16,1 0-16,-14 0 0,0 0 0,13 0 16,-12 0-16,12 0 0,-13 0 0,14 0 15,-14 0-15,0 13 0,14-13 16,-14 0-16,13 0 0,-12 0 0,39 0 15,-40 0 1,0 0-16,14 0 0,-14 0 0,13 0 16,-13 0-16,1 0 15,-1 0-15,0 0 0,0 0 0,1 0 0,-1 0 16,0 14-16,27-14 16,-27 0-16,0 0 15,0 0-15,1 0 0,-1 0 0,13 0 16,-12 13-16,-1-13 0,0 0 15,0 0-15,40 0 16,-40 13-16,1-13 0,52 0 16,-53 0-16,13 0 15,-12 0-15,12 0 0,1 13 16,-1-13-16,-13 0 0,14 0 0,-1 0 16,14 0-16,-14 0 0,1 0 0,-1 0 15,14 0-15,-14 14 0,27-14 16,-13 0-16,-14 0 15,67 13-15,-66-13 16,-1 0-16,14 0 0,-14 0 0,40 13 16,-39-13-16,12 0 15,1 0-15,0 0 0,0 13 0,-1-13 16,1 0-16,-14 0 0,14 0 0,-13 0 16,78 13-1,-78-13-15,39 0 16,13 0-16,-52 0 0,-1 14 15,1-14-15,-1 0 0,-13 0 16,14 0-16,-1 0 0,1 0 16,-14 0-16,13 13 0,-12-13 0,12 0 15,-13 0-15,1 0 0,-1 0 16,40 0 0,-40 0-16,0 13 0,0-13 0,1 0 0,-1 0 15,0 0-15,0 0 16,1 0-16,12 0 15,0 0 1,1 0 0,13 0-1,-27 0-15,13-13 16,-12 13 0,-1 0-16,0 0 0,0 0 15,0 0-15,1-13 16,-1 13-1,0 0-15,0 0 16,1 0-16,-1-14 16,0 14-16,0 0 15,1 0-15,-1 0 16,26-13 0,-25 13-16,-1 0 0,0 0 0,0 0 15,1 0-15,-1-13 0,13 13 16,-12 0-16,-1 0 0,0 0 15,0 0-15,14-13 0,-14 13 0,0 0 16,0-13-16,27 13 16,-40-14-16,40 14 15,-27-13-15,0 13 16,0-13-16,1 13 0,-1-13 16,0 13-1,0-14-15,1 14 16,-1-13-1,0 13-15,0-13 16,0 13 0,1-13-1,-1 0 1,0 13 0,0-27-1,1 14-15,-14 0 16,13-1-1,-13 1-15,0 0 0,0 0 16,13-1-16,-13 1 16,0 0-16,0 0 15,13-14 1,-13 14 0,0 0-16,0 0 0,0-1 15,0-12 1,0 13-1,0-14 1,14 14 0,-14 0-16,0 0 15,0-14 1,0 14 0,0 0 30,13-1-30</inkml:trace>
  <inkml:trace contextRef="#ctx0" brushRef="#br0" timeOffset="74795.73">18772 2090 0,'-40'-26'16,"27"26"-16,-13 13 15,-14 0 1,27 0-16,0 1 0,-14 12 0,1-13 15,-1 14-15,14 12 0,-13-12 0,-1 13 16,1 13-16,-1-14 0,1 14 16,13-13-16,-1 0 0,1-1 0,0 1 15,13-14-15,0 1 0,13 13 0,0-14 16,1 0-16,25 27 16,-12-26-16,-1-14 0,1 0 0,-1 1 15,-13-1-15,14-13 0,-14 13 0,13-13 16</inkml:trace>
  <inkml:trace contextRef="#ctx0" brushRef="#br0" timeOffset="77135.2">8837 1482 0,'13'0'16,"-13"26"15,0-13-31,0 1 0,0-1 0,14 13 16,-14-12-16,0 12 0,0-13 0,0 14 15,0-14-15,0 13 0,0 1 16,0-14-16,0 0 0,0 0 0,0 1 16,0-1-16,0 0 0,0 0 15,0 1-15</inkml:trace>
  <inkml:trace contextRef="#ctx0" brushRef="#br0" timeOffset="77555.92">8771 1495 0,'-13'-27'16,"26"1"-1,-13 13-15,26 0 16,-12 13-16,-1 0 15,0-14-15,0 14 16,14 14 0,-14-14-16,0 13 0,-13 0 15,0 0-15,0 0 0,0 1 16,-13 39 0,0-40-16,0 0 15,13 0-15,0 1 16,-14-14-16</inkml:trace>
  <inkml:trace contextRef="#ctx0" brushRef="#br0" timeOffset="78015.67">9128 1323 0,'-40'40'16,"40"-27"-16,0 0 0,-13 53 15,13-39-15,0-1 16,0 1-16,0-14 0,13 40 15,-13-27-15,0 1 0,27 26 16,-27-40-16,13 0 16,-13 0-16,13-13 0,1 13 15,-1-13-15,0 14 0,0-14 0,1 0 16,-1 0-16,13 0 16,1-14-16</inkml:trace>
  <inkml:trace contextRef="#ctx0" brushRef="#br0" timeOffset="78607.73">9432 1468 0,'0'-13'16,"0"40"-1,0-14-15,0 0 0,0 0 16,0 1-16,0-1 0,0 0 16,0 0-16,14 1 0,-14-1 15,0 0 1,0 0-16,0 0 0,-14-39 62,14 13-62,0 0 0,0-1 0,0-39 16,0 27 0,0 13-16,0-1 0,0 1 15,0 0-15,0 0 0,14-14 16,-1 14-1,-13 0-15,13 13 0,0-13 16,1 13-16,-1 13 16,13 0-1,-26 0-15,13 1 0,-13-1 16,14 0-16,-14 0 0,0 0 16,13 1-16,-13-1 0,0 0 0,13 40 15,-13-26 1,0-14-16,13 0 15,-13 0-15,0 0 16</inkml:trace>
  <inkml:trace contextRef="#ctx0" brushRef="#br0" timeOffset="78861.14">9446 1535 0,'-14'0'0,"41"0"15,-14-14 1,14 14-1,-14 0 1,0 0-16,0-13 16,0 13-16,1 0 0,-1 0 15</inkml:trace>
  <inkml:trace contextRef="#ctx0" brushRef="#br0" timeOffset="83288.96">9776 1244 0,'0'-27'0,"0"14"15,14 26 32,-1 14-31,-13-14-16,13 13 0,-13-13 0,13 14 16,-13-1-16,0-12 0,13 52 15,1-40-15,-14-13 16,0 14-16,13 26 15,-13-40-15,0 0 0,0 1 0,0-1 16,13-13-16,-13 13 16,0 0-16,0 0 0,0 1 15,0-1 1,0 0 0,13-13-1,-13 13-15,-13-26 172,0 0-156,13 0-1,0-1 17,0 1-17,0 0-15,0 0 31,0 0-31,0-1 0,0 1 0,0 0 16,0-27 0,0 27-16,0-14 15,0 14-15,0 0 0,0-13 16,-13-1 0,13 14-1,0-14 1,0 14-16,0 0 0,0 0 15,-14 13 1,14-27 0,-13 1 15,13 13-15,-13-1-16,13 1 31,0 0-31,0 0 0,0-1 31,-13 14-15,13-13-16,0 0 15,0 39 32,13-12-47,-13 25 16,0-25-16,13 38 15,-13-38-15,13-1 0,-13 13 16,0-12-16,0-1 0,14 13 16,-14-12-16,0-1 0,0 13 0,0-13 15,13 1-15,-13 12 0,0-13 0,0 1 16,0-1-16,13 0 0,-13 0 16,0 1-16,0-1 0,13 0 0,-13 0 15,0 0-15,0 1 0,0-1 16,0 13-1,14-12-15,-14-1 32,0 0-17,0-53 32,0 27-31,0 0-16,0-14 15,0-12 1,-14 26-16,14-27 16,0 27-1,0-14-15,-13 14 0,13-14 16,0 14-16,0-13 0,-13 13 16,13-1-16,-13-25 0,13 25 15,0-12-15,-14 13 0,1-27 16,13 0-1,-13 14-15,13-1 32,0 14-32,-13 0 15,13 0-15,0 39 63,13 14-48,-13-27-15,13 14 0,-13-14 16,0 13-16,13-13 0,-13 14 16,0 26-16,0-40 0,14 14 0,-14-1 15,0-13-15,0 14 0,0-1 16,0-13-16,0 14 0,13-14 16,-13 27-16,0-27 0,0 13 15,0-12-15,0-1 0,13 0 0,-13 0 16,0 1-16,0-1 0,0 0 15,0 0-15,13-13 0,-13 13 16,0-39 47,-13 0-48,13 12-15,-13-39 16,13 40-16,0-13 0,0 13 15,-13-14-15,13 1 0,0 12 16,-14-65 0,1 66-16,13-14 0,0 14 0,-13 0 15,13-14-15,0 14 0,0 0 16,0 0-16,-13 13 0,13-40 16,-13 40-16,13-13 0,0 0 15,0-1 1,0 1-16,-14 13 15,14-13 1,14 53 31,-1-1-31,0 1-1,-13-27-15,13 14 16,-13-14-16,13 13 0,-13 1 0,14-14 15,-14 13-15,13 1 0,-13-14 0,0 14 16,13-14-16,-13 13 0,0-12 16,13-1-16,-13 13 0,0-13 0,0 1 15,0-1-15,0 0 0,0 0 0,14 14 16,-14-1 0,0-13-1,0-39 32,-14-14-31,14 27-16,0-13 15,-13-14-15,13 27 0,0-14 16,0 14-16,0-13 0,-13 12 0,13-12 16,0 13-16,0-14 0,-13 14 15,13 0-15,0-14 0,0 14 16,0 0-16,0 0 0,0-1 0,0 1 15,-14-27 1,14 14 0,0 13-16,-13 0 15,13-1 1,13 54 31,-13 0-32,14-27-15,-14 0 16,13 53 0,-13-52-16,13 12 0,-13 0 0,0 1 15,0-14-15,13 14 0,-13-14 0,0 13 16,0 1-16,0-1 0,14-13 0,-14 14 16,0-14-16,0 14 0,0-1 15,0-13-15,0 0 16,0 1-16,13-1 0,-13 0 15,0-39 17,0 12-17,-13 1-15,13 0 0,-14-40 16,14 27 0,-13-1-16,13 14 0,0-13 0,-13-41 15,0 1 1,-1 40-16,14 13 15,-13-14-15,13 1 0,-13 12 0,13 1 16,-13-13-16,13 12 0,0 1 16,-13 0-16,13 0 0,-14-14 15,14 14-15,-13 0 16,13 0-16,0-1 16,-13 14-1,26 27 32,0-1-31,-13-12-1,14 25-15,-1-26 0,-13 14 16,13-1-16,-13-12 0,13 12 0,-13 1 16,13-14-16,-13 13 0,14-13 15,-14 14-15,13 13 0,-13-14 16,0-13-16,13 14 0,-13-14 0,0 13 15,0-12-15,0-1 0,13 13 16,-13-12-16,0 12 16,0-13-16,0 0 0,0 14 15,14-14 1,-14 0 0,-14-39 46,14 13-62,-13-40 16,13 40-1,-26-80 1,12 53-16,14 1 0,-13-1 0,0 13 16,13-12-16,-13-1 0,0 0 15,13 14-15,-14 13 0,14-1 0,0-12 16,-13 13-16,13 0 15,0-1-15,-13 1 16,26 53 15,0 13-15,1-27-16,-14 1 0,13-1 0,-13 14 16,13-14-16,-13 1 0,13-1 15,-13 1-15,0-1 0,13 1 0,-13 12 16,0-26-16,14 1 0,-14-1 15,0 0-15,0 0 0,0 1 0,13-1 16,-13 0 0,0-39 31,0 12-47,0 1 0,0 0 15,0 0-15,0-1 0,0-12 16,0 13-16,-13-14 0,13 1 0,0-1 15,0 1-15,-14-1 0,14 1 16,0 13-16,-13-27 0,13 14 16,0 12-16,-13 14 0,13-13 0,0 0 15,0 0-15,0-1 16,0 54 15,13 26-15,-13-39-16,0-1 0,13 40 15,-13-39-15,0-1 0,14 67 32,-14-67-32,0-12 0,0-1 15,0 13-15,0-13 0,13 1 16,-13-1-16,-13-53 31</inkml:trace>
  <inkml:trace contextRef="#ctx0" brushRef="#br0" timeOffset="84082.93">10120 688 0,'0'-13'16,"-13"26"-16,0 0 0,0 0 15,-1 14-15,1-14 0,0 0 16,0 27-16,-1-14 0,1 1 16,0-14-16,0 14 0,13-14 15,-13 13-15,-1-13 0,1 1 16,13-1-16,0 0 0,-13 14 15,13-14-15,0 0 16,-13-13-16</inkml:trace>
  <inkml:trace contextRef="#ctx0" brushRef="#br0" timeOffset="84411.82">9856 952 0,'-27'40'15,"27"-27"-15,-13 27 16,13-27-16,0 27 15,0-27 1,13 0 0,0-13-16,1 0 15,-1 0-15,0 0 16,0 0-16,14 0 16,-14 0-16,0 0 15</inkml:trace>
  <inkml:trace contextRef="#ctx0" brushRef="#br0" timeOffset="85167.72">10358 410 0,'-26'13'16,"26"1"-16,-13-1 0,13 0 0,0 0 0,-13 14 0,13-14 15,0 53 1,0-39-16,0-14 0,0 0 0,0 13 16,0-12-16,0-1 0,0 0 15,13 0-15,-13 1 0,13-1 16,0-13-16,0 0 16,14-13-1,-14-1-15,0 1 16,-13 0-16,27 0 15,-14-1 1,0 28 0,1-14-16,-14 13 0,0 0 0,13-13 15,-13 13-15,13 1 0,-13-1 16,0 0-16,13 0 0,-13 1 16,0-1-1,13-13 1</inkml:trace>
  <inkml:trace contextRef="#ctx0" brushRef="#br0" timeOffset="85361.01">10663 609 0,'13'-14'16,"-13"41"-16,0-1 15,0-13 1,0 14 0,13-27-16,-13 13 0,0 0 15</inkml:trace>
  <inkml:trace contextRef="#ctx0" brushRef="#br0" timeOffset="85508.72">10636 450 0,'-13'-13'16</inkml:trace>
  <inkml:trace contextRef="#ctx0" brushRef="#br0" timeOffset="86226.96">10835 529 0,'13'0'31,"13"27"-16,-26-14-15,14-13 0,-14 13 0,13 0 16,0 1 0,0-14-16,1 0 31,-14-14-15,13 14-16,-13-13 15,13 0 1,-13 0-1,26-1 1,-12 1-16,12 0 16,-26 0-16,13-1 15,1 1 1,-14 0-16,-27 26 62,27 0-46,13 1 0,1-14 15,-1 0-15,0 0-1,0-14-15,0 14 16,1 0-1,12 14 1,-13-14 15,1 0-31,-1 0 32,0-14-17,0 14 16,1-13-31,-1 26 32,-13 1-17</inkml:trace>
  <inkml:trace contextRef="#ctx0" brushRef="#br0" timeOffset="87095.95">10186 1323 0,'-13'13'16,"13"0"-16,0 1 0,13 12 16,-13-13-16,0 1 0,0-1 15,0 26 1,14-25-16,-14-1 0,0 0 0,0 14 15,0-14-15,0 0 16,13-13 0</inkml:trace>
  <inkml:trace contextRef="#ctx0" brushRef="#br0" timeOffset="87650.86">10173 1310 0,'40'-27'0,"-27"27"0,14 0 16,-1 13-16,-13-13 15,1 14 1,-1 25-1,-26-25-15,-14 25 16,27-25-16,-13-1 0,0-13 16,13 13-16,-14 0 0,1-13 15,26 13 17,27-13-32,-40 14 15,13-14-15,1 0 0,-1 0 0,13 13 16,-13-13-16,1 0 15,-14 13-15,13-13 0,-13 13 16,-13 14 0,-1-14-16,1 0 0,0-13 15,0 14-15,0-1 0,-1-13 16,1 13-16,0-13 0,-27 0 16,27 0-1</inkml:trace>
  <inkml:trace contextRef="#ctx0" brushRef="#br0" timeOffset="88016.81">10200 1045 0,'53'0'0,"-40"0"0,13 13 0,54 27 16,-41-27-16,-12 14 16,13-1-16,-1 1 0,-12-1 15,-1 1-15,1-1 0,-1 14 0,-13-14 16,0 14-16,1 26 15,-14-40-15,-14 14 0,14 0 0,-13-14 16,-13 14-16,13-14 0,-1 14 0,-12-13 16,-1-1-16,14 0 0,-26 1 15,25-14-15,1 0 16,0-13-16,13 14 0,-13-14 16,-1 0-16</inkml:trace>
  <inkml:trace contextRef="#ctx0" brushRef="#br0" timeOffset="93984.76">9882 1759 0,'13'40'16,"-26"-40"62,13 27-63,0-14 1</inkml:trace>
  <inkml:trace contextRef="#ctx0" brushRef="#br0" timeOffset="103423.62">12422 2196 0,'185'13'16,"-132"-13"-16,0 0 0,132 0 16,-105-13-16,-1 13 15,14 0-15,-1 0 0,-12 0 0,26 0 16,-14 0-16,14 0 0,0 0 0,0 0 15,0 0-15,-1 0 0,1 0 16,-13 0-16,13 0 0,-14 0 0,80 0 16,-106 0-16,1 13 15,-15-13-15,81 0 16,-107 0-16,1 0 0,-14 0 0,13 0 16,-12 0-16,-1 0 0,0 0 15</inkml:trace>
  <inkml:trace contextRef="#ctx0" brushRef="#br0" timeOffset="107599.13">10345 1799 0,'0'-13'16,"-13"39"-16,13-12 15,0-1-15,0 0 0,0 27 16,0-14-16,0-13 0,-13 1 15,13-1-15,0 0 0,0 0 16,0 14 0,-13-14-16</inkml:trace>
  <inkml:trace contextRef="#ctx0" brushRef="#br0" timeOffset="107958.76">10358 1786 0,'-26'26'16,"13"-26"-16,13 14 0,-13-14 15,13 13-15,-14-13 0,14 13 0,-26 0 16,26 1-16,-13-14 31</inkml:trace>
  <inkml:trace contextRef="#ctx0" brushRef="#br0" timeOffset="108079.08">10319 1786 0,'39'0'16,"-25"0"-16</inkml:trace>
  <inkml:trace contextRef="#ctx0" brushRef="#br0" timeOffset="110175.81">9604 1865 0,'0'-26'16,"14"52"15,-14 1-15,0-14-16,0 27 15,0-27-15,0 0 16,0 0-16,0 1 0,-14-1 16,14 13-1,0-12 1,0-1-16</inkml:trace>
  <inkml:trace contextRef="#ctx0" brushRef="#br0" timeOffset="110428.96">9631 1839 0,'-27'26'0,"14"-12"16,0 12-16,-14 0 15,14-12-15,-13 12 16,13-13-16</inkml:trace>
  <inkml:trace contextRef="#ctx0" brushRef="#br0" timeOffset="110611.88">9618 1892 0,'79'13'0</inkml:trace>
  <inkml:trace contextRef="#ctx0" brushRef="#br0" timeOffset="112054.5">10253 1892 0,'13'-13'47,"0"-1"-31,0 1-1,1 0 1,-1 0 15,0 13-31,0 0 16,0 0 0,-13 13-1,14 0 1,-1 0-1,-13 1 1,13-14 0,-13 13-1,13 0 1</inkml:trace>
  <inkml:trace contextRef="#ctx0" brushRef="#br0" timeOffset="113223.77">9644 1945 0,'0'-14'16,"-13"28"31,13 12-31,0-13-16,0 1 15,0-1-15,0 0 0,0 0 16,0 1-16,0-1 0,0 13 15,0-13-15,0 1 16,0-1 0,0 0-16</inkml:trace>
  <inkml:trace contextRef="#ctx0" brushRef="#br0" timeOffset="113983.9">9565 1998 0,'0'-14'47,"13"1"-31,0 0-1,0 0-15,1-1 31,-1 1-15,0 13 0,-13-13 15,13 26-31,1-13 16,-1 13-1,0 1-15,0-1 16,-13 0-1,13 0 1,1 1-16</inkml:trace>
  <inkml:trace contextRef="#ctx0" brushRef="#br0" timeOffset="122833.28">12846 4445 0,'26'0'32,"0"0"-32,1 0 0,-1-13 15,27 13-15,106 0 16,-80-13-16,1 13 0,-1 0 16,93 0-16,-66 0 0,-13-14 15,12 28-15,1-14 0,40 0 16,-14 0-16,0 0 0,1 0 15,-1 0-15,13 13 0,239 0 16,-278 0-16,13-13 0,-13 13 16,185 1-1,-199-14-15,-12 13 0,79-13 16,-107 0-16,1 13 0,0-13 0,0 0 16,-26 0-16,12 0 0,-25 0 15,12 13-15,-13-13 0,14 0 0,-1 0 16,-13 0-1,1 0-15,-1 0 0,0 0 16,0 0 0,1 0-1,-1 0 1,-53 0 62,40-13-62</inkml:trace>
  <inkml:trace contextRef="#ctx0" brushRef="#br0" timeOffset="125548.76">781 5040 0,'105'-13'0,"-39"13"16,146-13-1,-146 13-15,0 0 0,-13 0 0,14-13 16,105 13-1,-120 0-15,67 0 16,-92 0-16,-1 0 0,1 0 16,-1 0-16,-12 0 0,-1 0 15,0 0-15,0 0 0,0 0 0,27 13 16,-27-13 15,-13 13-15</inkml:trace>
  <inkml:trace contextRef="#ctx0" brushRef="#br0" timeOffset="126633.76">4882 5106 0,'344'-39'15,"-278"26"1,0 13-16,0-14 0,0 14 0,-13-13 0,0 13 16,-13-13-16,13 13 0,-14 0 15,1-13-15,-14 13 0,1 0 16,-1 0-16,-12 0 0,-1 0 0,0-14 15,13 14-15,-12 0 16,-14 14-16</inkml:trace>
  <inkml:trace contextRef="#ctx0" brushRef="#br0" timeOffset="128086.68">10649 1416 0,'93'-27'16,"-53"14"-16,-14 13 0,1-13 15,-14 13-15,13 0 0,-12-14 16,12 14-16,-13 0 0,1 0 0,-1-13 16,0 13-16,0 0 15,0 0-15,1 0 16,-1 0-1</inkml:trace>
  <inkml:trace contextRef="#ctx0" brushRef="#br0" timeOffset="129726.84">9379 1773 0,'0'13'46,"0"0"-30,0 14 0,0-14-16,0 0 0,0 14 15,0-14 1,0 0-16,-13 0 16,0 14 15,0-27-31,-14 13 15,14-13-15,0 0 16,0 0-16,-1 13 0,1-13 0,0 0 0,0 0 16,-14 0-16,-12 13 15,-1-13-15,13 0 0,-12 14 16,-1-14-16,-13 0 0,0 13 16,0-13-16,-13 13 0,13-13 0,-13 13 15,13-13-15,0 0 0,0 0 0,0 14 16,-39-14-16,52 0 15,0 0-15,1 0 0,-14 13 16,26-13-16,1 0 0,-1 0 0,1 0 16,13 0-16,-14 0 0,14 13 15,-27-13 1,27 0-16,0 0 0,0 0 16,0 0-1,-1 0 1,1 13-1</inkml:trace>
  <inkml:trace contextRef="#ctx0" brushRef="#br0" timeOffset="130738.8">9208 1892 0,'13'-27'31,"-13"14"-16,13 13 1,-13-13-16,13 0 16,0-1-16,1 1 15,-1 13-15,0-13 16,14 13 0,-14 0-16,0 0 15,0 13-15,0-13 0,14 13 16,-14-13-1,0 14-15,1-1 16,-1-13 0,0 13-16,0-13 15,1 0-15</inkml:trace>
  <inkml:trace contextRef="#ctx0" brushRef="#br0" timeOffset="138498.72">1217 6892 0,'-26'14'16,"12"-14"-16,41 0 31,-1 13-31,-12-13 16,38 0-16,-25 0 0,-1 0 16,14 0-16,53 0 15,13 0-15,39 0 16,-92-13-16,40 13 15,-1 0-15,-65 0 16,-1-14-16,1 14 16,-1 0-16,-13 0 0,0 0 0,1 0 0,12 0 15,-13 0-15,1 0 16,-1 0-16,0 0 16,0 0-1,0 0 1</inkml:trace>
  <inkml:trace contextRef="#ctx0" brushRef="#br0" timeOffset="143968.73">9313 6972 0,'0'13'62,"14"-13"-46,-1 0-16,0 0 0,0 0 16,27 13-16,-14-13 15,1 0-15,13 0 0,12 0 0,1 0 16,0 0-16,13 0 0,14 0 15,-14 0-15,13 0 0,93 0 16,-92 0-16,-1 0 0,14 0 0,-1 0 16,1 0-16,-1-13 0,14 13 15,-13 0-15,224 13 16,-211-13-16,0 0 0,13 0 16,0 0-16,-13 0 0,0 0 15,0 0-15,-14 13 0,107-13 16,-27 0-16,-80 0 0,-12 0 15,-14 14-15,0-14 0,0 0 16,-13 0-16,0 0 0,-13 0 16,-1 13-16,1-13 0,-13 0 0,-1 0 0,14 0 15,-14 0-15,-13 0 16,1 0-16,-1 0 0,-13 13 0,13-13 16,0 0-16,0 0 15,-13-13 48,14 26 62</inkml:trace>
  <inkml:trace contextRef="#ctx0" brushRef="#br0" timeOffset="145116.32">12872 6376 0,'0'53'15,"0"-26"1,0 65-16,0-65 0,0-1 15,-13 1-15,13-1 0,0 1 16,0-1-16,0 1 0,0-14 0,-13 13 16,13-12-16,0 12 0,0-13 0,0 0 15,0 1 1</inkml:trace>
  <inkml:trace contextRef="#ctx0" brushRef="#br0" timeOffset="146919.68">12938 6337 0,'13'0'0,"1"0"16,-1 0-16,0 0 0,0-13 15,1 13-15,12 0 0,-13 0 16,14 0-16,39 0 16,-27 0-16,-12 0 0,13 0 0,65 0 15,-78 0 1,13 0-16,13 0 0,-14 0 0,14 0 15,0 0-15,0 0 0,0 0 16,-13 0-16,65-14 0,-52 14 16,0 0-16,-13 0 0,13 0 0,-13 0 15,-1 0-15,-12 0 0,12 0 16,1 0-16,-13 0 0,12 0 16,-12 0-16,12 0 0,-12 0 0,-1 0 15,1 0-15,-1 0 0,1 0 0,-1 0 16,1 0-16,-14-13 0,13 13 15,-13 0-15,1 0 0,39 0 16,-40 0-16,0 0 16,0 0-16,1 0 15,-1 0-15,0-13 16,0 13-16,0 0 16,1 0-1,-1 0-15,0 0 0,0 0 31,1 0-15,-1 0-16,0 0 0,0 0 16,0 0 15,1 0-31,-1 0 31,-13 13-15,0 0 31,0 1-32,0-1 1,0 0-16,-13 0 16,13 0-16,0 1 0,0-1 15,-14 0-15,14 14 0,0-14 16,0 40-16,0-40 15,-13 0-15,13 14 0,0-14 16,0 0-16,0 14 0,0-14 0,0 0 16,-13 0-16,13 14 0,0-14 15,0 0-15,0 0 0,0 1 0,-13-1 16,13 0-16,0 0 0,0 1 0,0-1 16,0 0-16,-13 27 15,13-27-15,0 0 16,0 0-16,-14-13 0,14 14 15,0-1-15,0 13 16,0-12 0,0-1-16,0 0 15,0 0 1,0 0-16,0 1 16,0-1-1,-26-13 32,13-13-31,-14-1-1,14 14 1,0 0-16,0 0 0,-1-13 0,1 13 16,0 0-16,-27-13 15,14 13-15,12 0 0,-12 0 0,0-13 16,12 13-16,-12 0 0,-1 0 0,-12 0 15,12 0-15,1-13 16,-14 13-16,14 0 0,-1 0 0,1 0 16,-1 0-16,-12 0 0,12 0 0,1 0 15,-1 0-15,1-14 0,-1 14 16,1 0-16,-1 0 0,1 0 0,-1 0 16,1 0-16,0 0 0,-1-13 0,1 13 15,-1 0-15,14 0 0,-14 0 16,1 0-16,0 0 0,-1 0 0,-13 0 15,27 0-15,-13 0 0,12 0 16,-12-13-16,13 13 0,0 0 16,-1 0-16,-12 0 0,13 0 15,-1 0-15,1 13 0,-13-13 0,13 0 16,-1 0-16,-12 0 0,13 0 0,-1 13 16,1-13-16,-40 0 15,27 0-15,13 14 0,-1-14 16,-12 0-16,13 0 0,-1 0 15,1 0-15,-13 0 0,12 0 0,1 0 16,0 0-16,0 0 0,-40 0 16,40 0-16,-1 0 15,1 0-15,0 0 0,-13 0 16,12 0-16,1 0 0,0 0 16,-14 0-16,14 0 0,0 13 15,0-13-15,-1 0 0,1 0 16,0 0-16,0 0 15,0 0 1,-1 0 0,1 0-1,0 0 32,13-13-31</inkml:trace>
  <inkml:trace contextRef="#ctx0" brushRef="#br0" timeOffset="151532.07">13811 5490 0,'27'13'0,"-14"1"15,13 12-15,-12 0 16,-1 1-16,0-1 0,0 14 0,1 0 15,-1-14-15,-13 14 0,13 0 16,0-1-16,-13 1 0,0 13 16,0-27-16,0 1 0,13-1 15,-13 1-15,0-14 0,-13 13 0,13-12 16,0-1-16,0 0 16,0 0-16,0 1 0,0-1 0,0 0 15,-13 0-15</inkml:trace>
  <inkml:trace contextRef="#ctx0" brushRef="#br0" timeOffset="151965.35">13772 5966 0,'13'27'16,"-13"-14"-16,13 0 15,-13 0-15,13 1 0,-13-1 0,0 0 16,13 0-16,-13 14 0,14-14 0,-14 0 16,13 1-16,-13 12 0,13-13 15,14 14-15,-14-27 16,-13 13-16,13-13 0,14 0 0,-14-13 16,0 13-16,13-14 0,-12 1 15,12 0-15,1 0 0,-1 0 0,1-14 16,-14 14-16,13 0 0,-13-1 15,1 1-15,12 0 0,-13-14 0,1 27 16,-1-13-16,0 0 0,0 0 16</inkml:trace>
  <inkml:trace contextRef="#ctx0" brushRef="#br0" timeOffset="155672.48">15690 6945 0,'13'14'0,"0"-14"15,0 0-15,1 0 0,-1 0 16,0 0-16,0 0 16,27 0-16,-27 0 0,14 0 15,-14 0-15,13 0 0,-12 0 16,12 0-16,1 0 0,-1 0 0,1 0 16,-1 0-16,0 0 0,14 0 15,-13 0-15,12 0 0,14 0 0,-13 0 0,13 0 16,0 0-16,0 0 15,0 0-15,-1 0 0,1 0 0,-13 0 16,13 0-16,0 0 0,0 0 0,53 0 16,-53 0-16,-1 0 15,1 0-15,0 0 0,0 13 16,40-13-16,-40 0 0,0 0 0,-14 0 16,14 0-16,0-13 15,0 26-15,-13-13 0,-1-13 0,14 13 16,40 0-16,-53 0 0,-14 0 0,14 0 15,0 0-15,-1 0 0,14 0 16,-13 0-16,66 0 16,-67 0-16,1 0 0,-14 0 15,14-14-15,-13 14 0,12 0 16,-12 0-16,-1 0 0,27 0 16,-13 0-16,13 0 0,-27 0 15,14 0-15,-14 0 0,14 0 16,-14 0-16,14 0 0,26 0 15,-26 0-15,-14 0 0,14 0 16,0 0-16,26 0 0,-40 0 16,14 14-16,-13-14 0,12 0 15,54 0-15,-67 0 16,14 0-16,-13 0 0,12 0 16,-12 0-16,12 13 0,14-13 15,-13 0-15,0 0 0,-14 0 0,1 13 16,78-13-1,-78 0-15,-1 0 0,14 0 0,26 0 16,-39 0-16,-1 13 16,14-13-16,-14 0 0,14 0 0,-14 0 15,1 0-15,39 0 0,-26 0 16,-14 0-16,14 0 16,-1 0-16,-12 0 0,39 0 0,-13 0 15,-13 0-15,-14 0 0,14 0 16,-14 0-16,14 13 0,79-13 15,-53 0 1,-26 0-16,-14 0 0,27 14 0,-13-14 16,-14 0-16,27 0 0,-26 0 15,12 0-15,1 13 0,-13-13 0,39 0 16,0 0-16,-26 0 16,-14 0-16,0 0 0,1 13 15,-1-13-15,1 0 0,-1 0 0,1 0 16,-1 0-16,-13 0 0,14 0 15,-1 0-15,-12 13 0,-1-13 16,27 0-16,-27 0 0,13 0 0,1 0 16,-14 0-16,0 0 15,14 0-15,-14 14 0,0-14 16,0 0-16,1 0 0,-1 0 16,0 0-16,0 0 0,0 0 15,1 0 1,-1 0-1,0 0 1,0 0 0,-13-14 46</inkml:trace>
  <inkml:trace contextRef="#ctx0" brushRef="#br0" timeOffset="159839.62">1138 7580 0,'26'0'16,"-13"0"-1,1 0 1,-1 0-16,13 0 0,-12 0 15,12 0-15,14 0 0,-14 0 16,14 0-16,-14 0 0,1 0 0,12 0 16,1 0-16,-13 0 0,26 0 0,-1 0 15,-12 0-15,13 0 16,53 0-16,-53-13 0,0 13 0,0 0 16,13 0-16,-13 0 0,0 0 15,-1 0-15,15 0 0,-14 0 16,-1 0-16,15 0 0,144 0 15,-158 0-15,0 0 16,0-13-16,0 13 16,-13 0-16,-1 0 0,14 0 0,-13 0 0,-14 0 15,14 0-15,0 0 0,-14 0 0,40 0 16,-26 0-16,-13 0 16,-1 13-16,0-13 0,1 0 15,-14 0-15,14 0 0,-1 0 0,-13 0 16,14 0-16,-14 0 0,13 0 0,14 0 15,-27 0-15,1 0 16,12 0-16,-13 0 0,14 0 0,-14 0 16,0 0-16,14 0 0,-14 0 15,13 0-15,-12 0 0,12 0 0,-13 0 16,14 0-16,-14 0 0,40 0 16,-27 0-16,-12 0 0,12 0 15,0 0-15,1 0 0,-1 0 16,14 0-16,-13 0 0,-1 0 0,-13 0 15,14 0-15,-1 0 16,14 0-16,-14 0 0,1 0 16,-1 0-16,-13 0 0,14 0 0,-1 0 0,1 0 15,-1 0-15,1 0 16,-1 0-16,-13 0 0,14 0 0,26 0 16,-27 0-16,14 0 15,-27 0-15,14 0 0,-14 0 16,0 0-16,13 0 0,-12 0 0,12 0 15,-13 0-15,14 0 0,-14 0 0,0 0 16,14 0-16,-1 0 16,1-13-16,12 13 15,-12 0-15,-14 0 0,0 0 16,1 0-16,12 0 0,-13-13 16,14 13-16,-14 0 0,13 0 0,-12 0 15,-1 0-15,13 0 16,-12 0-16,12 0 0,0 0 15,-12 0-15,-1 0 0,27 0 16,-27 0-16,0 0 0,0 0 16,1 0-16,-1 0 15,0 0-15,0 0 0,14 0 0,-14 0 16,0 0-16,0 0 0,1 0 16,-1 0-16,0 0 0,13 0 15,-12 0-15,-1 0 0,0 0 16,14 0-16,-14 0 15,0 0-15,0 0 0,1 0 16,-1 0-16,0 0 0,0 0 16,0 0-16,1 0 0,-1 0 15,0 0-15,0 13 0,1-13 16,-1 0-16,0 0 0,0 0 16,27 0-16,-27 0 15,0 0-15,1 0 16,-1 0-16,0 0 0,0 0 15,1 0-15,-1 0 0,0 0 16,0 0-16,0 0 16,1 0-16,-1 0 0,0 0 15,0 0-15,1 13 0,-1-13 16,0 0-16,0 0 16,1 0-16,-1 0 0,0 0 0,0 0 15,0 13-15,1-13 0,-1 0 16,0 0-16,0 0 0,1 0 15,-1 0-15,13 0 16,-12 0-16,25 14 0,-26-14 16,1 0-16,-1 0 15,0 0-15,14 0 0,-14 0 16,0 13-16,14-13 0,-14 0 0,0 0 16,27 0-16,-27 0 15,0 0-15,0 0 0,1 0 16,-1 0-16,13 0 0,-12 0 0,-1 0 15,0 0-15,0 0 16,0 0-16,1 13 0,-1-13 0,0 0 16,0 0-16,1 0 15,-1 0-15,0 0 16,0 0-16,0 0 0,1 0 16,-1 0-1,0 0 1,0 13-16,1-13 15,-1 0-15,0 13 16,0-13 0,1 0-16,-1 0 15,0 0-15,0 0 0,0 0 16,1 0-16,-1 0 0,13 0 16,-12 0-16,-1 0 15,0 0-15,0 0 16,1 0-16,-1 14 15,0-14 1,0 0 0,0 0-16,1 0 15,-1 0-15,0 0 16,0 0-16,14 0 16,-1 0-1,-13 0-15,1 0 16,-1 0-16,0 0 15,0 0 1,1 0-16,-1-14 16,0 14-1,0 0 1,1 0-16,-1 0 16,0 0-1,0 0-15,0-13 0,1 13 16,-1 0-16,0 0 15,0 0-15,1-13 0,-1 13 16,0 0-16,0 0 0,14 0 16,-14-13-16,0 13 0,0 0 15,1 0-15,-1 0 0,0 0 0,0-13 16,1 13-16,12 0 0,-13 0 16,1 0-16,-1 0 0,13 0 15,-13 0-15,1 0 0,-1-14 16,13 14-16,-12 0 0,-1 0 15,0 0-15,0 0 0,14 0 16,-14 0-16,0-13 0,0 13 16,1 0-16,-1 0 15,0 0-15,0 0 0,1 0 16,-1 0-16,0 0 16,0 0-16,14 0 15,-14 0 1,0 0-16,0 0 15,1 0-15,-1 0 16,13 0-16,-12 0 16,-1 0-1,0 0-15,0 0 16,0 0-16,1 0 0,-1 0 0,13 0 16,-12 0-1,-1 0-15,0 0 16,0 0-16,1 0 15,-1 0 1,0 0-16,0 0 16,0 0-1,-26-13 95</inkml:trace>
  <inkml:trace contextRef="#ctx0" brushRef="#br0" timeOffset="161228.88">4379 11377 0,'0'27'16,"0"12"0,0-26-16,0 1 0,0 12 15,-13 27 1,13-26-16,-14-14 0,14 0 0,0 0 15,0 0-15,-13 1 0,13-1 16,0 0-16,0 0 16</inkml:trace>
  <inkml:trace contextRef="#ctx0" brushRef="#br0" timeOffset="161607.69">4524 11456 0,'-26'53'16,"13"-39"-16,13-1 0,13 27 15,-13-27-15,13 0 16,-13 0-16,13 0 0,1-13 0,-1 14 15,0-14-15,0 0 16,14 0-16,-14-14 0,13-12 31,-26 13-31,0 0 0,0-1 0,0 1 16,0-13-16,-13 12 0,0 1 16,13 0-16,-13 13 15,0-13-15,-1-1 0,1 14 0,0 0 16,0-13-16,-1 13 15,1 0-15,0 13 0,0-13 16,-1 14 0</inkml:trace>
  <inkml:trace contextRef="#ctx0" brushRef="#br0" timeOffset="161904.85">4683 11456 0,'13'40'0,"1"-27"0,-14 1 16,13-1-1,0 0-15,0-13 0,0 13 0,1-13 16,12 0-16,-13 0 0,1-13 16,-1 13-16,13-13 0,-12 13 15,-1-13-15,13-1 0,-13 1 16,1-13-1,-14 12-15,0 1 0,-14 0 16,14 0-16,-13 0 0,0-1 0,0 14 16,0-13-16,-1 13 0,1-13 15,-13 13-15,12 0 0,1 0 0,-13 13 16,12-13-16,1 13 16,0 1-16</inkml:trace>
  <inkml:trace contextRef="#ctx0" brushRef="#br0" timeOffset="162310.71">5384 11404 0,'40'-14'15,"-27"14"-15,0 0 0,14 0 0,13-13 16,26 0 0,-53 13-16,13 0 0,-12 0 15,12 0-15,-13-13 0,1 13 0,-1 0 16,0 0 0,13 0-16,-12 0 0,-14-14 15</inkml:trace>
  <inkml:trace contextRef="#ctx0" brushRef="#br0" timeOffset="162568.41">5662 11232 0,'93'13'16,"-67"13"-16,1-13 16,-1 1-16,1 12 0,39 14 15,-53-14-15,-13-12 16,0-1-16,13 13 0,-26-13 0,0 40 16,-1-26-16,-12-1 15,13 1-15,-14-1 0,14-13 0,0 1 16,0-1-16,-1-13 15,1 0-15</inkml:trace>
  <inkml:trace contextRef="#ctx0" brushRef="#br0" timeOffset="163182.76">6615 11192 0,'-14'26'16,"41"-12"-16,-14-1 0,0 0 16,1 0-16,-1 0 0,13 1 0,-13-1 15,1 0-15,-1 0 0,0 1 0,0-1 16,-13 0-16,-13 0 31,13 1-31,-13-14 16,-14 0-1,14 0-15,0-14 0,0 14 0,0-13 16,-1 0-16,14 0 16,0-1-16,0 1 15,0 0-15,14 0 0,-14-1 16,13 1-16,0-26 15,0 25-15,-13 1 0,0 0 16,13 0-16,-13-1 0,0 1 0,-13 0 16,13 0-16,-13-1 15,13 1-15,-13 13 0,0 0 16,-1-13-16,-12 26 16,13-13-16,-14 27 15,14-27-15,0 13 0,-1 0 16,14 0-16,-13-13 15</inkml:trace>
  <inkml:trace contextRef="#ctx0" brushRef="#br0" timeOffset="163491.56">6760 11205 0,'-13'66'0,"13"-53"15,0 1-15,0-1 0,0 0 16,13 0-16,-13 1 0,13-14 0,14 26 16,-14-26-1,0 0-15,0 0 0,1 0 0,-1-13 16,0 13-16,0-13 0,1-1 0,12-12 16,-13-14-1,-13 27-15,0 0 16,-13-14-16,0 14 0,0 0 0,-1 13 15,1-13-15,0 13 0,-14-14 16,14 14-16,0 0 0,0 14 16,0-14-16,-1 0 0,1 13 15,0-13-15,13 13 0</inkml:trace>
  <inkml:trace contextRef="#ctx0" brushRef="#br0" timeOffset="163952.64">7091 11324 0,'132'-26'0,"-92"26"15,-14 0-15,54-14 16,-54 14-16,27-13 16,-40 13-16,0 0 0,14 0 0,-14 0 15,0 0-15,1-13 16,12 13-1,-26-13 1</inkml:trace>
  <inkml:trace contextRef="#ctx0" brushRef="#br0" timeOffset="164204.79">7488 11099 0,'0'0'0,"26"13"16,1 1 0,-14-14-16,0 13 15,14 0-15,-14 0 16,0 1-16,0-1 0,0 0 0,1 0 16,-14 1-16,13-1 0,-13 13 15,0-13-15,0 1 0,-13 12 16,13-13-16,0 1 0,-14-14 15,1 26 1,13-13-16</inkml:trace>
  <inkml:trace contextRef="#ctx0" brushRef="#br0" timeOffset="164620.76">8255 11020 0,'-66'26'16,"53"-12"-16,13-1 15,0 0-15,26 13 16,-13-12-16,1-1 0,-1-13 16,0 13-16,13 14 15,-12-27-15,-14 13 0,13-13 16,0 13-16,-13 0 16,-26 1-1,12-14-15,1 13 0,0-13 16,-13 0-16,12 0 0,1 0 0,-13 0 15,12 0-15,1 0 0,-13 0 16,12 0-16,1 13 16,0-13-16,53 0 31</inkml:trace>
  <inkml:trace contextRef="#ctx0" brushRef="#br0" timeOffset="165648.48">8718 11179 0,'13'-53'0,"-26"39"15,13 1 1,-13 13-16,0-13 0,-1 13 16,1 13-1,0 0 1,0 1-16,13-1 0,0 13 16,26-12-1,14-1 1,-27-13-16,0 0 15,0 0-15,1 0 0,-1-13 0,0-1 16,0 14-16,-13-13 0,14 0 16,-1 0-16,-13-1 15,0 1-15,0-13 0,13-40 16,-13 39-16,13 1 0,1-27 16,-14 13-1,0 27-15,13-14 0,-13 14 0,0 0 0,13 0 16,-13 0-16,0-1 0,0 1 15,13 13-15,-13-13 16,0 0 0,0 39 15,13 27-15,-13-13-1,0-14-15,14 40 16,-14-39-16,0-1 0,13-13 0,-13 1 0,0 12 15,26 14 1,-12-40-16,-14 13 0,13 0 16,0-13-16,0 0 15,1-13 1,-1 13-16,0-40 16,-13 27-1,0 0-15,-13 39 47,13-12-31,13-1-16,-13 0 0,0 0 0,13-13 15,0 13-15,14 1 16,-14-14 0,0 0-16,1 0 0,-1-14 0,0 14 15</inkml:trace>
  <inkml:trace contextRef="#ctx0" brushRef="#br0" timeOffset="166527.42">9393 10967 0,'-40'13'16,"40"0"-16,-13 1 15,13-1-15,0 0 16,0 0-16,13 14 16,27-1-1,-14-26 1,14-13 0,-27 13-16,0-13 15,1 0-15,-14-1 0,13 1 0,0 0 16,0-14-16,0 1 0,1 0 0,-14-1 15,13 1-15,-13-1 0,0 14 16,13-40 0,-13 40-16,13 0 0,-13-1 0,-13 41 47,13-14-47,0 13 15,0 1-15,0-14 0,0 14 0,0 12 16,13-25-16,-13 12 15,14-13-15,-14 0 0,13 1 0,0-1 16,0-13-16,1 13 0,-1-13 16,0 0-16,0 0 0,0 0 15,1 0-15,-14-13 0,13 13 0,0-13 16,0-14 0,-13 14-16,0 26 46,14 27-30,-14-27 0,13 0-16,0 1 0,0-1 15,0-13-15,-13 13 0,14-13 16,-1 0-16,0 0 16,0-13-16,-13 0 0,14 13 15</inkml:trace>
  <inkml:trace contextRef="#ctx0" brushRef="#br0" timeOffset="166694.85">9472 10874 0,'53'-26'16,"-40"26"-16,14-13 15,-1-1-15,1 14 0,-1-13 16</inkml:trace>
  <inkml:trace contextRef="#ctx0" brushRef="#br0" timeOffset="167042.51">10253 10623 0,'13'0'0,"-13"13"0,0 14 15,0-14-15,0 0 0,0 0 16,0 14-16,0-14 0,0 14 16,0-14-16,13 13 0,-13-13 0,0 1 15,13 12-15,-13-13 16,0 1-16,14-1 0,-14 0 16,-14 0-1,-12-13 1,13 0-16,-1 0 0,-12 0 15,13 14-15,-40 12 16,26-13-16,14 0 16,13 1-16,-13-1 0,0 0 0,13 0 15,-14 1-15,14-1 0,14 0 0,-1 0 16,27 0 0,-14-13-16,0 0 0,14 0 15,13-13-15,-13 0 0,-1 0 0,1 0 16</inkml:trace>
  <inkml:trace contextRef="#ctx0" brushRef="#br0" timeOffset="171030.79">13309 10808 0,'13'66'0,"-13"-52"16,13 12-16,-13-13 0,0 14 16,0-14-16,0 0 0,0 27 15,0-27-15,0 0 0,0 1 16,0 12 0,0-13-16</inkml:trace>
  <inkml:trace contextRef="#ctx0" brushRef="#br0" timeOffset="171564.3">13203 10808 0,'13'-39'16,"-13"25"-16,26 1 15,-12 0 1,-1 13-16,40-13 15,-40 26-15,40 0 16,-40-13-16,0 13 16,1-13-16,-14 14 0,13-1 0,-13 0 15,0 0-15,0 0 0,-40 40 32,27-39-32,-14-1 0,14 0 0,0-13 15,0 13-15,-14 1 16,14-1-1</inkml:trace>
  <inkml:trace contextRef="#ctx0" brushRef="#br0" timeOffset="171906.48">13705 10689 0,'-26'13'0,"13"14"16,-1-14 0,1 0-16,0 1 0,13 12 0,-13-13 15,0 14-15,13-14 0,-14 13 16,14-12-16,-13 12 0,13-13 0,0 14 15,0-14-15,0 0 16,13 27-16,-13-27 16,14 0-1,-1-13-15,0 14 0,0-14 16,0 0-16,1 0 0,12 0 16,-13 0-16,1-14 15</inkml:trace>
  <inkml:trace contextRef="#ctx0" brushRef="#br0" timeOffset="172419.67">13930 10835 0,'0'-14'15,"-26"54"16,26-27-15,-13 27 0,13-27-16,0 1 0,0-1 0,0 0 15,0 0-15,0 0 0,0 1 16,-14 12 0,14-52 15,14-27-16,-14 40 1,0-14-16,13 1 0,-13-1 16,13 1-16,0-40 15,1 52-15,-1 1 0,-13 0 16,26-27-16,-13 40 16,-13-13-16,14 13 0,12 13 15,-13 0 1,1 27-1,-14-27-15,13 1 0,-13-1 0,0 26 16,0-25-16,0-1 16,0 0-16,0 0 0,0 1 0,0-1 15,13 0-15,-13 0 0,0 1 16,0-1 0,0 0-16,0 0 15</inkml:trace>
  <inkml:trace contextRef="#ctx0" brushRef="#br0" timeOffset="172638.52">13785 10914 0,'26'-13'16,"1"13"-16,-14 0 0,13 0 0,-12 0 0,12 0 16,-13-13-16,53 13 15,-13-14 1,-39 14-16,-1 0 0,0-13 16,0 13-16</inkml:trace>
  <inkml:trace contextRef="#ctx0" brushRef="#br0" timeOffset="172955.48">14155 10557 0,'13'0'16,"27"40"-16,-27-14 16,1-13-16,-1 14 0,0-1 15,0 1-15,1-1 0,-1-13 0,-13 14 16,13-1-16,-13 1 0,0-14 0,-13 40 16,13-27-16,-13 1 15,-1-14-15,1 13 0,13-12 0,-13 12 16,0-13-16,13 1 0,-14-14 0,14 13 15</inkml:trace>
  <inkml:trace contextRef="#ctx0" brushRef="#br0" timeOffset="173370.62">14552 10927 0,'27'-13'15,"-14"13"-15,0 0 0,0-13 16,14 13-16,-1 0 0,1 0 0,26-13 16,-1 13-16,28-14 15,-67 14 1,13 0-16,-12 0 0,12 0 0,-13 0 15,1 0-15,-1 0 16,13 0 0,-12-13-16,-1 13 15,-13-13 1</inkml:trace>
  <inkml:trace contextRef="#ctx0" brushRef="#br0" timeOffset="173716.6">14896 10742 0,'40'0'16,"-40"13"-16,26-13 0,-13 14 0,1-14 0,12 13 16,-13 0-16,1-13 0,-14 13 15,13-13-15,0 13 0,0-13 16,0 14-16,14-1 16,-27 0-16,13-13 0,-13 13 15,0 1-15,0-1 16,-40 40-16,14-27 15,0 1-15,-14 12 0,-13 1 0,-40 13 16,40-13-16,-39-1 16</inkml:trace>
  <inkml:trace contextRef="#ctx0" brushRef="#br0" timeOffset="197191.73">8850 6310 0,'0'93'15,"0"-53"-15,0-1 16,0 107 0,-13-106-16,13-1 0,0 14 0,0-13 15,0 13-15,0-27 16,0 1-16,0-1 0,0-13 0,13 40 15,-13-40-15</inkml:trace>
  <inkml:trace contextRef="#ctx0" brushRef="#br0" timeOffset="198155.7">8837 6324 0,'0'0'0,"40"-14"0,-27 14 0,0 0 0,0-13 15,27 13-15,0-13 16,-14 13-16,14 0 0,106-27 16,-94 27-16,1-13 15,0 13-15,0-13 0,13 13 0,0-13 16,1 13-16,12-14 0,-13 14 15,13-13-15,-12 13 0,12-13 0,-13 13 16,14-13-16,-1 13 0,-13-13 0,13 13 16,1 0-16,-14-14 15,-13 14-15,0-13 0,0 13 0,0 0 0,0 0 16,-14-13-16,1 13 0,-14 0 16,1 0-16,-1 0 0,27 0 15,-40 0-15,1-13 16,-1 13-16,0 0 0,0 0 15,14 0 1,-27-14 0,13 14 15,0 14-15,-13-1-16,0 0 15,13 14 1,-13-14-1,0 13-15,14-13 0,-1 54 16,-13-41 0,0 1-16,13-1 0,-13 0 0,13 41 15,1-54-15,-14 13 16,13 14-16,-13-14 0,0 1 0,13-1 16,-13 1-16,13-1 0,-13 1 0,0-14 15,0 13-15,14 1 0,-14-14 16,0 14-16,0-14 0,13 0 0,-13 13 15,0-12-15,0-1 0,0 0 0,13 0 16,-13 14-16,0-14 16,0 0-16,0 1 0,13-14 0,-13 13 15,0 0-15,13 0 16,-13 14 0,14-27-16,-14 13 15,13 0 1,-13 0-1,0 1 17,-13-14-32,-1 0 15,-12 13-15,-14-13 0,-13 13 0,-13 0 16,-13 14-16,-27-14 16,-13 13-16,13 1 0,-26-1 0,0 1 15,-133 26-15</inkml:trace>
  <inkml:trace contextRef="#ctx0" brushRef="#br0" timeOffset="203052.46">8639 7038 0,'13'-13'16,"0"13"-16,0 0 0,1 0 16,12 0-1,-13 0-15,0 0 0,1 0 16,-1 13-16,0 0 16,0 14-1,-13-14-15,0 0 0,14 0 0,-14 1 16,13 12-16,-13 0 0,26 80 15,-12-79 1,-1 39-16,0-40 0,-13 1 0,13-14 16,-13 13-16,13-12 0,-13 12 15,14 27 1,-14-40-16,0 1 0,-14-1 0,14 0 16,-13 13-16,-13-12 0,-1 12 15,-12-13-15,12 14 0,-13-14 0,-79 27 16,93-40-16</inkml:trace>
  <inkml:trace contextRef="#ctx0" brushRef="#br0" timeOffset="206044.07">18137 6257 0,'-13'-13'16,"0"0"-16,0 0 16,-1 13-1,1-14 1,0 14-16,0-13 0,-27 0 16,27 13-1,-1 0-15,1-13 16,0 13-16,-27 0 15,27 0 1,0 0-16,0 0 16,-14 0-16,27 13 15,-13-13-15,0 0 0,-1 13 16,1-13-16,-13 13 16,13 1-16,-1-14 0,1 13 15,0 0-15,0-13 16,13 13-16,-14-13 0,1 14 15,0-14-15,13 13 0,-13 0 32,-1 0-32,14 1 0,0-1 15,-13-13-15,0 26 16,13-13-16,0 1 0,0-1 16,-13-13-16,13 13 0,0 0 15,-13 1-15,13 12 16,0-13-16,0 1 0,0-1 15,-14 26 1,14-12 0,0-14-16,0 0 0,14 1 0,-14-1 15,0 0-15,13 0 16,-13 1-16,13 25 16,0-26-16,-13 1 0,13-1 15,1 0 1,-14 0-16,13-13 0,-13 14 0,26 12 15,-12-13-15,-1 0 16,13 14 0,-12-27-16,-14 13 0,13-13 15,0 13-15,0-13 0,-13 14 0,13-1 16,27 0 0,-27-13-16,1 13 0,-1-13 15,0 0-15,0 14 0,1-14 0,-1 0 16,0 0-16,0 0 15,0 0-15,14 13 0,13-13 16,-27 13-16,0-13 16,0 0-16,27 0 15,-14 0 1,-12 13-16,-1-13 0,0 0 0,14 0 16,-14 0-16,53 0 15,-53 0 1,14 0-16,-14 0 15,0 0-15,0 0 16,1 0-16,-1-13 0,0 13 16,13 0-16,-12 0 0,12 0 15,-13-13 1,1 13-16,-1 0 0,27-13 16,-27-1-1,0 14-15,13-13 16,-12 13-16,12-13 15,-13 13-15,-13-13 16,14 13-16,-1-14 0,13 1 16,-13 0-1,1 0 1,-1 13-16,-13-14 0,13 14 0,-13-13 16,13 13-16,-13-13 0,14 0 15,-1 0 1,-13-1-16,13 14 15,-13-13-15,0 0 0,13 0 16,-13-1-16,0 1 16,14 0-1,-14 0-15,0 0 0,0-1 16,0 1-16,-14 0 16,14-14-1,0 14-15,0 0 0,-13 0 16,13-1-16,-13-12 15,13 13 1,-13 13-16,13-13 0,-14-14 16,1 14-16,0 0 15,13-1-15,-13 1 0,-1 13 16,14-13-16,-13 0 0,0-1 0,0 14 16,13-13-16,-13 0 0,-40-40 15,39 40 1,1 13-16,0-13 0,0-1 0,0 1 15,-14 0-15,14 0 0,-80-27 32,27 27-32,-40-14 15,80 14-15,-14 13 16,-66-13-16,67 13 16,-54 13-16,40-13 0,13 13 15,-13-13-15,14 14 0,-41-1 16</inkml:trace>
  <inkml:trace contextRef="#ctx0" brushRef="#br0" timeOffset="208687.49">23548 5080 0,'13'26'31,"-26"14"-15,13-13-16,0-14 0,0 0 0,-13 27 16,13-27-16,0 13 15,0-12-15,0-1 0,0 0 0,-14 0 16,14 1-16,0-1 0,0 0 15</inkml:trace>
  <inkml:trace contextRef="#ctx0" brushRef="#br0" timeOffset="208911.45">23746 5080 0,'0'-13'0,"14"39"32,-14-13-32,0 1 0,0 12 15,0-13-15,0 1 0,0-1 16,0 13-16,0-12 0,-14-1 0,14 0 16,0 0-16,0 0 0,0 1 0,0-1 15,-13-13-15,13 13 0</inkml:trace>
  <inkml:trace contextRef="#ctx0" brushRef="#br0" timeOffset="209092.63">23482 5292 0,'66'-14'0,"-53"1"0,0 13 16,1 0-16,-1 0 0,27 0 16</inkml:trace>
  <inkml:trace contextRef="#ctx0" brushRef="#br0" timeOffset="209526.79">23429 5715 0,'66'-13'31,"-40"0"-31,-12 13 0,12-14 16,1 14-16,-14-13 0,0 13 0,14-13 16,-14 13-16,0 0 0,0-13 0,0 13 15,1 0 1,-14 13-1,-27 27 1,27-14-16,-13-13 16,13 0-16,0 14 0,-13-14 15,13 0-15,0 1 0,0-1 0,0 0 16,0 0-16,0 1 0,13-14 16,0 0-1,0 0-15</inkml:trace>
  <inkml:trace contextRef="#ctx0" brushRef="#br0" timeOffset="210143.25">24302 5040 0,'53'-13'0,"-40"0"15,-39 26 16,-14 0-15,14 1 0,12-14-16,1 0 0,0 13 0,0 0 15,13 0 1,0 0-16,13 1 16,0-1-16,0 0 15,1 0-15,12 14 16,-26-14-16,13 0 15,-26 1 1,13-1-16,-13-13 0,13 13 0,-13-13 16,-1 13-16,1 0 0,0-13 15,0 0-15,-1 0 16</inkml:trace>
  <inkml:trace contextRef="#ctx0" brushRef="#br0" timeOffset="210435.4">24461 5133 0,'0'13'32,"0"14"-17,13-14-15,-13 0 0,13-13 16,0 13-16,27-13 15,-27 0-15,14 0 16,-14 0 0,-13-13-16,0-13 15,-13-1 1,-14 14 0,1 13-16,13 0 0,-27 0 15,27 0 1</inkml:trace>
  <inkml:trace contextRef="#ctx0" brushRef="#br0" timeOffset="210632.27">24844 5067 0,'14'-13'15,"-28"52"1,14-26-16,-13 1 0,0-1 16,0 0-16,13 0 0,-14 1 15,1-1-15,0 13 0,-13 1 16,26-14 0</inkml:trace>
  <inkml:trace contextRef="#ctx0" brushRef="#br0" timeOffset="210790.3">24672 5120 0,'0'-14'16,"14"28"-1</inkml:trace>
  <inkml:trace contextRef="#ctx0" brushRef="#br0" timeOffset="210915.52">24924 5252 0,'26'0'0</inkml:trace>
  <inkml:trace contextRef="#ctx0" brushRef="#br0" timeOffset="211407.27">24421 5821 0,'40'-27'0,"-27"27"0,-13-13 16,13 13-16,-26-13 15,0 13 1,0 0-16,-1 0 0,1 0 0,0 0 16,-14 0-1,14 0-15,0 13 0,0-13 0,13 13 16,13 1-16,0-1 16,-13 0-16,40 0 15,-27 1 1,0-1-16,1 0 0,-1 0 15,-13 0 1,-27 14 0,14-14-16,-13-13 0,12 13 0,1-13 15,0 0-15,0 14 0,-27-14 16</inkml:trace>
  <inkml:trace contextRef="#ctx0" brushRef="#br0" timeOffset="211723.5">24752 5794 0,'-27'14'31,"27"-1"-31,0 13 15,0-12-15,0-1 16,14 0 0,-1-13-16,0 0 0,27 0 15,-27-13 1,0 0 0,-13-1-16,-26-12 15,26 13-15,-14 13 16,14-14-16,-13 14 15,0 0-15,0 0 0,0 0 16</inkml:trace>
  <inkml:trace contextRef="#ctx0" brushRef="#br0" timeOffset="211890.25">25016 5794 0,'14'14'16,"-14"-1"-16,-14 0 16,1 0-1,0 1-15,0-1 0,13 0 0,-27 0 16,27 0-16,-13-13 0,13 14 16</inkml:trace>
  <inkml:trace contextRef="#ctx0" brushRef="#br0" timeOffset="212018.85">24858 5808 0</inkml:trace>
  <inkml:trace contextRef="#ctx0" brushRef="#br0" timeOffset="212169.28">25215 5940 0,'0'-27'31</inkml:trace>
  <inkml:trace contextRef="#ctx0" brushRef="#br0" timeOffset="-212626.4">4326 11906 0,'40'0'16,"-1"-13"-1,-12 0-15,12 13 0,-12-13 0,13-1 0,-14 14 16,1-13-16,-1 13 0,0 0 16,1-13-16,-14 13 0,0 0 15,14 0-15,-14 0 0,0 0 16</inkml:trace>
  <inkml:trace contextRef="#ctx0" brushRef="#br0" timeOffset="-211485.45">4220 12118 0,'-13'0'0,"79"-13"32,-40 13-32,1-14 0,-1 14 15,107-26 1,-94 26-16,1-13 0,0 0 0,-1 13 15,1-14-15,26 1 16,-39 13-16,-1 0 0,1-13 0,-1 13 16,-13 0-16,1-13 0,12 13 15,-13 0-15,0 0 0,1-14 16,-1 14-16,0 0 0,14 0 16,-27-13-1,13 13-15,0 0 16,0 0-16,-13-13 15,14 13 1,-1-13-16,0-14 16,-13 14-1,0 0-15,13 0 16,-13-14-16,0 14 0,13-14 16,-13 14-16,14-13 0,-14-1 0,13 1 0,0-1 15,-13 1-15,0 13 0,13-14 16,1-79-1,-14 93-15,0-13 0,0-27 16,0 40 0,-14-14-16,1-13 15,0 1-15,-27 12 16,40 14-16,-13 0 16,0 13-16,13-13 0,-13 13 0,-1-14 15,1 14-15,13-13 0,-13 13 16,0-13-16,-1 13 0,1 0 0,13-13 15,-13 13-15,-14 0 0,14-14 0,0 14 16,-40-13 0,27 13-16,-1 0 0,1 0 0,-14 0 0,14 0 15,-14-13-15,13 13 0,-12 0 16,-1 0-16,0 13 0,1-13 16,12 0-16,-12 0 0,12 0 0,-13 0 15,14 13-15,-1-13 0,1 0 16,13 0-16,-27 14 0,0-14 15,27 0-15,0 13 0,0-13 16,0 0-16,-1 13 16,1-13-16,0 0 0,0 13 15,-1-13-15,14 14 16,-13-14-16,13 13 16,-13 13-1,0-13-15,-1 27 16,14-27-1,0 14-15,-13-1 0,13 1 0,0-1 16,0 14-16,-13-14 0,13 27 16,0-13-16,0-14 0,0 14 0,0-13 15,0-1-15,0 1 0,0 12 0,0-12 16,0-14-16,13 13 16,-13 1-16,0-14 0,0 0 0,13 14 0,-13-14 15,0 0-15,0 0 0,0 1 16,14-14-16,-14 13 15,0 0-15,0 0 16,0 1-16,13-1 31,-13 0-15,13 0 31,0-26 31,1 13-78,-1 0 16</inkml:trace>
  <inkml:trace contextRef="#ctx0" brushRef="#br0" timeOffset="-210443.82">6919 11126 0,'0'-14'0,"0"1"16,-27-13 0,27 13-1,-39-14 1,39 14-16,-14 0 0,1 13 15,-40-40 1,40 40-16,0 0 0,0-13 16,-1 13-16,-12 0 0,13 0 0,-14 13 15,14-13-15,-27 13 0,14 14 16,-1-14-16,1 13 0,0 1 0,-1-1 16,1 1-16,-14 12 0,27 1 0,-14-13 15,14 12-15,-13 41 16,12-41-16,1 1 0,13-14 15,0 1-15,0-1 0,13 41 16,1-41-16,12 14 0,-13-14 16,14-13-16,-1 14 0,1-14 0,26 14 15,-27-27-15,0 13 16,1-13-16,-1 0 0,1-13 0,13 13 16,-1-14-16,1 1 0,-14-13 0,14 12 15,-14-12-15,1-1 0,66-52 16,-80 53-16,13-1 15,-13 1-15,14-14 0,-27 27 0,13-14 16,-13 1-16,13 13 0,-13-14 16,-13 1-16,13-1 0,-13 14 15,0-27-15,-1 14 0,-12-1 0,13 1 16,-14 13-16,1-1 0,-1 1 16,14 0-16,-13 0 0,-1 13 0,1-13 15,-1 13-15,1 0 0,13 0 0,-14 0 16,1 0-16,-1 0 0</inkml:trace>
  <inkml:trace contextRef="#ctx0" brushRef="#br0" timeOffset="-208023.8">5133 12396 0,'0'39'31,"0"-25"-15,0 12-16,0-13 16,13 1-16,14 12 15,-1-26 1,-13 0-16,40 13 16,-13-13-16,79 0 15,-66 0-15,0 0 0,-14 0 16,14 0-16,0 0 0,-13 0 0,13-13 15,26 13 1,-52 0-16,-1 0 0,-13 0 0,-13-13 16,14 13-16</inkml:trace>
  <inkml:trace contextRef="#ctx0" brushRef="#br0" timeOffset="-207797.27">5887 12369 0,'119'66'0,"-106"-52"16,-13-1-16,13 0 0,-13 0 16,0 1-16,0 12 0,0 0 15,-13-12-15,-40 65 16,40-52-16,0-14 0,0 0 0,13 0 15,-14-13-15,1 13 16</inkml:trace>
  <inkml:trace contextRef="#ctx0" brushRef="#br0" timeOffset="-207082.45">6376 12343 0,'80'0'0,"-67"0"0,14 13 16,-27 0-16,0 0 15,13 1-15,-13 25 16,0-25-16,0-1 0,-13 0 16,13 0-16,0 1 15,0-1-15,0 0 0,-14 0 16,14 0 0,14-13-16,-1 0 15,0 0 1,0-13-16,0 13 0,27-13 15,0 0 1,-27 0-16,14 13 16,-14 13-16,0-13 15,0 13-15,0 0 16,1-13-16,12 13 16,14-13-1,-27 0-15,0 0 0,0-13 16,1 13-16,12-26 0,-13 13 15,1-27 1,-14 27-16,0-1 0,-14 14 16,-12-26-1,13 13-15,-1 13 0,1 0 0,0-14 16,0 14-16,0 0 0,-1 14 16,-12-1-1,13-13-15,13 13 16</inkml:trace>
  <inkml:trace contextRef="#ctx0" brushRef="#br0" timeOffset="-206862.58">7223 12224 0,'0'39'0,"-13"-25"15,0 39 1,-1-27-16,14-13 0,-13 14 0,13-1 16,-13 1-16,13-1 0,-26 27 15,26-13 1,-14-14 0,1-13-16</inkml:trace>
  <inkml:trace contextRef="#ctx0" brushRef="#br0" timeOffset="-206717.43">6998 12343 0,'-13'-13'0</inkml:trace>
  <inkml:trace contextRef="#ctx0" brushRef="#br0" timeOffset="-206562.38">7501 12422 0,'26'13'16</inkml:trace>
  <inkml:trace contextRef="#ctx0" brushRef="#br0" timeOffset="-202221.48">15981 10755 0,'-13'0'15,"-1"14"-15,1-14 0,13 13 0,0 0 16,-13-13-16,0 40 16,-1-14-16,14-13 0,0 1 0,-13-1 15,13 13 1,0-12-16,0-1 0,13 0 0,1 13 15,-14-12-15,13-1 16,0-13-16,0 0 0,-13 13 16,14-13-16,25-13 15,-25 13-15,-1-13 0,0 13 16,0-14-16,0 1 16,1-13-1,-14 13-15,0-14 16,0 14-16,0 0 0,-14-27 15,14 27 1,-13-1-16,13 1 0,-13 0 16,-13 0-1,12 13 1,-25 0 0,12 13-1</inkml:trace>
  <inkml:trace contextRef="#ctx0" brushRef="#br0" timeOffset="-202066.32">16179 10874 0</inkml:trace>
  <inkml:trace contextRef="#ctx0" brushRef="#br0" timeOffset="-201422.12">16378 10729 0,'-27'0'15,"27"13"-15,0 0 0,13 1 0,-13-1 16,14 0-16,-14 0 15,13 0-15,-13 1 0,13-1 0,-13 0 16,13 0-16,-13 1 0,0-1 16,0 0-16,0 0 0,0 1 15,-13-14-15,13 13 0,-13-13 16,0 0 0,13-13-1,0-1 1,13 1-16,0 0 15,14-14 1,-14 14-16,13-13 16,-12 12-16,-14 1 0,13 13 0,-13-39 15,0 25 1,-27-12 0,1-1-1,-1 27 1,14 0-1,0 14-15</inkml:trace>
  <inkml:trace contextRef="#ctx0" brushRef="#br0" timeOffset="-196577.65">1270 8586 0,'79'13'0,"-52"0"15,-1-13-15,1 0 0,-1 13 16,14-13-16,-14 0 0,14 0 16,0 14-16,-1-14 0,-12 0 0,26 0 15,-27 13-15,-13-13 0,14 0 16,-14 0-16,40 0 16,-40 0-16,1 0 15,12 13 1</inkml:trace>
  <inkml:trace contextRef="#ctx0" brushRef="#br0" timeOffset="-191497.59">10054 8559 0,'27'13'16,"-14"-13"-16,0 0 15,0 0-15,14 0 0,-14 14 0,0-14 16,40 13 0,-26-13-16,-1 0 0,1 13 0,25-13 0,-12 0 15,13 13-15,40-13 16,-40 14-16,-1-14 0,28 13 16,-14-13-16,0 13 0,0 0 0,0-13 15,1 14-15,-1-1 0,-13-13 16,0 13-16,-1-13 0,1 13 0,0-13 15,0 13-15,0-13 0,0 14 16,-13-14-16,13 13 0,-14-13 0,14 0 16,-13 0-16,0 13 0,-1-13 0,80 13 15,-92-13 1,13 0-16,-14 0 0,0 0 0,14 0 16,-13 14-16,-1-14 0,14 0 15,-14 0-15,1 0 0,-1 0 0,14 0 16,-14 13-16,1-13 0,12 0 15,-12 0-15,52 0 0,14 0 16,-53 0-16,-14 0 16,14 0-16,-14 0 0,14 0 15,-14 0-15,27 0 16,-40 0-16,14 0 0,-1 0 0,1 0 16,-1-13-16,1 13 0,-1 0 0,40 0 15,-13 0 1,13-14-1,-39 14-15,79 0 32,-67 0-32,-25 0 0,-1 0 15,0 0-15,14 0 0,-14 0 0,0 0 16,13 0 0,-12 0-16,-1 0 0,0 0 0,14 0 15,-14 0-15,0 0 16,-13-13-16,13 13 15,0 0-15,1-13 16,12 13 0,-26-13-16,13 13 15,1 0-15,12-14 16,-26 1 0,13 13-16,1-13 15,-1 0-15,13 0 16,-13-1-1,1 1-15,12-13 16,-13 12 0,1-12-1,-1 13-15,-13-1 0,13 1 16,0 0-16,1 0 0,-1-27 16,0 27-16,0 0 0,-13-1 15,0 1-15,13 0 16,-13 0-16,14 13 0,-14-13 0,13-1 15,-13 1-15,0 0 0,13 0 0,-13-1 16,13 1-16,-13 0 16,0 0-16,0-1 0,14 1 0,-14 0 15,0 0-15,0-14 16,13 14 0,-13 0-16,0-14 15,13 1 1,-26 13-1,13-14 1,0 14-16,-13 0 16,-1 0-1,14-1-15,-13 14 0,0-13 16,0 13-16,-1-13 16,1 13-16,0-13 0,0 13 0,-27-14 15,27 1-15,0 13 16,-1-13-16,-12 13 0,13 0 15,-1-13-15,1 13 0,0 0 0,0-13 16,0 13-16,-1 0 0,1-14 16,0 14-16,-14 0 0,14-13 0,0 13 15,-14 0-15,1-13 0,13 13 0,-14-13 16,1 13-16,-40-14 16,26 14-16,0-13 0,1 0 15,-1 13-15,0-13 0,1 13 0,12-14 16,-13 14-16,-12-13 15,25 13-15,-13 0 0,14-13 0,0 13 16,-14-13-16,0 13 0,14 0 16,-14-13-16,0 13 0,14-14 15,-14 14-15,0-13 0,14 13 0,-40 0 16,39-13-16,-12 13 0,12 0 16,-12-13-16,12 13 0,1 0 0,-1 0 15,-39 0-15,40 0 16,-1 0-16,-13-14 0,14 14 0,0 0 15,-1 0-15,-13 0 0,-13 0 16,14 0-16,12 0 0,-12 0 16,12 0-16,-26 0 0,14 0 15,-1 0-15,13-13 0,-12 13 0,-1 0 16,14 0-16,-14 0 0,0 0 16,14 0-16,-1 0 0,-12 0 0,12 0 15,-13 0-15,14 0 0,13 0 0,-14 0 16,1 0-16,-1-13 0,1 13 15,-1 0-15,1 13 0,0-13 16,-1 0-16,1 0 0,-1 0 0,1 0 0,-1 0 16,1 0-16,13 0 0,-14 0 15,1 0-15,-1 0 0,14 0 16,-13 0-16,-1 13 0,-13-13 16,14 0-16,-1 0 0,14 0 0,-13 0 15,-1 0-15,14 0 0,-13 14 16,-1-14-16,-13 0 0,14 0 15,0 0-15,12 0 0,1 0 16,-13 0-16,12 13 0,1-13 16,0 0-16,0 0 0,0 0 0,-1 0 15,1 13-15,0-13 0,0 0 0,-1 0 16,1 0-16,0 13 16,0-13-16,-1 0 0,1 0 15,0 14-15,0-14 16,0 0-16,13 13 0,-14-13 15,1 0-15,0 0 0,0 0 16,13 13-16,-14-13 16,1 0-16,0 13 0,0-13 15,-1 0-15,14 13 0,-13-13 16,0 0-16,-13 14 16,26-1-1,-14-13-15,1 13 0,0-13 16,0 13-1,-1 1-15,1-14 16,13 13-16,-26 13 31,12-12-31,1-1 16,0-13 0,13 13-16,-13-13 0,13 13 0,-13 0 15,-1 14 1,1-14-1,13 0-15,0 1 0,-13-14 16,13 13-16,0 0 0,0 0 16,0 0-16,-13 27 15,13-27-15,0 1 0,0-1 16,-14 0-16,14 0 0,0 1 0,0-1 16,0 0-16,0 13 0,0-12 15,0-1-15,0 0 0,0 14 16,0-14-16,0 0 0,0 0 0,0 14 0,0-14 15,0 0-15,14 0 0,-14 1 16,13-1-16,-13 0 16,13 0-16,0 1 0,1-1 0,-1-13 15,0 13-15,13-13 0,-12 13 0,12-13 16</inkml:trace>
  <inkml:trace contextRef="#ctx0" brushRef="#br0" timeOffset="-185789.44">1429 8625 0,'53'0'16,"-40"0"-16,0 0 0,0-13 0,1 13 15,25 0 1,-12 0-16,-14 0 0,13-13 15,41 13 1,-41 0-16,14 0 0,-14-13 0,1 13 16,12 0-16,-12 0 0,52 0 15,-52 0-15,12 0 0,-12 0 16,12 0-16,-12 0 0,13 0 0,-14 0 16,27 0-16,-27 0 15,14 0-15,-13 0 0,-1 0 0,0-14 16,1 14-16,-1 0 0,1 0 0,-1 0 15,-12 0-15,12-13 0,-13 13 16,0 0-16,1 0 0,-1 0 0,0 0 16,0 0-16,1 0 0,-1-13 15,0 13-15,0 0 16,1 0 0,-1 0-1,-40 0 32</inkml:trace>
  <inkml:trace contextRef="#ctx0" brushRef="#br0" timeOffset="-183455.52">741 8149 0,'-13'0'0,"-1"0"47,1 0-47,0-13 15,0 13 1,-1-13-16,1 13 0,0-14 16,0 1-1,0 13-15,-1-13 0,1 13 16,0 0-16,0-13 0,-1 13 0,1-13 0,0 13 15,0-14-15,-1 14 16,1-13-16,0 13 0,-13-13 0,-14-14 16,27 14-16,-14 0 0,14 0 15,-13 0-15,-1-1 0,1-12 16,12 13-16,1-14 0,0 14 0,-14 0 16,1-27-16,13 27 15,13-14-15,-13 14 0,-1 0 0,1-27 16,13 27-16,-13 0 0,13-1 15,-13-12-15,13 13 16,-14 0-16,14-1 0,0-12 0,0 13 16,-13-1-16,13 1 0,0 0 0,0-14 15,-13 14-15,13 0 0,0-13 16,0 12-16,0 1 0,0 0 16,0 0-16,-13-1 0,13 1 15,0 0-15,0 0 0,0-14 16,0 14-16,13 0 0,-13 0 15,0-1-15,0 1 0,13-13 0,-13 12 16,0 1-16,13 0 0,-13 0 16,14 0-16,-14-1 0,13 1 0,0 0 15,-13-14-15,13 14 0,1 0 16,-1 0-16,0-1 0,0 1 16,0 0-16,1-13 0,-1 26 15,0-14-15,-13 1 0,13 0 16,1 13-16,-14-13 0,13 13 0,-13-14 15,13 14-15,-13-13 0,13 0 16,1 13 0,-14-13-16,13-1 15,0 1 1,0 0 0,0 0-1,1 0-15,-1-1 31,0 14-15,-13-13 0,13 0-1,-13 0 1,14 13 0,-14-14-1</inkml:trace>
  <inkml:trace contextRef="#ctx0" brushRef="#br0" timeOffset="-182837.64">318 6694 0,'26'13'47,"-13"-13"-31,0-13-16,27 13 31,-27 0-31,1 0 16,12-13-1,0 13-15,-12 0 16,-1 0 0,0 0-1,0 0-15,-13 13 16,0 0-1,0 14 1,0-14-16,0 0 0,0 0 16,-13 1-16,13 12 0,0-13 15,0 0-15,0 1 0,0-1 0,0 13 16,-13-12 0,13-1-16,0 0 15,0 0-15</inkml:trace>
  <inkml:trace contextRef="#ctx0" brushRef="#br0" timeOffset="-155670.67">11589 7448 0,'0'-13'0,"0"0"0,0-1 15,13 41 32,0-14-47,-13 0 16,0 14 0,0-14-16,0 0 0,0 0 0,0 1 15,0-1-15,-13-13 16,13 26-16,0-12 15,0-1 1</inkml:trace>
  <inkml:trace contextRef="#ctx0" brushRef="#br0" timeOffset="-155462.72">11761 7474 0,'0'-13'0,"-13"26"31,13 14-15,0-1-16,0-12 15,0-1-15,-14 0 0,28 0 0,-14 27 16,0-27 0,0 14-1,13-27-15,-13 13 0</inkml:trace>
  <inkml:trace contextRef="#ctx0" brushRef="#br0" timeOffset="-155005.47">11602 7594 0,'-13'0'16,"26"-27"-1,0 27 1,0 0-16,27-13 16,-27 13-16,27-13 0,-27 13 15,1 0-15,25 0 16,-12-14 0,-1 14-16,-13 14 15,-13-1 16,0 0-31,0 0 16,14-13 0,-1 14-16,0-14 0,-13 13 0,13-13 15,40 0-15,-40 0 16,1 0-16,25 0 16,-39-13-16,14 13 0,-28-14 31,1 1-31,0 13 15,0-13-15,-1 13 0,1 0 16,0 0-16,-14 13 16,14-13-16</inkml:trace>
  <inkml:trace contextRef="#ctx0" brushRef="#br0" timeOffset="-154716.7">12158 7514 0,'0'13'15,"0"1"-15,26 12 16,-26-13-16,0 1 0,13-1 15,-13 0-15,0 0 16,0 14-16,-13-14 16,13 0-16,-13-13 0,-14 13 15,14 1 1,0-14 0,0 0-16,-1-14 0</inkml:trace>
  <inkml:trace contextRef="#ctx0" brushRef="#br0" timeOffset="-154506.54">12263 7501 0,'14'-13'16,"-14"39"15,0-13-15,0 14-16,0-14 0,0 0 15,0 1-15,0-1 0,0 26 16,13-25-16,-13-1 16,13 0-16,-13 0 15,13-13-15</inkml:trace>
  <inkml:trace contextRef="#ctx0" brushRef="#br0" timeOffset="-154289.58">12211 7646 0,'52'-26'0,"-38"26"0,-1 0 0,0-13 15,0 13-15,1 0 0,12 0 16,-13-13-16,0 13 0</inkml:trace>
  <inkml:trace contextRef="#ctx0" brushRef="#br0" timeOffset="-153768.52">12449 7686 0,'13'-13'16,"0"-14"0,-13 14-16,27-13 15,-27 13-15,0-1 16,-27 28 15,14 12-15,0-26-16,13 13 15,0 0-15,0 1 16,13-1 0,0-13-16,0 0 0,1 0 0,-1 0 15,13 0-15,-13-13 16,54-14-16,-14-12 15,-27 12-15,0 1 0,1-1 16,-1-13-16,-12 14 16,-1 13-16,-13 0 15,13-1-15,-53 41 32,14-1-32,-14 27 15,40-40-15,0 14 0,0-14 0,0 0 16,0 1-16,40 25 15,-27-39-15,40 40 16,-40-40-16,1 0 16,-1 13-16,0-13 0,0 0 15</inkml:trace>
  <inkml:trace contextRef="#ctx0" brushRef="#br0" timeOffset="-153066.66">11430 7329 0,'0'13'0,"-13"0"16,13 1-16,0 12 0,-13-13 0,13 14 0,-14 12 15,1 54 1,0-66-16,13-1 0,0 0 16,-13 27-16,13-26 15,0-14-15,0 0 0,0 1 16,13-1-1</inkml:trace>
  <inkml:trace contextRef="#ctx0" brushRef="#br0" timeOffset="-152410.54">11390 7355 0,'0'0'15,"0"-13"-15,14 13 16,-1 0-16,0-13 0,0 13 16,0 0-16,14 0 0,-1-13 0,54 13 15,-41-14-15,14 14 0,0 0 16,13-13-16,-13 13 0,13 0 15,-13 0-15,27 0 0,-27 0 16,13 0-16,119 0 16,-132 0-16,13-13 0,-13 26 0,13-13 15,27 0-15,-40 0 16,-14 0-16,-12 0 0,-1 0 0,1 0 16,-1 0-16,1 13 0,-14-13 0,0 0 15,0 0-15,14 0 16,-14 0-16,0 0 0,1 0 0,-1 0 15,0 0 1,0 14 0,0-14-16,1 0 15,-1 0 32,0 13-31,-13 13-1,0-12-15,0-1 16,-13 0-16,13 14 0,0-14 16,0 13-16,0-13 0,0 14 0,0-1 15,0 27 1,0-26-16,0-14 0,0 0 16,0 14-16,0-14 0,0 13 15,0-12 1,0-1-16,0 0 31,-13-13-15</inkml:trace>
  <inkml:trace contextRef="#ctx0" brushRef="#br0" timeOffset="-150606.62">13269 7594 0,'0'-14'0,"13"14"16,14 0-1,-14 0-15,0 0 0,0 0 16,0 0-16,14 0 0,13-13 15,-27 13-15,13 0 0,-12 0 0,-1 0 16,13 0-16,-13 0 16,1 0-16,-1-13 0,0 13 15,0 0-15</inkml:trace>
  <inkml:trace contextRef="#ctx0" brushRef="#br0" timeOffset="-150240.83">13348 7461 0,'-53'40'0,"40"-40"15,0 13-15,0 0 0,-1 1 0,1-1 16,0 0-16,13 0 0,-13 1 15,13-1-15,13 0 16,0 0-16,0 0 0,1-13 16,-1 14-16,0-14 0,14 0 0,-14 13 15,13-13-15,-13 0 0,27 13 16,-27-13-16,14 13 0</inkml:trace>
  <inkml:trace contextRef="#ctx0" brushRef="#br0" timeOffset="-118099.53">14579 8599 0,'52'13'31,"-38"-13"-31,-1 0 0,53 0 15,0 0 1,-39 0-16,26 0 16,-14 0-16,133 13 15,-106-13 1,-13 0 0,-13 0-16,53 0 0,-54 0 15,94 14-15,-80-14 16,39 0-16,40 13 15,-39-13 1,-14 0-16,-39 0 0,26 0 16,-39 0-16,12 0 15,27 13-15,27-13 16,-53 0 0,-14 0-16,27 0 0,-26 0 15,26 0-15,-27 0 0,14 0 16,52 0-1,-65 0-15,-1 0 16,40 0-16,-13 0 16,-13 0-16,0-13 15,-14 13-15,-13 0 16,1 0-16,25 0 16,14 0-16,-13 0 15,-27 0-15,0 0 16,40 0-16,13 0 15,-52-13 1,25 13-16,-25 0 16,-1 0-16,26 0 0,14 0 15,-13 0 1,-27 0 0,67 0-16,-41 0 15,-12 0-15,12 0 16,1 0-16,13 0 15,-13 0 1,13 0-16,0 0 16,13 0-1,0-14 1,27 14-16,-67 0 16,40-13-16,-13 13 15,0-13-15,40 13 16,-27 0-1,26-13 1,54 13 0,-1 0-16,-52-14 15,0 14 1,-1 0-16,1 0 16,-54 0-16,54 0 15,0 0-15,-54 0 16,173-13-1,-133 13-15,-52 0 16,13 0-16,26 0 16,66 0-1,-26 0 1,-80 0-16,146-13 31,-145 13-31,237 0 31,-237 0-15,237 0 15,-224 0-31,185 0 16,-185 0-16,-14 0 16,27 0-16,145 13 15,67-13 16,-93 13 1,-106-13-32,159 0 47,-199 0-47,120 0 31,-120 0-31,120 0 15,-53-13 17,-67 13-32,133 0 31,-133 0-31,107 0 31,-107 0-31,67 13 31,-80-13-31,40 0 32,-27-13-17,-79-13 1</inkml:trace>
  <inkml:trace contextRef="#ctx0" brushRef="#br0" timeOffset="-115477.52">886 9221 0,'27'13'16,"-1"-13"-16,-13 0 15,27 13-15,-13-13 0,-14 0 16,13 0-16,1 0 0,65 13 15,-52-13 1,-13 0-16,25 0 0,1 0 0,-26 0 16,13-13-16,-1 13 0,-12 0 15,39-13-15,-40 13 0,40-13 16,-13 0-16,-26 13 16,-1-14-16,-13 14 0,14-13 15,13 0-15,-27 0 16,27-14-16,-27 27 15,0-13-15,0 0 16,0-1-16,1 1 0,-14 0 0,13 13 16,-13-13-16,13-14 0,0 27 15,-13-13-15,14 0 16,-14 0-16,13-1 16,-13 1-16,0 0 0,0-14 15,0 14 1,0 0-16,-13 13 0,13-26 15,-14 12-15,14 1 0,-13 0 16,0 0 0,13-1-16,-13 1 0,-1 0 15,14 0-15,-13 13 0,0-14 16,0 1-16,13 0 16,-13 13-16,-14-26 15,14 12-15,0 1 16,-1 13-16,14-13 15,-26 0-15,13-1 16,-1 14-16,1-13 16,0 13-16,0 0 15,13-13-15,-13 13 0,-1 0 16,-12-13-16,13 13 16,-1 0-16,1-14 15,0 14-15,0 0 16,-14 0-16,14 0 0,0 0 15,0 0-15,-1 0 16,-12 0-16,13 0 16,-1 0-16,1 0 0,0 0 0,-13 0 0,12 0 15,-12 0-15,13 0 16,-1 14-16,1-14 0,0 0 16,-40 0-16,40 0 15,0 0-15,-1 0 0,1 0 16,-13 13-16,12-13 0,1 0 15,0 0-15,-14 0 0,14 0 0,0 0 16,0 0 0,0 13-16,-14-13 0,14 0 15,0 0-15,-14 0 16,14 13-16,0-13 0,-1 0 16,1 0-16,0 0 0,0 14 0,-14-14 15,1 13-15,13-13 16,-14 0-16,14 13 0,0-13 15,-27 13 1,14-13-16,26 14 0,-27-14 16,14 0-16,13 13 15,-27 0-15,14-13 16,0 13-16,0 0 16,0 1-16,13-1 15,-14 0-15,1 0 16,0 14-16,0-27 0,-1 40 15,14-27 1,-13 13-16,0-13 0,13 1 16,0 12-16,0-13 15,-13 1-15,13 12 0,0-13 16,0 14-16,13-14 0,0 13 16,-13 1-16,13-14 15,1 0-15,-1 1 16,0-1-16,0 0 15,14-13-15,-14 13 0,13 1 16,1-14 0,-14 13-16,0-13 0,1 0 15,12 0-15,-13 0 0,14 0 16,12 0-16,-25 0 16,-1 0-16,27 0 15,12 0-15,-25 0 16,-14 0-16,14-13 0,-14 13 15,40 0 1,-40 0-16,0 0 0,0 0 16,1 0-16,12-14 0,14 14 15,-14-13-15,-12 0 16,12 13-16,0-13 0</inkml:trace>
  <inkml:trace contextRef="#ctx0" brushRef="#br0" timeOffset="-114386.5">5014 9141 0,'40'-26'0,"-27"26"0,0 0 16,66-13-1,-39-1-15,0 14 0,-1 0 0,1-13 16,53 13-16,-40-13 15,0 13-15,105-13 16,-39 13-16,-52 0 0,-1 0 16,0 0-16,13 0 0,-26 0 15,13 0-15,53 0 0,-53 0 16,-13 0-16,14 0 0,52 0 16,13 0-16,-53 0 15,1 0-15,-14 0 0,13 0 16,53 0-16,1 0 15,-67 0-15,0 0 0,-13 0 0,13 0 16,0 0-16,0 13 0,1-13 16,38 0-16,-38 0 0,38 0 15,-65 0-15,13 0 0,-13 0 16,-1-13-16,-12 13 0,39 0 16,-40 0-16,1 0 0,-1 0 15,27 0-15,-40 0 16,1 0-16,12 0 0,-13 0 0,1 0 15,-1 0-15,13 0 16,-13 0-16,1 0 16,-1 0-16,0 0 15,0-13 1,1 13 0</inkml:trace>
  <inkml:trace contextRef="#ctx0" brushRef="#br0" timeOffset="-113159.64">8546 9168 0,'-26'53'15,"26"-27"1,13-26-16,0 13 16,13-13-16,1 0 15,-1 14-15,-12-28 0,12 28 16,1-28-16,-1 14 0,27 0 16,13 0-1,-39 0-15,-14 0 0,0 0 16,0 0-16,0 0 0,1 0 0,-1 0 15,0 0-15,0-13 0,1 13 16</inkml:trace>
  <inkml:trace contextRef="#ctx0" brushRef="#br0" timeOffset="-112927.34">9009 9141 0,'40'14'16,"-27"-14"-16,0 13 15,0 0-15,1 0 0,-1 1 16,13 12-16,-26-13 16,0 0-16,0 1 15,0-1-15,-13 0 0,13 0 0,-13 1 16,0-1-16,13 0 15</inkml:trace>
  <inkml:trace contextRef="#ctx0" brushRef="#br0" timeOffset="-112420.35">9750 9128 0,'13'13'16,"0"1"-16,1 12 16,-14-13-16,0 1 0,13-1 15,0 66 1,0-52-1,-13-14-15,0 0 32,13-39-17,-13 12-15,0 1 16,0 0-16,14-14 16,-14 14-16,13 0 0,-13 0 15,13 0-15,0-1 16,1 1-16,-1 13 15,13-13-15,1 0 16</inkml:trace>
  <inkml:trace contextRef="#ctx0" brushRef="#br0" timeOffset="-112168.83">10054 9141 0,'13'14'16,"-13"25"0,0-25-1,14 12-15,-1-13 16,-13 0-16,13-13 0,14 14 15,-14-14-15,0 0 0,27-14 16,-27 14 0,0 0-16,-13-13 0,13 0 15,-13 0-15,-185-67 0,357 133 16,-185-66-16,13 0 16,-13 13-16,-1-13 0,1 13 15,0-14-15,0 14 0,0 0 16,-1 0-16,1 14 15</inkml:trace>
  <inkml:trace contextRef="#ctx0" brushRef="#br0" timeOffset="-111889.55">10319 9155 0,'0'13'0,"-13"27"15,39 12 1,-13-52 0,0 0-16,1 0 0,-1 14 15,13-28-15,-12 14 0,-1 0 16,0 0-16,0-13 0,1 0 16,-1 13-16,-13-13 15,-172-53-15,331 105 0,-159-52 0,-14 13 16,14-13-16,-13 0 0,0 13 0,-14-14 15,27 1-15,-26 13 16,13 0-16,-1 0 16,1 0-16,13 13 15,-13-13-15</inkml:trace>
  <inkml:trace contextRef="#ctx0" brushRef="#br0" timeOffset="-111419.1">10544 9102 0,'0'13'0,"13"13"16,-13 1-16,0-14 15,0 0-15,0 1 16,13-14-1,0 0 17,1-14-32,12 1 15,-105-66-15,171 145 16,-79-66 0,1 0-16,-1 0 0,0-13 15,0 13 1,1 0-1,-1 0 1,0 0 0,-13 13-1,13-26 1,1 13 0,-1 0-16,0 0 15,-13-14-15,13 14 0,0-13 0,14 0 16,-14 0-1,0 13-15,1-14 16</inkml:trace>
  <inkml:trace contextRef="#ctx0" brushRef="#br0" timeOffset="-111271.86">10927 9049 0,'27'66'47,"-27"-13"-16,-13-40 1,-1-13-32,1 13 0</inkml:trace>
  <inkml:trace contextRef="#ctx0" brushRef="#br0" timeOffset="-110848.34">12303 9221 0,'53'0'15,"-40"0"-15,0 0 0,14 0 0,66 0 16,-67 0-16,40 0 15,0 0-15,-13 0 16,-26 0-16,-14 13 16,13-13-16,-12 0 15,12 0-15,1-13 16,-14 0 15</inkml:trace>
  <inkml:trace contextRef="#ctx0" brushRef="#br0" timeOffset="-110600.77">12806 9062 0,'40'13'15,"-27"0"1,0-13-16,0 14 0,0-1 0,27 40 15,-13-27 1,-27-12-16,13-1 0,-13 0 16,0 0-16,0 0 0,-27 40 15,14-26 1,0-14-16,0 0 16,-1-13-16</inkml:trace>
  <inkml:trace contextRef="#ctx0" brushRef="#br0" timeOffset="-110226.89">13851 9049 0,'-13'53'16,"13"-27"-16,0-13 16,-14 1-16,14-1 0,-13 27 15,13-27-15,0 0 16,0 0-16,0 0 0,13 1 16</inkml:trace>
  <inkml:trace contextRef="#ctx0" brushRef="#br0" timeOffset="-109895.59">14049 9062 0,'0'0'16,"-26"26"0,26 1-1,0-14-15,0 0 0,0 1 16,13-1-16,-13 0 0,13 0 15,1-13 1,12 14-16,-13-14 0,1 0 16,-1 0-16,0 0 0,0-14 15,0 14-15,-13-13 16,0-13-16,0 12 16,-13-12-1,0 26-15,0-13 0,0 13 16,13-14-16,-14 14 15,1 0-15</inkml:trace>
  <inkml:trace contextRef="#ctx0" brushRef="#br0" timeOffset="-109617.53">14248 9062 0,'13'0'16,"-26"93"15,26-80-15,-13 0-16,13 0 0,-13 1 15,14-14-15,38 26 16,-38-26 0,-120-172-16,225 344 0,-106-185 0,0 13 15,1-13-15,-1-1 16,-26 1-1,-1 0-15,1 0 16,0-1-16,0 1 0,-1 13 16,1 0-16,0 0 15,0 0-15,0 0 0</inkml:trace>
  <inkml:trace contextRef="#ctx0" brushRef="#br0" timeOffset="-109077.89">14711 9128 0,'66'0'16,"-26"0"-16,-27 0 15,40 0-15,-14 0 16,-12 0-16,13 0 16,-27 0-16,0 0 0,0 0 0,1 0 15,12 0-15,-13 0 16,0 0 0,-13-13-16,14 13 15</inkml:trace>
  <inkml:trace contextRef="#ctx0" brushRef="#br0" timeOffset="-108758.22">14975 8983 0,'40'13'31,"-27"0"-31,1-13 0,-1 13 16,53 27-16,-40-27 16,14 14-16,-27-14 0,1 0 15,-1 0-15,0 1 16,-13 12-16,0-13 0,0 1 15,-40 25 1,1 1-16,25-27 0,-12 0 16,13 1-16,-1-14 15,1 13-15</inkml:trace>
  <inkml:trace contextRef="#ctx0" brushRef="#br0" timeOffset="-108200.56">15835 8956 0,'-39'27'16,"25"-1"-1,1 1-15,13 12 0,0-26 16,-13 14-16,13 13 16,13-27-16,-13 0 0,13 0 0,1 14 15,12-14-15,1 0 16,-14-13-16,0 0 15,0-13-15,0 13 16,-13-13 0,0 0-16,-13-1 15,0 1-15,0 13 16,0 0 0,-1-13-16,1 13 15,0 0 1</inkml:trace>
  <inkml:trace contextRef="#ctx0" brushRef="#br0" timeOffset="-107824.43">16047 9049 0,'-40'39'16,"40"-12"-16,-13-1 16,26 1-16,1-1 15,-14-12-15,26-1 16,-13 0-16,0-13 16,14 0-16,-14 0 15,0 0-15,1 0 16,12-26-16,-26 12 15,13-12 1,-13 13-16,0-1 0,-13 1 16,0-13-1,13 12-15,-106-25 0,199 78 16,-107-52-16,1 13 16,0 0-1,0 0-15,-1 13 16</inkml:trace>
  <inkml:trace contextRef="#ctx0" brushRef="#br0" timeOffset="-107600.85">16629 8969 0,'-53'53'16,"27"-13"0,-1-14-16,14 1 15,0-14-15,0 0 16,13 1-16,-14-14 0,14 13 0,-13 0 16</inkml:trace>
  <inkml:trace contextRef="#ctx0" brushRef="#br0" timeOffset="-107426.89">16404 9062 0,'0'-13'15,"-13"13"16</inkml:trace>
  <inkml:trace contextRef="#ctx0" brushRef="#br0" timeOffset="-107285.91">16761 9208 0</inkml:trace>
  <inkml:trace contextRef="#ctx0" brushRef="#br0" timeOffset="-100009.61">13639 11959 0,'0'66'16,"0"-52"-16,0-1 0,0 13 15,-13-13-15,13 14 0,0-14 16,0 27-16,0-14 0,0-12 15,0 12-15,-13-13 0,13 0 0,0 1 16,0-1-16,0 0 0,-13 0 16,13 1-16</inkml:trace>
  <inkml:trace contextRef="#ctx0" brushRef="#br0" timeOffset="-99580.27">13639 11959 0,'80'0'31,"-54"27"-31,-26-14 0,13 0 16,-13 0-16,0 1 0,0-1 16,-26 26-1,13-12-15,-1-14 0,1 0 16,-13 14-16,12-27 16,-12 13-16,13-13 15,0 0-15</inkml:trace>
  <inkml:trace contextRef="#ctx0" brushRef="#br0" timeOffset="-99206.06">14063 11959 0,'-14'-13'0,"1"39"32,13-12-32,-13-1 15,0 0-15,13 0 0,-14 14 16,14-14-16,0 13 0,-13-12 0,13 25 15,0-12-15,13-1 16,1-12-16,-14-1 16,13 0-16,13 0 15,1 0 1,-14-13-16,0 0 16,1 0-16,12-13 15</inkml:trace>
  <inkml:trace contextRef="#ctx0" brushRef="#br0" timeOffset="-98909.83">14301 11999 0,'-13'40'31,"-1"-14"-15,14-13-16,0 0 0,-13 14 16,13-14-16,0 0 0,-13 1 0,13-1 15,0 0-15,0 0 16,-13-13-16,13 14 0</inkml:trace>
  <inkml:trace contextRef="#ctx0" brushRef="#br0" timeOffset="-98409.81">14274 12025 0,'27'-13'15,"-14"13"1,13 0-16,-12 13 16,-14 1-16,13-14 0,-13 26 15,0-13-15,-13 0 16,13 1-16,-14-1 0,1 0 16,0 0-1,39-13 16,-26 14-15,14-14-16,-1 0 16,0 13-16,0-13 15,1 26-15,-14-12 16,-14-14-16,14 13 16,-13 0-16,-13 0 15,12-13-15,1 13 0,0-13 0,0 14 16,0-14-1,-1 0-15,1 0 16</inkml:trace>
  <inkml:trace contextRef="#ctx0" brushRef="#br0" timeOffset="-97895.58">14552 11972 0,'-13'53'16,"13"-39"0,0-1-16,0 26 0,-13-25 15,13-1-15,0 13 16,0-12-16,0 12 0,-14-13 0,14 14 15,0-14 1,0 0-16,14-13 16,-14 13-16</inkml:trace>
  <inkml:trace contextRef="#ctx0" brushRef="#br0" timeOffset="-97196.35">14764 12039 0,'0'26'16,"0"-13"-16,-13 53 16,13-52-16,0 12 15,-14-13-15,14 1 16,0-1-16,0 13 16</inkml:trace>
  <inkml:trace contextRef="#ctx0" brushRef="#br0" timeOffset="-96848.53">14803 12078 0,'40'-66'16,"-27"53"-1,14 13-15,-14 0 16,13 0 0,-12 0-16,-14 13 0,13 0 15,0 14 1,-13-14-16,13 0 0,-13 0 15,0 14-15,0 13 16,0-27 0,-13 0-16,13 0 0,0 1 15,0-1-15,-13 13 16,13-13 0,0 1-16</inkml:trace>
  <inkml:trace contextRef="#ctx0" brushRef="#br0" timeOffset="-96626.3">14790 12171 0,'40'0'16,"-14"-13"-16,-12 13 0,-1 0 16,13 0-16,-13 0 0,1 0 15,12 0-15,-13 0 16,1-14-16</inkml:trace>
  <inkml:trace contextRef="#ctx0" brushRef="#br0" timeOffset="-96349.06">15174 11880 0,'40'26'15,"-40"-13"-15,39 40 16,-26-13-16,-13-13 15,14-14-15,-14 13 0,0-13 16,-14 40-16,-12-13 16,13 0-16,0-27 0,-1 13 15,-12 1-15,-1-1 16,1-12-16,26-1 0</inkml:trace>
  <inkml:trace contextRef="#ctx0" brushRef="#br0" timeOffset="-95977.5">15743 12105 0,'39'0'15,"-25"0"-15,-1 0 0,0 0 16,0 0-16,1 0 16,12 0-16,-13 0 0,27-14 15,-27 14-15,14 0 16,-14-13 0,0 13-16</inkml:trace>
  <inkml:trace contextRef="#ctx0" brushRef="#br0" timeOffset="-95707.61">15968 11972 0,'13'0'0,"13"14"16,1 12-16,-14-13 15,-13 1-15,13-1 0,0 13 16,-13-13-16,14 1 16,-14-1-16,-14 13 0,14-12 15,-26 12-15,26-13 16,-13-13-16,-14 27 16,14-27-16,13 13 15</inkml:trace>
  <inkml:trace contextRef="#ctx0" brushRef="#br0" timeOffset="-95064.64">16523 11986 0,'-53'53'15,"40"-53"-15,13 39 16,0-12 0,0-1-16,13 1 15,1-27-15,-1 13 16,0 0-16,0-13 0,27 13 16,-27-13-16,0 0 0,1 0 15,-1-13 1,0 13-16,0-13 0,1 0 15,-1-1-15,-13 1 0,0 0 16,0-14 0,0 14-16,-13 0 0,13 0 15,0 0-15,-14-1 0,-12-12 16,13 13-16,-1 13 16,14-14-16,-13 14 0,-13 0 15,12 0 1,1 0-16</inkml:trace>
  <inkml:trace contextRef="#ctx0" brushRef="#br0" timeOffset="-94892.61">16761 12052 0,'0'13'47</inkml:trace>
  <inkml:trace contextRef="#ctx0" brushRef="#br0" timeOffset="-94434.28">17105 11880 0,'-13'-13'15,"-13"26"1,12 0-16,1 0 16,13 0-16,-13 1 0,0-1 0,-1 0 15,14 0-15,-13 27 16,0-27-16,13 1 0,0-1 0,0 0 16,13 0-16,-13 14 15,13-14-15,1-13 16,-1 0-16,0 13 0,0-13 15,1 0-15,-1 0 16,-13-13-16,13 13 16,-13-13-16,0-1 15,-13 14 1,0-13-16,-1 13 16,1 0-16,-13 0 15,26 13-15,-14-13 0</inkml:trace>
  <inkml:trace contextRef="#ctx0" brushRef="#br0" timeOffset="-77783.05">4419 8520 0,'-27'370'31,"14"-330"-15,13 26-16,0-40 0,0 1 15,0 26-15,0 13 16,0-53-1,0 0-15</inkml:trace>
  <inkml:trace contextRef="#ctx0" brushRef="#br0" timeOffset="-75919.05">4379 8559 0,'26'0'16,"-12"0"-1,-1 0-15,13 0 0,-13 0 16,14 13-16,-14-13 0,14 0 0,12 0 15,14 0 1,-26 14-16,12-14 0,-12 0 16,52 0-16,-39 0 0,52 0 15,-39 0-15,0 0 16,27-14-16,-27 14 0,-14 0 16,27 0-16,-26 0 0,-13 0 15,12 0-15,-12 0 0,26 0 16,0 0-16,13 0 15,-13 0-15,-27 0 16,14 0-16,13-13 16,-14 13-16,-12 0 0,-1 0 15,1 0-15,26 0 0,-27 0 0,1 0 16,-1 0-16,40 0 16,-26 0-1,-27 13-15,14-13 0,-14 0 0,13 0 16,14 0-16,13 0 15,-13-13 1,-14 13-16,0 0 0,1 0 0,-1 0 16,1 0-16,-14 0 0,66 13 15,-52-13-15,-1 0 0,-12 0 16,12 0-16,1 0 0,-1 0 16,27 0-16,-27 0 15,1 0-15,39 0 0,27 0 16,-54 0-1,27 0-15,1 0 0,-28 0 16,54 0 0,-67 0-16,14 0 0,13 0 15,0 0-15,-27 0 16,1 0-16,-1 0 0,27-13 16,-13 13-16,-14 0 0,1 0 15,-1 0-15,1 0 0,-1 0 16,1 0-16,25 0 0,1-13 15,-26 13-15,-14 0 0,40 0 16,0 0 0,-13 0-16,12-13 0,-25 13 15,13 0 1,26-13-16,-53 13 16,0 0-16,27-14 0,-27 14 15,27-13-15,0 13 16,-1-13-16,-26 13 15,14-13-15,-14 13 0,0 0 16,1 0-16,-1 0 16,0 0-16,0-14 15,0 14 1,1 0 0,-1 0-1,0 0 1,-13-13-1,13 13 17,-13 13-17,0 1 1,0-1-16,0 0 16,0 0-16,0 14 15,0-14-15,0 0 0,0 0 16,0 1-16,-13 25 15,13-12-15,0-14 16,0 14-16,-13-1 16,13-13-16,0 0 0,0 1 15,0-1-15,0 0 16,0 0-16,0 1 16,0-1-1,0 0 1,0 0-1,0 1 17,0-1-17,0 0-15,0 0 16,-13 0-16,13 1 16,0-1-1,-14 0 1,14 0-16,0 1 15,0-1-15,0 0 32,-13 0-32,13 1 78,0-1-16,13 0-30,-39-26 124,13 13-156,0-13 15,-1 13 1,-39-14-16</inkml:trace>
  <inkml:trace contextRef="#ctx0" brushRef="#br0" timeOffset="-74475.76">4405 9194 0,'27'14'62,"-1"-14"-46,1 0-16,-14 0 15,13 0-15,14 0 0,0 0 0,39-14 16,14 14 0,-40-13-16,39 13 0,-39-13 15,40 13-15,-14-13 16,-13 13-16,0 0 16,-39 0-1,-14 0-15,14 0 0,-1 0 16,1 0-16,-1 0 15,-13 0 1,0 0 0,1 0-1,-41 13 204,14-13-156</inkml:trace>
  <inkml:trace contextRef="#ctx0" brushRef="#br0" timeOffset="-70280.64">18494 6152 0,'27'-14'31,"-14"1"-15,0 13-16,1-13 0,-1 13 15,13-13-15,-13-1 0,14 1 16,26 0-16,-27 0 0,14-1 16,-14 1-16,1 13 15,26-26-15,-27 13 16,-13 13-16,1 0 0,-1-14 15,0 14-15,-13-13 16,13 13-16,-13-13 0</inkml:trace>
  <inkml:trace contextRef="#ctx0" brushRef="#br0" timeOffset="-70014.62">18865 5821 0,'26'0'15,"-13"0"-15,1 13 0,-1-13 0,13 27 16,-12-14-16,-1 0 16,0 0-16,0 0 0,-13 1 0,14-1 15,-14 0-15,13 14 0,-13-14 0,0 0 16,0 0-16,-13 0 0,13 1 15,0-1-15,0 0 0,-14-13 16,14 13-16,0 1 0,-13-1 16</inkml:trace>
  <inkml:trace contextRef="#ctx0" brushRef="#br0" timeOffset="-69794.57">19328 5794 0,'-13'53'32,"-1"-39"-32,1 12 15,0 14-15,13-27 16,0 0-16,-13 0 0,13 1 15,0-1-15,0 0 0,0 0 16</inkml:trace>
  <inkml:trace contextRef="#ctx0" brushRef="#br0" timeOffset="-69448.68">19447 5834 0,'-27'0'16,"27"13"-16,14 27 31,12-27-31,-13 0 0,1-13 16,-1 0-16,0 0 0,0 14 0,40-14 31,-26-14-31,-1 1 15,-26 0-15,0 0 16,-13-14-16,13 14 16,-13 13-16,13-13 0,-14 0 15,1 13-15,0-14 0,0 14 16,-1 0 0,1 0-16,0 0 15</inkml:trace>
  <inkml:trace contextRef="#ctx0" brushRef="#br0" timeOffset="-69175.52">19685 5781 0,'13'13'16,"27"27"15,-93-93-31,132 133 16,-65-80-16,25 13 0,-25 0 15,25-13-15,-26 0 0,1 0 16,-1 0-16,0 0 0,0-13 16,1 0-1,-14-1-15,0 1 0,0 0 0,-14 13 16,-12-27-16,26 14 16,-13 13-16,-1-13 0,1 13 15,0 0 1,-13 0-16,12 0 15</inkml:trace>
  <inkml:trace contextRef="#ctx0" brushRef="#br0" timeOffset="-67711.5">20439 5675 0,'-13'-13'15,"13"0"-15,-27 26 16,14-13-16,0 0 16,0 0-16,13 13 0,-27 1 15,27-1-15,-13 0 16,26 13 0,-13-12-16,27 12 15,-14-13-15,13 14 16,-26-14-1,14 0-15,-28 14 16,1-27 0,13 13-16,-13-13 0,-14 13 0,1 0 15,0-13-15,-14 14 16,13-14-16,14 0 16,13-14-1</inkml:trace>
  <inkml:trace contextRef="#ctx0" brushRef="#br0" timeOffset="-67485.92">20651 5636 0,'13'0'15,"0"13"1,-13 0-16,0 0 0,0 14 15,0-14-15,0 0 0,13 0 16,-13 1-16,0 12 0,0 1 16,0-14-16,14 0 0,-14 0 15,0 1-15,0-1 0,13 0 16,-13 0-16</inkml:trace>
  <inkml:trace contextRef="#ctx0" brushRef="#br0" timeOffset="-66975.07">20571 5821 0,'0'-13'0,"53"-14"31,-39 14-31,12 13 15,0-13-15,1 13 16,-14 0-16,14-14 0,-14 14 16,0-13-1,0 13-15,0 0 16,-13 13 0,0 1-1,0-1 1,14-13-16,-14 13 15,0 0-15,13 1 16,-13-1 0,26-13-16,-12 0 15,-1-13 1,13-1-16,-12 1 16,-14 0-16,13 0 0,0 13 15,-13-14 1,13 14-16,0 14 31,-13-1-31,0 0 16,14 0-16,-14 1 15,13-14-15,0 13 16,14-13-16,-14 0 16</inkml:trace>
  <inkml:trace contextRef="#ctx0" brushRef="#br0" timeOffset="-66237.99">21431 5543 0,'13'-26'31,"-92"145"0,53-80-15,26-12-1,0-14-15,0 0 16,-14 0-16,14 1 16,-13-28 15,0 14-15,0-13-16,-1 13 15,-12 0 1,0 13-16,12-13 15,1 14-15,0-1 0,0 0 16,13 0 0,13 1-1,13-14-15,199-265 16,-410 530-16,225-279 16,-14 14-16,-13-13 15,14 13-15,13-40 0,-14 27 16,-13 0-16,0 0 15,-26 26 32,0-13-31,13 13-16,0 0 31,13-13-15,14 0-16,-14 0 15,0 0 1,0 14-16,1-14 0,12 13 16,-13-13-1,1 13 1,-1-13 0,0 0-1,0 0-15,0 0 16,1 0-16,12-13 15,1 13 1,-27-13-16,13 13 16,0 0-16</inkml:trace>
  <inkml:trace contextRef="#ctx0" brushRef="#br0" timeOffset="-65308.12">21788 5649 0,'0'40'16,"0"-27"-16,-13 13 16,13-13 15,27-13 0,-27-13-31,13 13 16,0 0-1,0 0-15,1 0 16,12 0-16,-13-13 16,14 13-16,-14-13 15,27-14-15,-27 1 16,0 13-16,0-14 16,14-13-1,-14 14-15,0 13 0,0 0 16,-13-1-1,0 41 1,0-14 0,-13 0-16,13 0 15,-13 14-15,0-1 16,0 1 0,-1-14-16,1 0 15,0-13 1,13 14-16,-13-14 15,39-14 17,-13 1-17,1 13-15,12-13 16,-13 0-16,0 13 16,14-14-16,-14 14 15,0-13 1,1 26-1,-1-13 1,-13 14-16,13-1 16,-13 13-1,0-12-15,0-1 16,-13 0 0,0 0-16,-1-13 15,1 0-15,0 13 0,0-13 16,-14 0-1</inkml:trace>
  <inkml:trace contextRef="#ctx0" brushRef="#br0" timeOffset="-63738.14">1812 9247 0,'80'40'16,"-54"-27"-1,54 14-15,-1-1 16,-39-13-16,-1-13 0,41 27 15,-54-14-15,1-13 0,-1 0 16,1 13-16,12 0 16,1-13-16,-14 14 15,-12-14 1,-14 13-16</inkml:trace>
  <inkml:trace contextRef="#ctx0" brushRef="#br0" timeOffset="-63470.48">2408 9287 0,'26'0'15,"1"13"-15,-1 0 16,-13 1-16,1-1 15,12 0-15,0 13 0,-12-12 16,-14-1-16,26 13 16,-26 14-16,0-27 15,-13 1-15,13-1 0,-27 13 16,27-13-16,-13-13 0,0 14 16,0-1-16</inkml:trace>
  <inkml:trace contextRef="#ctx0" brushRef="#br0" timeOffset="-62939.3">2910 9181 0,'-26'27'0,"26"-14"16,-13 13-16,13-13 15,0 1-15,0 39 0,13 13 32,0-40-32,14 1 0,-27-14 15,13-13-15,27 13 16,-27 0-16,13-26 15,-13 0 1,-13 0 0,0-1-16,-13 1 0,0 0 15,0 0-15,0 13 16,-14 0 0,14 0-16,0 0 0,-1 0 15,1 0-15,0 13 16</inkml:trace>
  <inkml:trace contextRef="#ctx0" brushRef="#br0" timeOffset="-62603.05">3096 9274 0,'0'39'15,"-14"-12"1,28-93-16,-28 158 16,14-79-16,14 1 0,-14-1 0,13 13 15,-13-12-15,40-1 0,-40 0 16,13-13-16,0 0 0,0 0 16,27-13-16,-14 0 15,-12-14-15,-1 14 0,-13 0 16,0-1-1,0-12-15,-13 13 0,13 0 0,-14 13 16,-12-14-16,-1 1 16,14 13-16,0 0 0,0 0 15,-14 0-15,14 13 0,-13 1 16,-14-1-16,27 0 0,13 0 16</inkml:trace>
  <inkml:trace contextRef="#ctx0" brushRef="#br0" timeOffset="-55924.63">13904 9393 0,'119'-27'0,"-40"27"15,-39 0-15,0-13 0,105 13 32,-92 0-32,40-13 0,-40 13 0,-14 0 15,-12 0-15,12 0 0,-12 0 16,13-13-16,-14 13 0,1 0 16,-1 0-16,0 0 0,14 0 15,-27 0-15,1 0 0,-1 0 0,-13 13 16,13-13-16</inkml:trace>
  <inkml:trace contextRef="#ctx0" brushRef="#br0" timeOffset="-55636.43">14274 9472 0,'80'13'15,"-54"-13"-15,1 0 0,-1 0 16,0 0-16,14 0 0,53 14 16,-27-1-16,-40-13 15,1 0-15,13 0 16,-27 13-16,0-13 0,13 0 15,-12 0-15,-1 0 16</inkml:trace>
  <inkml:trace contextRef="#ctx0" brushRef="#br0" timeOffset="-53659.24">14235 11919 0,'0'-26'32,"0"13"-17,0 0 1,0-1-16,0 1 15,13 13 1</inkml:trace>
  <inkml:trace contextRef="#ctx0" brushRef="#br0" timeOffset="-52869.23">14883 11946 0,'0'-27'16,"0"14"-16,13 0 15,-13 0 1,-13 0-16,26-1 16,-13 1-16,0 0 15,0 0-15</inkml:trace>
  <inkml:trace contextRef="#ctx0" brushRef="#br0" timeOffset="-40560.34">1918 10160 0,'27'0'31,"12"13"-15,-25-13-16,12 0 0,14 13 15,-1-13-15,1 0 0,13 14 16,0-14-16,26 13 0,-13-13 15,1 13-15,65-13 16,-66 13-16,0-13 0,-13 0 0,0 14 16,0-14-16,0 0 0,-13 0 0,-14 0 15,0 0-15,1 13 0,-1-13 16,-12 0-16,-1 0 0,13 0 16,-12 0-16,-1 0 0,0 0 15,0 0 1</inkml:trace>
  <inkml:trace contextRef="#ctx0" brushRef="#br0" timeOffset="-39329.23">4551 10186 0,'-13'0'16,"52"0"-1,-25 0-15,-1 0 16,13 0-16,1 0 0,39 14 15,-27-14-15,14 0 0,-13 13 16,66-13-16,-53 0 0,0 13 16,0-13-16,0 0 0,0 13 15,-1-13-15,107 14 16,-66-14-16,-40 13 16,0-13-16,13 0 0,-13 0 15,0 13-15,0-13 0,-1 13 0,1-13 16,0 0-16,0 0 0,-13 14 0,13-14 15,0 13-15,-14-13 0,14 0 16,-13 0-16,39 13 16,-26-13-16,-13 13 0,0-13 0,-1 0 0,-12 0 15,13 0-15,-1 13 16,1-13-16,-14 0 0,14 14 0,39-14 16,-26 13-16,-13-13 15,-14 0-15,14 0 0,-13 0 16,12 13-16,-12-13 0,12 0 0,-12 0 15,26 0-15,-27 0 0,1 13 16,-1-13-16,-13 0 0,14 0 0,-14 0 16,0 0-16,1 0 0,-1 0 15,0 0-15,0 0 0,0 0 16,1 0-16,12 0 16,-13 0-16,1 0 15,-1 0-15,0 0 16,0 0-16,-13 14 15,14-14-15,-1 0 16,0 0-16,0 0 16,0 0-1,1 0-15,-1 0 32,0 0-17</inkml:trace>
  <inkml:trace contextRef="#ctx0" brushRef="#br0" timeOffset="-37876.14">13891 13242 0,'0'-13'0,"0"40"47,0-14-47,-14 40 15,14-40-15,0 53 16,0-53-16,0 14 15,0-1-15,0-12 0,0-1 0,0 0 16,0 0-16,0 0 0,0 1 0,0-1 16,0 0-16,0 0 15</inkml:trace>
  <inkml:trace contextRef="#ctx0" brushRef="#br0" timeOffset="-37487.94">13864 13176 0,'106'-26'0,"-93"26"15,14 0-15,-1 0 16,-13 13-16,1-13 0,-1 0 0,0 13 16,0-13-16,-13 13 0,0 1 15,0-1-15,0 0 16,-13 0-16,0-13 0,0 14 15,-1-1-15,1-13 0,0 13 0,0-13 0,-1 13 16,1-13-16,-13 14 16</inkml:trace>
  <inkml:trace contextRef="#ctx0" brushRef="#br0" timeOffset="-32736.53">14354 13057 0,'-80'80'16,"67"-54"-16,0 0 0,0 14 15,-1 0-15,1-14 0,0 14 16,0 26-16,13-26 15,-14-14-15,14-12 0,0 12 0,0 27 16,14-13 0,-14-27-1,13-13-15,0 13 0,0-13 16,14-13-16</inkml:trace>
  <inkml:trace contextRef="#ctx0" brushRef="#br0" timeOffset="-32349.52">14684 13229 0,'-79'13'0,"53"1"0,-1-1 15,14-13-15,13 13 16,-13-13-16,13 13 0,-14-13 0,14 14 16,0-1-1,14-13-15,-1 13 16,0 0-16,0 0 0,1-13 16,-14 14-16,13-14 0,0 13 15,0 0-15,-13 0 16,0 14-16,-13-27 15,0 13-15,0 0 0,-1 1 16,1-14-16,0 13 0,0-13 0,-1 13 16,-12-13-16,13 0 0,-1 13 15,1-13 1,0 0-16,0-13 0</inkml:trace>
  <inkml:trace contextRef="#ctx0" brushRef="#br0" timeOffset="-31447.33">14737 13494 0,'-13'13'16,"26"-26"-16,1 26 31,12-39-15,-13 26-16,0-14 15,1 1-15,-1-13 0,0 12 0,0 1 16,1-13-16,-14 12 0,13 1 16,0 0-16,-13 0 0,13 0 15,-13-1-15,0 1 0,13 0 0,-13 0 16,0-1-16,0 1 16,0 0-1,0 0-15,-13 13 16,0 13 15,13 0-31,0 0 0,-13 14 16,13-14-16,0 0 0,-13 14 15,13-14-15,0 0 0,0 0 0,0 1 16,0-1-16,0 13 0,0-12 16,13 12-1,0-26-15,0 0 16,0 0-16,14 0 15,13-26 1,-27 26-16,13-40 16,-12 27-1,25-53-15,-39 52 16,27-39-16,-27 40 16,13-13-16,-13 12 0,0 1 0,13 0 15,-13 0-15,0 0 0,0-14 16,0 14-16,0 0 15,0-1 1,-13 14 0,0 14-16,-1 12 15,1 1 1,13-1-16,-13-13 0,0 40 16,13-26-16,0-14 0,0 13 15,0-12-15,0-1 0,0 0 16,0 0-16,0 0 0,0 1 0,0-1 15,0 0-15,13-13 0,-13 13 16,0 1-16,13-14 0,0 13 16,1-13-1,-1 0 1,0-13-16,0 13 16,1 0-1,-1 0-15,0 0 0,0-14 16</inkml:trace>
  <inkml:trace contextRef="#ctx0" brushRef="#br0" timeOffset="-30608.58">15266 13428 0,'27'-27'15,"-14"-13"1,-13 27 0,-26 13 15,12 13-31,1 1 16,13-1-1,-13 0-15,26 14 16,-13-14-1,13-13-15,-13 13 0,14-13 16,12 0-16,-13 0 16,14 0-16,-14 0 0,0-13 0,1 13 15,-1-13-15,0 13 0,0-14 16,0 1-16,1 0 0,-1 13 16,0-13-16,-13-1 0,27 1 15,-27 0 1,13 13-1,-26 13 17,-1 14-32,14-1 31,0-13-31,0 1 0,27-14 16,-1 0-1,-12-14 1,-1 14-16,0-13 0,27-40 15,-27 27-15,0 13 16,27-54 0,-27 54-16,-13-13 0,13 12 0,-13 1 0,13 13 15,-13-13-15,0-13 16,-13 52 15,13-13-31,-13 14 16,13-14-16,-13 0 0,13 53 15,0-52-15,-13-1 0,26 0 16,-13 0-16,0 0 0,0 1 16,0-1-16,13-13 0,0 13 15,0-26 1</inkml:trace>
  <inkml:trace contextRef="#ctx0" brushRef="#br0" timeOffset="-30424.54">15558 13269 0,'26'0'31,"14"-13"-31,52-14 15,-79 27-15,40-13 0</inkml:trace>
  <inkml:trace contextRef="#ctx0" brushRef="#br0" timeOffset="-29732.03">16166 13454 0,'0'13'16,"0"1"-16,-13-14 15,0-14 1,-1 1-1,1 0-15,13 0 0,-13-27 16,0 0 0,-1 14-16,14-1 0,0 1 0,0 13 0,0-14 15,0-13-15,0 27 16,0 0-16,27-13 16,-27 12-16,13 14 0,-13-13 15,13 13-15,1 0 16,-14 13-16,0 1 15,-14-1-15,14 0 16,0 0-16,-13 0 0,0 1 0,0-1 16,-27 27-1,27-27-15,0 0 0,-1 0 16,1-13-16,0 14 0,13-1 0,-13-13 16,13 13-16,-14-13 0,14 13 0,-13-13 15,13 13 1,13 1-1,14-14 1,-1 0-16,-12 0 0,-1 0 0,13 0 16,-13 0-16,14-14 0,-14 14 15,0 0-15,14 0 0,-1-13 0,-13 13 16,14-13-16,-1 13 0,-12 0 0</inkml:trace>
  <inkml:trace contextRef="#ctx0" brushRef="#br0" timeOffset="-29100.45">16484 13110 0,'-14'27'16,"1"-14"-1,13 13 1,0-13-16,0 1 0,0 12 0,-13 1 0,13 26 16,-13-40-16,13 13 15,0 1-15,-14-14 0,14 0 16,0 0-16,0 1 0,0-1 0,-13 0 15,26-39 17,1-14-17,-1 27-15,0-14 16,0 27-16,-13-13 0,14 0 0,12 0 16,-13 13-16,0-14 0,1 14 15,-1 0-15,0 14 16,0-1-16,1 0 15,-14 0 1,0 0-16,-14 14 16,14-14-1,-13-13-15,13 13 0,0 1 16</inkml:trace>
  <inkml:trace contextRef="#ctx0" brushRef="#br0" timeOffset="-28768.29">16854 13242 0,'-13'0'0,"-14"27"16,14-27-16,13 13 15,-13-13-15,13 13 0,0 1 0,-13-14 16,13 13-16,0 0 0,0 0 15,13 14 1,0-27-16,0 13 0,1-13 16,-1 0-1,0-13 1,-26-14 0,0 14-1,-1 13-15,14-13 0,-13 13 16,-13 0-16,12 0 15,1 13 1</inkml:trace>
  <inkml:trace contextRef="#ctx0" brushRef="#br0" timeOffset="-28466.14">16986 13282 0,'-13'0'31,"13"13"-31,0 1 0,0-1 0,0 13 16,13-13-16,-13 1 15,0-1-15,13 0 0,-13 0 16,0 1-16,0-1 0,14-13 15,-28 13-15,14 0 0,-13 1 16,-13-1 0,13-13-16,-1 0 15,1 0-15,0 0 16,-14 0 0,27-13-16</inkml:trace>
  <inkml:trace contextRef="#ctx0" brushRef="#br0" timeOffset="-28229.1">17211 13070 0,'13'-13'16,"-13"40"15,0-14-31,0 13 16,-13 40-1,13-52-15,0 12 0,0-13 0,-13 14 16,13 26 0,0-40-16,0 0 0,13 0 15,-13 1-15,13-14 32</inkml:trace>
  <inkml:trace contextRef="#ctx0" brushRef="#br0" timeOffset="-28044.29">17119 13295 0,'-14'0'0,"41"-13"32,-14 0-32,0 13 15,0 0-15,1-13 0,12 13 0,-13 0 0,1-14 16,-1 14-16,13 0 0,1 0 0,-1 0 15,-13 0-15,14 0 0,-14 0 16</inkml:trace>
  <inkml:trace contextRef="#ctx0" brushRef="#br0" timeOffset="-27380.45">17370 13441 0,'40'-40'31,"-27"27"-31,-13 0 16,13-1-16,0 1 0,-13 0 16,13 13-16,-13-13 15,-26 26 16,13 13-15,13-12 0,13 12-1,0-26 1,0 0-16,1 0 16,-1 0-16,13-13 15,-12 0-15,-1-1 0,0-12 16,0 13-16,1-14 0,-1 1 0,0-1 15,0 1-15,-13 13 0,13-1 16,-13-12-16,14 26 0,-14-13 16,0 0-16,13-1 0,-53 28 31,27 12-15,13-13-16,-13 14 0,0-1 0,-1 40 15,14-52 1,0 12-16,0-13 0,14 14 0,-14-14 15,13 0-15,0 0 0,-13 1 16,13-1-16,0-13 0,1 13 0,-1-13 16,13 0-16,-12 0 0,-1 0 0,0 0 15,14-13-15</inkml:trace>
  <inkml:trace contextRef="#ctx0" brushRef="#br0" timeOffset="-26772.26">17846 13269 0,'13'-13'0,"-13"26"16,14 0-16,-14 0 15,0 1-15,0-1 0,0 0 16,0 0-16,0 0 0,0 1 0,0-1 15,0 0-15,0 0 0,0 1 16,0 12 0,0-13-16,26-39 31,-13-1-15,1 14-16,-14 0 15,13 0-15,-13-1 0,13 1 0,13-26 16,-12 39-16,-14-14 15,13 14-15,0-13 0,14 0 16,-14 13 0</inkml:trace>
  <inkml:trace contextRef="#ctx0" brushRef="#br0" timeOffset="-26529.02">18071 13282 0,'0'40'0,"0"-27"16,0 0-16,0-79 0,13 132 0,-13-53 0,0 1 15,14-1-15,-1-13 16,0 13-16,0-13 16,27-13-1,-27-14 1,-13 14 0,-13 0-16,13 0 15,-13 0 1,-1 13 15</inkml:trace>
  <inkml:trace contextRef="#ctx0" brushRef="#br0" timeOffset="-26264.86">18243 13335 0,'0'0'0,"0"13"16,0 0-1,0 1-15,0-1 0,0 0 16,13-13-16,0 13 16,1-13-16,-1 0 15,0 0-15,0 0 0,1 0 16,-1-13-16,-13 0 16,0 0-1,0-1-15,0 1 16,-27 0-1,27 0-15,-13 13 0,13-13 0,-13 13 32,0 0-32</inkml:trace>
  <inkml:trace contextRef="#ctx0" brushRef="#br0" timeOffset="-25833.05">18402 13309 0,'13'0'0,"0"13"0,-13 0 31,13 13-15,-13-12 0,0-1-1,0 0 1,14-26-1,-1 13 1,0 0-16,0 0 0,1-13 16,-1 13-1,0 13 1,0-13 0,-13 13-1,14-13-15,-1 0 31,0 0-15,0 13-16,0-13 16,27 0-1,-40-13-15,13 13 16,1 0-16,-1-13 0,0 13 0,0-13 16,0-1-1</inkml:trace>
  <inkml:trace contextRef="#ctx0" brushRef="#br0" timeOffset="-25526.88">18746 12965 0,'39'26'16,"-25"1"-16,-1-14 15,-13 0-15,13 13 0,-13 1 0,13 26 16,-13-40-16,0 13 0,-13 27 16,13-26-16,-13-1 15,13-12-15,-13 12 0,13 0 0,-27 14 16,27-27-16,0 1 0,-13-1 15,13 0-15,0 0 16,13 1-16</inkml:trace>
  <inkml:trace contextRef="#ctx0" brushRef="#br0" timeOffset="-25245.08">19301 13229 0,'40'-13'15,"-27"13"-15,1 0 16,-1 0-16,0 0 0,0 0 16,0 0-16,1 0 15,-14 13 1</inkml:trace>
  <inkml:trace contextRef="#ctx0" brushRef="#br0" timeOffset="-25064.66">19328 13322 0,'13'13'15,"0"-13"-15,1 0 16,-1 0-16,13 0 0,-13-13 16,1 13-16,-1 0 0,0 0 0,0 0 15,27-13 1,-27 13-16,0 0 0</inkml:trace>
  <inkml:trace contextRef="#ctx0" brushRef="#br0" timeOffset="-24161.62">20373 13084 0,'-27'26'16,"14"-13"-16,13 1 0,0-1 0,-13 13 0,13-13 16,0 27-1,13-27-15,-13 1 0,13-1 16,-13 0-16,14 0 0,-1 1 0,13-14 15,-12 13-15,12-13 16,-13 0-16,-13-13 16,14 13-16,-14-14 0,13 14 15,-13-13-15,0-27 16,0 27-16,0 0 0,0 0 0,0-1 16,-13 1-16,-1-13 15,1 13-15,0 13 0,0 0 16,-14-14-16,14 14 15,0 14-15,-1-14 16</inkml:trace>
  <inkml:trace contextRef="#ctx0" brushRef="#br0" timeOffset="-24002.66">20545 13189 0,'13'0'16,"0"0"-1,1 0-15</inkml:trace>
  <inkml:trace contextRef="#ctx0" brushRef="#br0" timeOffset="-23467.72">20862 13084 0,'14'39'15,"-14"-25"-15,0-1 16,13 0-16,-13 0 0,0 0 0,0 1 16,0 39-1,-13-40 1,13 0-16,-14-13 0,14 13 15,-13-13-15,0 14 16,0-14-16,13-14 16,13 1-1,-13 0 1,13 0-16,0-1 16,14-12-1,-14 13-15,0 13 0,-13-14 0,14 1 0,-1 0 16,-13 0-16,13-14 15,-26 1 1,0 13-16,-1 13 16,-12-14 15,13 28-31,-1-14 0,1 0 16</inkml:trace>
  <inkml:trace contextRef="#ctx0" brushRef="#br0" timeOffset="-22978.84">21352 13123 0,'13'-13'0,"-26"40"15,13-14 1,-13-13-16,13 13 0,-14 0 0,1 0 15,0 14-15,0-14 0,-27 40 16,27-40-16,0 14 16,-1-14-16,1-13 15,0 13-15,13 0 0,-13-13 0,13 14 16,-14-14-16</inkml:trace>
  <inkml:trace contextRef="#ctx0" brushRef="#br0" timeOffset="-22770.78">21180 13189 0,'26'14'32,"1"12"-17,-14-26-15,0 13 0,-13 1 0,13-14 0,1 13 16,-1-13-16,0 0 15,0 13-15,27-13 16,-13 0-16,-27 13 0,13-13 0,0 0 16,0 0-16</inkml:trace>
  <inkml:trace contextRef="#ctx0" brushRef="#br0" timeOffset="-22296.15">21828 13097 0,'-13'0'16,"0"0"-16,13 13 16,-14-13-16,1 27 0,0-14 15,13 0-15,-13 0 0,13 0 0,0 1 16,0-1-16,0 27 16,13-27-16,0 0 15,27 0 1,-27-13-16,0 0 0,27 0 15,-27-13 1,1 0-16,-1 0 0,-13-1 16,13 1-16,-13-13 15,-13-1 1,0 14-16,-14-13 16,14 12-16,0 1 31,-1 13-31,1 0 0,0 0 15</inkml:trace>
  <inkml:trace contextRef="#ctx0" brushRef="#br0" timeOffset="-22128.86">22066 13123 0</inkml:trace>
  <inkml:trace contextRef="#ctx0" brushRef="#br0" timeOffset="-21772.38">22318 13004 0,'-40'27'15,"27"-1"-15,-40 54 16,40-67-16,-1 53 15,28-53 1,-1 27-16,0-27 16,-13 0-16,13-13 0,0 14 15,1-14-15,-1 0 0,0 0 16,0 0-16,1 0 16,-1-14-16,-13 1 15,0 0-15,0 0 16,-13 13-16,13-14 15,-14 1-15,1 13 16,0-13 0</inkml:trace>
  <inkml:trace contextRef="#ctx0" brushRef="#br0" timeOffset="-21453.94">22807 13137 0,'13'-14'16,"1"14"-1,-1 0 1,0 0-16,0-13 16,0 13-1,-13 13-15</inkml:trace>
  <inkml:trace contextRef="#ctx0" brushRef="#br0" timeOffset="-21260.7">22767 13256 0,'0'0'16,"14"13"15,-1-13-15,0 0-16,0 0 0,1 0 0,-1 0 15,0 0-15,0 0 0,0 0 16,27-13 0,-27 13-16,1 0 0,-1 0 15,0 0-15</inkml:trace>
  <inkml:trace contextRef="#ctx0" brushRef="#br0" timeOffset="-19587.55">23667 13084 0,'-26'13'16,"12"13"-1,14-12-15,0-1 16,0 0-16,-13 0 0,13 14 0,0-14 16,0 0-16,0 0 0,13 14 15,-13-14-15,14 0 16,-14 1-16,13-14 0,0 13 16,0-13-16,0 0 0,14-13 15,-14-1-15,-13 1 16,13 0-16,1 0 0,-14-1 15,13 1-15,-13 0 0,0-14 16,0-12 0,0 26-16,-13 13 0,13-14 15,-14 14-15,14-13 0,-13 13 0,0 0 16,0-13-16,-1 13 0,-12 13 16,13-13-1</inkml:trace>
  <inkml:trace contextRef="#ctx0" brushRef="#br0" timeOffset="-19426.44">23932 13137 0,'13'0'15</inkml:trace>
  <inkml:trace contextRef="#ctx0" brushRef="#br0" timeOffset="-18966.34">24209 13110 0,'-79'53'0,"66"-40"0,-14 0 0,14 1 15,0-1-15,0-13 0,-1 13 0,1 0 0,0 1 16,0-1 0,-1 0-16,14 0 15,14-13 1,-14 14-16,13-14 15,13 0-15,-12 0 0,-1 0 0,0 0 16,0 0-16,27 13 16,-27-26-16,0 13 0,14 0 15,-14 0-15,0 0 0,1 0 0,-1-14 0,0 14 16,0-13 0,1 13-16</inkml:trace>
  <inkml:trace contextRef="#ctx0" brushRef="#br0" timeOffset="-18748.49">24236 13176 0,'-27'0'16,"14"13"-16,13 1 15,-26 12 1,26-13-16,-14-13 0,14 14 15,-13-1-15,13 0 0,0 0 0,-13 1 16,13-1-16,0 0 0,13 0 31,14-13-15,-14 0-16</inkml:trace>
  <inkml:trace contextRef="#ctx0" brushRef="#br0" timeOffset="-18227.37">24474 13070 0,'-13'14'0,"13"-1"15,0 0 1,0 0-16,0 1 0,0-1 0,0 0 16,0 0-16,0 0 0,-13 1 15,-1 12 1,14-13-16,-26 1 0,13-1 0,-1 0 15,1-13-15,0 0 16,13 13-16,-13-13 0,-1 0 16,41-13 15,-27 0-31,13 13 0,14-27 16,-14 27-16,-13-13 15,13 0-15,-13 0 0,13-1 0,-13 1 16,14 0-16,-14-13 15,0 12 1,0 1-16,0 0 0,-14 13 16,14-13-16,-13 13 0,0 0 15,0 0-15,-14 13 16,14-13-16,0 13 0,-1 0 16,1 1-16</inkml:trace>
  <inkml:trace contextRef="#ctx0" brushRef="#br0" timeOffset="-17806.36">23654 13652 0,'145'-39'15,"-118"39"-15,12-13 0,14 13 0,-13-14 16,53 1-16,-54 13 0,1-13 16,13 0-16,-13 13 0,-1-14 15,1 14-15,-27-13 0,53 0 16,-52 13-16,-1 0 0,0 0 16,-13-13-1,-26 26 1</inkml:trace>
  <inkml:trace contextRef="#ctx0" brushRef="#br0" timeOffset="-17587.27">23641 13666 0,'52'0'15,"-12"0"1,-13 0-16,-1 0 16,14-14-16,-14 14 0,27 0 0,-13-13 15,92 0 1,-92 0-16,39 0 0,-39-1 16,0 1-16,52-40 15</inkml:trace>
  <inkml:trace contextRef="#ctx0" brushRef="#br0" timeOffset="-16687.35">24487 13097 0,'-13'0'0,"-13"0"15,12 0-15,1 13 16,0-13-16,0 27 15,13-1 1,13-13 0,-13 0-16,13 1 0,-13-1 0,13 0 15,-13 0-15,14 14 16,-1-14-16,-13 0 16,-13 14-1,-1-14 1,1-13-16,-27 0 15,27 0 1,0-13 0,26 0-16,0 13 15,-13-14-15,14 14 16,39-26 0,-40 26-16,0-13 15,0 13-15,0-14 0,14 1 0,-14 13 16,0-13-16,1 0 0,-1-1 0,0 1 15,-13 0-15,13-13 32,-26-1-17,0 14 1,0 13-16,-1 0 0,1 0 16,-13 0-16,12 0 0,1 0 15,0 13-15,0-13 16</inkml:trace>
  <inkml:trace contextRef="#ctx0" brushRef="#br0" timeOffset="-15505.02">24024 13018 0,'0'-14'0,"0"1"16,0 0-16,0-27 15,0 0-15,0 14 16,13-14-16,-13 1 0,0-14 0,14 13 16,-14 0-16,13 14 0,-13-14 15,0-26-15,13 53 16,-13 0-16,0-1 0,0 1 0,0 0 15,0 0-15,0-1 16</inkml:trace>
  <inkml:trace contextRef="#ctx0" brushRef="#br0" timeOffset="-15303.91">24117 12409 0,'-13'13'16,"-1"-13"-16,1 13 0,0 1 0,-27 25 15,27-25 1,-66 52 0,65-53-16,1 0 0,-13 0 0,12 1 15,1-1-15,0-13 0,0 13 16,-1-13-16,14 13 0,-13-13 0</inkml:trace>
  <inkml:trace contextRef="#ctx0" brushRef="#br0" timeOffset="-15151.08">23971 12462 0,'53'40'16,"-40"-40"-1,54 39 1,-41-26-16,-13-13 0,14 0 0,-14 14 16</inkml:trace>
  <inkml:trace contextRef="#ctx0" brushRef="#br0" timeOffset="-14347.1">23654 11443 0,'-27'13'0,"14"1"0,-13 12 15,-41 54-15,41-41 16,-40 41 0,53-54-16,-14 1 0,14-1 0,0-13 15,13 0-15,-14 1 0,14-1 16,-13 0-16,13 0 0,13 1 16,27-14-1,-13-14 1,-1 14-16,1 0 0,12 0 15,-12 0-15,26 0 0,52-13 16,-78 0-16,-1 13 0,1 0 16,-1-13-16,-13 13 0,1 0 15,-1-14-15,0 1 0,-26 0 32</inkml:trace>
  <inkml:trace contextRef="#ctx0" brushRef="#br0" timeOffset="-14064.2">23641 11496 0,'-40'40'15,"27"-27"-15,-1 27 0,-12 26 16,13-26-16,-1-1 0,1 1 16,0 0-16,0-1 0,13 1 0,-13 0 15,-1-1-15,1 1 0,13-13 0,-13-1 16,13 0-16,-13-12 0,13 12 16,0-13-16,-14 14 15,14-14-15</inkml:trace>
  <inkml:trace contextRef="#ctx0" brushRef="#br0" timeOffset="-13466.87">23984 11430 0,'-39'13'0,"39"14"16,0-14-16,13 0 15,-13 0-15,0 14 0,13-1 0,-13 1 16,13-1-16,-13-13 0,0 14 0,0 26 16,0-40-1,0 0-15,-13 1 0,0-1 16,13 0-16,-13-13 15,0-13 1,-1 13-16,14-13 16,0-1-16,14 1 15,-14 0-15,0 0 0,13 13 16,0-14-16,-13 1 0,13 0 0,0-14 16,1 14-16,-14 0 0,26-27 15,-13 27-15,-13 0 16,0-14-16,0 14 15,-13-13 1,0 26-16,13-14 0,-13 14 0,-1 0 16,-12-13-1,0 26-15,-1-13 16,27 14-16</inkml:trace>
  <inkml:trace contextRef="#ctx0" brushRef="#br0" timeOffset="-13203.28">24527 11364 0,'-13'26'0,"-27"14"16,40-27-16,-13 14 0,0-1 15,-1 1-15,1-14 0,0 13 16,-27 54 0,27-67-16,0 13 0,13-12 15,-14-1-15,14 13 0,-13-12 0,0-1 16,13 13 0,-13-26-16</inkml:trace>
  <inkml:trace contextRef="#ctx0" brushRef="#br0" timeOffset="-13059.82">24196 11549 0,'0'-13'0,"0"26"0</inkml:trace>
  <inkml:trace contextRef="#ctx0" brushRef="#br0" timeOffset="-12923.97">24633 11761 0,'13'0'16,"0"0"-1,0-13-15</inkml:trace>
  <inkml:trace contextRef="#ctx0" brushRef="#br0" timeOffset="15253.05">11880 3731 0,'-40'238'16,"14"-132"0,12-40-16,-12 79 15,26-92-15,-13-13 0,0 0 0,-1 52 16,14-79-1,-13 27-15,13-13 0,-13-14 16,13 0-16,-13 0 0,13 0 16</inkml:trace>
  <inkml:trace contextRef="#ctx0" brushRef="#br0" timeOffset="16236.21">11880 3823 0,'106'-13'15,"-27"13"-15,14 0 16,-54 0-16,107-13 31,-27 13-31,-66 0 0,13 0 0,-13 0 16,0 0-16,13 0 0,-13 0 16,92 0-16,133 0 15,-212 0-15,0 0 16,1 0-16,12 13 0,-13-13 15,13 0-15,-26 0 0,80 13 16,-80-13-16,13 0 0,-13 13 16,0-13-16,0 0 0,-14 0 15,14 14-15,0-14 0,-13 0 0,13 0 16,-14 13-16,54-13 0,-40 0 16,39 0-16,-39 0 15,40 13-15,0-13 16,-14 0-16,-26 0 15,0 0-15,-14 0 0,1 0 0,0 0 16,0 0-16,-1 0 0,-12 0 16,12 0-16,1 0 0,26 0 15,0 0-15,-26 0 16,-13 13-16,25-13 0,1 0 16,13 0-16,14 0 0,-40 0 15,12 0-15,-12 14 0,-13-14 16,12 0-16,27 0 0,-39 0 15,13 0-15,-14 0 0,14 0 0,26 0 16,-13 0-16,-14 13 16,14-13-16,-13 0 0,66 0 15,-40 0 1,0 0-16,-39 0 16,12 0-16,28 0 0,-41 0 15,40 0-15,-26 0 0,-14 0 16,54 0-16,12 13 15,-52-13 1,-14 0-16,14 0 0,26 0 0,-39 0 16,-1 0-16,14 0 0,-14 0 15,-13 0-15,40 0 0,-13-13 16,-13 13 0,-14 0-16,0 0 15,13 0-15,-12 0 16,-1-13-1,0 13-15,-13-14 16,13 14 0</inkml:trace>
  <inkml:trace contextRef="#ctx0" brushRef="#br0" timeOffset="18387.71">3969 4419 0,'-40'132'15,"27"-53"-15,0-13 0,-1-26 0,1 13 16,13 0-16,0-13 16,-13 92-16,0-79 15,13-27-15,0-13 0,0 14 16,-14-14-16</inkml:trace>
  <inkml:trace contextRef="#ctx0" brushRef="#br0" timeOffset="19892.67">16880 10795 0,'27'0'47,"-14"0"-47,0 0 0,14 0 16,-1 0-16,-13 0 15,14 0-15,-1 0 0,1 13 16,-14-13-16,40 0 16,-40 0-16,0 0 0,1 0 0,-1 0 15,13 0 1</inkml:trace>
  <inkml:trace contextRef="#ctx0" brushRef="#br0" timeOffset="20144.98">17185 10676 0,'26'0'32,"-13"13"-32,-13 0 15,27 14-15,-27-14 0,13 0 16,-13 1-16,13-1 0,-13 13 15,0 1-15,0-14 0,-13 27 16,0-14-16,0-13 16,-1 1-16,-12 12 0,26-13 15,-13 0-15</inkml:trace>
  <inkml:trace contextRef="#ctx0" brushRef="#br0" timeOffset="20496.04">18150 10702 0,'-13'40'0,"13"-13"16,0-14-16,-13 13 15,13 1-15,0-1 0,-13 1 16,13-14-16,0 13 15,-13-12-15,13-1 16,0 0-16,0 0 16</inkml:trace>
  <inkml:trace contextRef="#ctx0" brushRef="#br0" timeOffset="20813.22">18203 10583 0,'14'-13'16,"-1"0"-16,-40 39 0,80-39 15,-40 13 1,1 13-16,12 14 15,-13-1-15,1 14 16,-14-27-16,0 0 0,0 1 16,0 12-16,-14-13 15,1 1-15,0-1 0,0 0 0,-1 0 16,-12 0-16,13-13 0,0 14 16,-1-14-16,1 0 0,0 0 15,0 13-15,-1-13 16,1 0-16</inkml:trace>
  <inkml:trace contextRef="#ctx0" brushRef="#br0" timeOffset="21108.08">18296 10821 0,'13'0'0,"0"0"15,1 80 16,-14-67-15,0 14-16,0-14 16,0 0-16,-40-159 15,106 279 17,-53-146-32,-13-1 0,14 14 15,-14-13-15,26 0 16,-13 0-16,0 13 15,1-14-15,12 14 0,1 0 16,-14 0-16,0 0 16,0 14-16</inkml:trace>
  <inkml:trace contextRef="#ctx0" brushRef="#br0" timeOffset="21588.4">18666 11033 0,'14'-26'31,"-1"26"-31,-13-14 0,26-12 16,-13 26-16,-13-26 0,14 12 15,-1 1-15,13-13 16,-26 12-16,0 1 0,0 0 0,14 13 15,-14-13 1,-27 13 0,14 13-1,13 0-15,0 0 0,-13 1 16,13-1-16,0 0 16,13 14-16,-13-14 15,13-13-15,0 0 16,1 0-16,-1 13 0,13-13 15,-12 0-15,-1 0 0</inkml:trace>
  <inkml:trace contextRef="#ctx0" brushRef="#br0" timeOffset="22477.94">19143 10835 0,'-40'0'16,"27"0"-16,-1 13 16,1 13-16,0-12 15,0-1-15,0 13 16,13-12-16,0-1 0,0 0 15,0 0-15,0 0 16,13-13-16,0 14 0,0-14 16,0 0-16,14 0 0,-14 0 15,0-14-15,1 14 0,12-13 16,1 0-16,-1-13 16,-13 12-16,0-12 15,1 26-15,-14-13 0,-14 26 63,1-13-63,13 13 0,0 0 31,0 1-31,27-1 31,-1-26-31,-13 13 16,1 0-16,-1 0 15,0 0 1,0 0 0,1 13-1,-1-13 1,0 0 0,0 0-1,0 0-15,1 0 16,-1-13-1,0 13-15,0 0 16,1 0 0,-14 13-1,13-13-15,13-13 32,-13 13-32,-13-14 15,14 1-15,-1 0 16,0-14-16,14-12 15,-14-1-15,0 14 0,-13 12 16,13-12-16,1 13 16,-28 26 15,14 0-31,0 0 0,-13 1 16,0 12-16,0-13 15,13 14-15,-14-1 0,14-13 16,-13 1-16,13 12 15,13-26 1,1 0-16,-1 0 16</inkml:trace>
  <inkml:trace contextRef="#ctx0" brushRef="#br0" timeOffset="22605.05">19725 10914 0,'39'0'62</inkml:trace>
  <inkml:trace contextRef="#ctx0" brushRef="#br0" timeOffset="22930.67">19976 10874 0,'0'40'15,"13"-27"1,0-13 0,1 0-16,-1-13 15,0 13-15,0 0 0,1-13 16</inkml:trace>
  <inkml:trace contextRef="#ctx0" brushRef="#br0" timeOffset="23483.33">17806 11959 0,'27'0'16,"39"0"-16,-39 0 15,12 0-15,41 0 16,-54 0-16,-13 0 15,1 0-15,-1 0 0,0-13 0,0 13 16,0 0-16,-13-13 16</inkml:trace>
  <inkml:trace contextRef="#ctx0" brushRef="#br0" timeOffset="23728.12">18098 11800 0,'79'40'0,"-66"-27"0,0 1 16,1-1-16,-14 0 16,13-13-16,0 26 0,-13-12 15,0-1-15,0 0 0,-13 0 0,0 1 16,-1-1-16,1 0 15,0 0-15,-27 1 0,27-14 16,0 0-16</inkml:trace>
  <inkml:trace contextRef="#ctx0" brushRef="#br0" timeOffset="25764.16">18997 11721 0,'0'27'0,"0"-1"16,0 0-16,-13-12 15,13 12-15,0-13 0,0 14 0,-13-14 16,13 13-16,0-12 0,-14-1 0,14 13 16,0-12-16,-13-1 0,13 0 15,-13 14-15,13-14 16,-13-13-16,13 13 16,-14 0-1,14-39 32,14 13-47,-1-1 16,-13 1-16,13 13 15,27-26-15,-27 12 16,14 1-16,-14 13 16,0-13-16,0 26 0,0-13 15,1 13 1,-14 1-16,13-14 0,-13 13 15,13 0 1,-13 0-16,13 1 16,1-14-1,12 0 1</inkml:trace>
  <inkml:trace contextRef="#ctx0" brushRef="#br0" timeOffset="26035.22">19328 11946 0,'-13'-13'32,"-14"66"-1,27-40-15,13 0-16,1-13 15,-1 13-15,0-26 16,-26-53-16,39 132 0,-12-66 0,-14-13 15,13 0 1,-13-1-16,0 1 0,0 0 16,-13-14-1,-1 27-15,1 0 16,13-13 0</inkml:trace>
  <inkml:trace contextRef="#ctx0" brushRef="#br0" timeOffset="26289">19447 11893 0,'13'13'0,"0"0"15,-13 1-15,14-14 0,-14 13 0,13 0 16,-13 0-16,13 1 15,0 12-15,0-13 16,-13 1-16,-13-1 16,-66-172-16,158 331 0,-92-172 15,13 13-15,-13-13 0,0 0 16,-1 0-16,1 0 16,0 0-16</inkml:trace>
  <inkml:trace contextRef="#ctx0" brushRef="#br0" timeOffset="26509.58">19751 11668 0,'-13'27'31,"13"-14"-31,-13 40 16,-1-40-16,14 13 0,0-12 15,-13-1-15,13 13 0,0-12 16,0-1-16,0 0 0,0 0 16,0 0-16,13 1 0,27-279 15,-80 543 1</inkml:trace>
  <inkml:trace contextRef="#ctx0" brushRef="#br0" timeOffset="26688.54">19579 11919 0,'27'-13'16,"-14"13"-16,0-13 16,0 13-16,1 0 0,-1-13 15,0 13-15,0 0 0,0 0 0,14 0 16,-1 0-16</inkml:trace>
  <inkml:trace contextRef="#ctx0" brushRef="#br0" timeOffset="27348.74">19857 11959 0,'66'-53'16,"-66"40"-16,0 0 15,0 0-15,-13 39 47,13-13-47,0 14 31,0-14-31,13-13 0,0 13 16,14-13 0,-14 0-16,0 0 15,14-13-15,-14 13 0,0-13 16,14-27-16,12-13 16,1 0-16,-27 27 15,14-14-15,-14 14 16,0-1-16,-13 14 0,13 0 15,-39 39 17,26-13-32,-13 1 15,13 12-15,-14-13 0,14 27 16,-13-14-16,13-12 16,0 12-16,13 1 0,-13-1 15,14-13-15,-1-13 16,0 13-16,0-13 0,14 0 15,-14 0-15,14-13 0,39-13 16,-40-1-16,1 1 0</inkml:trace>
  <inkml:trace contextRef="#ctx0" brushRef="#br0" timeOffset="28385.19">20386 10874 0,'40'0'16,"-27"0"-16,27 0 15,-14 14-15,-13-14 0,14 0 16,-1 13-16,1-13 0,-1 13 0,-12 0 15,25 1-15,-26-1 0,14 0 16,-14 0-16,0 14 0,1-1 16,12 27-16,-13-40 15,0 40-15,-13-13 16,14-14-16,-14 1 16,13 12-16,0 14 15,-13-26-15,0 26 0,0-27 16,0 1-16,0-1 15,0 14-15,0-14 0,0 1 0,0-1 16,0 1-16,-13-1 0,13 1 16,-13-1-16,13-13 0,-14 14 0,14-1 15,-13 1-15,0-1 0,13-13 16,-13 14-16,-14 26 0,14-27 16,0-13-16,-14 14 0,14-1 15,0-12-15,0 12 0,-14 0 0,14-12 16,-53 65-16,39-52 15,14-1-15,-13-13 0,-14 40 16,14-26-16,-1-1 16,14-13-16,-14 14 0,14-14 0,-13 27 15,-1-14-15,14-13 0,-13 14 16,12-1-16,-12-13 0,13 1 16,-1 12-16,1-13 0,0 1 0,0-1 15,13 0-15,-13 0 0,-1 14 16,1-27-16,13 13 0,-13-13 15,13 13-15,-13-13 0,-1-13 47,14 0-31</inkml:trace>
  <inkml:trace contextRef="#ctx0" brushRef="#br0" timeOffset="28709.41">20055 12475 0,'-26'27'16,"26"-14"-16,0 0 0,-13 0 0,13 0 15,-14 1-15,1 25 16,13-25-16,-13-1 16,13 13-16,-13 27 15,13-40-15,0 1 0,0-1 16,13-13-16,0 13 16,0-13-16,1 0 0,12 0 15,1 0-15,-14-13 16,-40-265-16,80 556 0,-26-291 0,12 13 0,1-14 15,40-12-15</inkml:trace>
  <inkml:trace contextRef="#ctx0" brushRef="#br0" timeOffset="29697.85">20479 11748 0,'119'26'15,"-93"-13"1,173 53-1,-173-52-15,14-1 0,-14 13 16,1-13-16,-1 1 0,14 12 16,13 1-16,-27-1 0,1-13 15,-1 1-15,14 12 0,-14-13 16,1 14-16,26 12 0,0-12 16,-40-1-16,13-12 0,-12-1 15,25 13-15,-12-13 16,-14 1-16,0-1 0,0 0 0,14 14 15,-14-14-15,0 0 0,1-13 16,-1 13-16,0 0 16,0 1-16,0-1 0,1 0 15,-14 0-15,13-13 16,-13 14-16,13-1 16,-13 0-16,0 14 15,0-14-15,13 0 0,-13 0 16,0 0-16,0 1 0,0-1 15,0 13-15,14-12 16,-14-1-16,0 0 16,13-13-16,-13 13 15,13-26 32,0 13-47,-13-13 0,14 0 31</inkml:trace>
  <inkml:trace contextRef="#ctx0" brushRef="#br0" timeOffset="30136.97">21656 12303 0,'27'13'16,"-14"1"-16,0-14 15,-13 13-15,13 0 0,1-13 0,-14 13 16,13 0-16,0 1 0,0-14 16,0 13-16,14 0 0,-1 14 15,-12-27-15,-1 13 0,-13 0 0,13 0 16,-13 1-16,13-14 16,-13 13-16,0 0 0,0 0 0,0 0 15,-13 1-15,-13 12 16,12-13-16,1 1 15,0-14-15,-14 13 0,14 0 0,-13 0 16,-1 1-16,14-1 0,-13-13 0,-1 13 16,1 0-16,12 0 0,1-13 15,0 14-15,0-14 0,-14 0 0,27 13 16,-13-13-16</inkml:trace>
  <inkml:trace contextRef="#ctx0" brushRef="#br0" timeOffset="32776.78">24884 13216 0,'-26'40'31,"12"-14"-31,-39 14 16,40-27-16,-13 13 15,13-12-15,-14-1 0,14 0 16,0 0-16,-1 14 0,1-27 16,0 13-16</inkml:trace>
  <inkml:trace contextRef="#ctx0" brushRef="#br0" timeOffset="32948.77">24937 13269 0,'-13'53'16,"0"-40"0,-1 0-16,-39 67 15,27-54-15,13 1 16,-14-1-16,14 0 0,-13 1 0,12-1 0,-12 1 15</inkml:trace>
</inkml:ink>
</file>

<file path=ppt/ink/ink17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4:17:39.048"/>
    </inkml:context>
    <inkml:brush xml:id="br0">
      <inkml:brushProperty name="width" value="0.05292" units="cm"/>
      <inkml:brushProperty name="height" value="0.05292" units="cm"/>
      <inkml:brushProperty name="color" value="#0070C0"/>
    </inkml:brush>
  </inkml:definitions>
  <inkml:trace contextRef="#ctx0" brushRef="#br0">4299 2580 0,'53'13'16,"-39"-13"-16,12 0 15,14 0-15,52 0 0,27 0 16,27 13-16,-67-13 15,107 0-15,-94 0 16,80-13-16,13 13 16,-92 0-16,158 0 15,-171-13-15,-14 13 16,79 0-16,-118 0 0,-1 0 16,14 13-16,-14-13 15,-12 0-15,-1 13 16</inkml:trace>
  <inkml:trace contextRef="#ctx0" brushRef="#br0" timeOffset="1050.92">8070 2447 0,'13'0'16,"0"14"0,212-14-1,-106 13 1,-53-13 0,225 26-16,-211-26 15,92 14-15,0-14 16,-93 13-16,292-13 15,-186 0 1,-106 13-16,146-13 16,-172 0-16,185 13 31,-198-13-15,13 13-1,-40-13 1,13 0-1,-12 0-15</inkml:trace>
  <inkml:trace contextRef="#ctx0" brushRef="#br0" timeOffset="7041.43">16986 1072 0,'13'13'16,"1"0"-16,-14 0 16,0 0-16,0 1 0,0-1 0,0 13 15,0 1-15,0-14 0,0 14 16,0 12-16,0-26 0,0 14 15,0-14-15,-14 14 0,14-14 0,0 0 16,0 0-16,0 1 0,-13-14 16,13 26-16</inkml:trace>
  <inkml:trace contextRef="#ctx0" brushRef="#br0" timeOffset="7357.65">17330 1164 0,'-53'13'15,"40"-13"-15,-27 14 16,27-1-16,-13 0 0,12 0 0,-12 1 16,13-1-16,0 0 15,-1-13-15,14 13 0,-13-13 0,13 13 16,0 1-1,0-1-15,13-13 0,-13 13 0,14-13 16,-1 13-16,13-13 0,-13 14 16,1-14-16,-1 0 0,0 0 15,14 0-15,-14 0 0,13 13 16,-12-13-16,-1 0 0,13 0 16,-13 0-1,14 0-15,-1 0 0,-12-13 16</inkml:trace>
  <inkml:trace contextRef="#ctx0" brushRef="#br0" timeOffset="8452.46">17158 529 0,'0'-13'15,"13"39"-15,-13-12 16,0-1-16,14 0 0,-14 0 0,0 14 15,0-1 1,0 1-16,0-14 0,0 0 0,0 0 16,0 14-16,0-1 0,0-12 15,0-1-15,0 0 0,0 13 16,0-12 0</inkml:trace>
  <inkml:trace contextRef="#ctx0" brushRef="#br0" timeOffset="8873.82">17079 767 0,'0'0'16,"13"14"0,0-1-1,-13 0-15,14-13 0,-14 13 0,13 0 16,13 14-1,-13-14-15,-13 0 16,14-13-16,-14 14 0,13-14 16,0 13-1,0-13-15,1-13 16,-1 13-16,0-14 16,14 1-16,-14 13 15,0-13-15,0 13 0,-13-13 16,13 13-16</inkml:trace>
  <inkml:trace contextRef="#ctx0" brushRef="#br0" timeOffset="9841.58">18732 661 0,'14'14'15,"-14"-1"1,0 27-16,13-27 16,-13 40-16,0-14 15,0-25-15,0 12 0,0 1 16,0-14-16,0 13 16,0-13-16,0 1 15</inkml:trace>
  <inkml:trace contextRef="#ctx0" brushRef="#br0" timeOffset="10164.75">18666 952 0,'14'27'31,"-1"13"-31,0-14 16,0-26-1,-13 13-15,13-13 16,1 14-16,-1-14 0,0-14 16,0 14-1,-13-13-15,14 0 0,-1 0 16,0-1-16,0 1 15,-13 0-15,0 0 16</inkml:trace>
  <inkml:trace contextRef="#ctx0" brushRef="#br0" timeOffset="10502.2">18759 1429 0,'0'26'31,"0"-13"-15,0 1-16,-13 12 0,13 1 16,0-1-1,-14-13-15,14 1 16,14-1-16</inkml:trace>
  <inkml:trace contextRef="#ctx0" brushRef="#br0" timeOffset="10782.19">19024 1429 0,'-120'39'16,"94"-25"-16,13-14 16,0 13-16,-1-13 0,-12 26 15,13-12 1,13-1-16,13 0 16,0-13-1,0 0-15,1 0 16,-1 0-16,13 0 0,-13 13 15,27-13-15,-27 0 16,1 14-16,-1-14 16</inkml:trace>
  <inkml:trace contextRef="#ctx0" brushRef="#br0" timeOffset="11207.1">18627 1865 0,'26'0'15,"1"0"-15,39-13 16,-27 0-16,41 0 16,-54 13-16,1 0 15,12 0-15,1 0 0,0-14 16,-27 14-16,13 0 16</inkml:trace>
  <inkml:trace contextRef="#ctx0" brushRef="#br0" timeOffset="11405.08">18494 1945 0,'67'13'0,"-41"-26"0,0 13 15,54 0 1,-27 0-16,0-14 0,0 14 0,-14 0 0,14-13 15,13 13-15,-39-13 16,-1 13-16,-13 0 0</inkml:trace>
  <inkml:trace contextRef="#ctx0" brushRef="#br0" timeOffset="11706.08">17370 1826 0,'66'0'16,"-53"0"-16,14 0 16,-1 0-16,1 0 0,39 0 15,-27 0-15,-12-14 0,39 14 16,0 0-16,-39 0 16,-1 0-16</inkml:trace>
  <inkml:trace contextRef="#ctx0" brushRef="#br0" timeOffset="11894.16">17343 2037 0,'53'0'16,"-26"0"-16,-1 0 0,1 0 15,-1 0-15,40-13 16,-26 13-16</inkml:trace>
  <inkml:trace contextRef="#ctx0" brushRef="#br0" timeOffset="15610.44">2858 5808 0,'13'0'15,"13"13"1,-13-13-16,14 0 15,-1 0-15,14 0 0,13 0 16,26-13 0,-65 13-16,12 0 0,0 0 15,1 0-15,-14 0 16,27 0-16,-27 0 16,0 0-16,-13 13 15</inkml:trace>
  <inkml:trace contextRef="#ctx0" brushRef="#br0" timeOffset="15922.46">3082 6006 0,'27'13'16,"39"-13"-1,-53 13-15,14-26 0,-14 13 16,53 0 0,-39 0-16,-14 0 0,40-13 15,-40 13-15,0 0 0,0 0 16,1 0-1,-1 0-15</inkml:trace>
  <inkml:trace contextRef="#ctx0" brushRef="#br0" timeOffset="54284.56">9644 1971 0,'40'238'16,"-40"-198"-16,13 66 0,0-80 15,-13 1-15,0-1 0,13 1 0,-13-1 16,14-13-16,-14 14 16</inkml:trace>
  <inkml:trace contextRef="#ctx0" brushRef="#br0" timeOffset="54832.72">9565 1839 0,'106'-66'16,"-54"52"-16,1-12 0,13 13 0,1-14 16,-1 14-16,13-13 0,1 12 0,-1 1 15,0 0-15,1 0 0,-1 0 16,-13-1-16,0 14 0,-13-13 16,27 13-16,-27 0 0,-40 13 15,13-13-15,-13 0 0,1 14 16,-1-1-16,-13 0 0,13 0 15,0 14-15,1-14 0,-1 27 0,-13-14 16,26 40-16,-12-39 0,-1 12 16,13 1-16,-13-14 0,14 14 15,-14-13-15,14-1 0,-1 1 16,14 25-16,-14-25 0,-13-1 16,1 1-16,12-1 0,-13-13 15,-13 14-15,0-14 0,0 0 16,0 1-16,0-1 0,-13 13 15,-53 27-15,39-40 0,-12 1 16,-1-1-16,0 0 16,-52 14-16,52-27 0,-13 13 0,14-13 15,12 0-15,1 0 0,-1 0 16,1 0-16,12 0 0,-12 0 16,13-13-16</inkml:trace>
  <inkml:trace contextRef="#ctx0" brushRef="#br0" timeOffset="55149.47">11232 2064 0,'39'0'31,"-12"0"-31,-14 0 0,13-13 0,14 13 16,26 0-16,14-14 15,-14 1 1,-27 13-16,-12-13 15,-1 13-15,-12 0 0,-14-13 16</inkml:trace>
  <inkml:trace contextRef="#ctx0" brushRef="#br0" timeOffset="55384.58">11509 1826 0,'27'0'16,"-1"13"-16,1-13 0,-14 13 16,13 0-16,-12 1 0,12-1 0,1 13 15,-14-13-15,0 14 0,14-1 16,-27-12-16,13-1 0,-13 0 16,0 0-16,0 1 0,0-1 15,0 0-15,-13 13 0,13-12 16,0-1-16</inkml:trace>
  <inkml:trace contextRef="#ctx0" brushRef="#br0" timeOffset="55781.15">12131 1826 0,'0'-14'15,"-13"14"1,-14 0-16,14 14 16,0-1-16,-13 0 0,12 0 15,1 1-15,0-1 16,13 0-16,0 0 15,0 0-15,13-13 0,-13 14 16,13-14-16,1 13 0,-1-13 16,0 13-16,27 0 0,-14 1 15,1-1-15,-27 0 16,13-13-16,-13 13 0,0 1 16,0-1-16,-13 0 0,-1 0 15,14 0-15,-26 14 0,13-27 16,-1 13-16,1 0 15,0-13-15,13 14 0,-13-14 0,0 0 16,13-14-16</inkml:trace>
  <inkml:trace contextRef="#ctx0" brushRef="#br0" timeOffset="56129.78">12330 1826 0,'52'39'16,"-52"-25"-16,-13 38 16,0-38-16,0 12 15,13-13-15,-13 1 0,13-1 0,-14 0 16,14 0-16,-13 1 15,13-1-15,0 0 16,13 0 0,1-13-1,-1 0 1,0 0-16,0-13 0,0 13 16,1 0-16,-1-13 0,0 13 0,0 0 15,1-13-15,-1 13 0,0-14 0,0 14 16,-13-13-16,27 0 15</inkml:trace>
  <inkml:trace contextRef="#ctx0" brushRef="#br0" timeOffset="57329.24">13004 1627 0,'0'-13'0,"-13"13"15,0 13 1,-27 80 0,27-40-1,13-27-15,0 1 0,-13-14 0,26 27 16,0 12-1,-13-38-15,13-14 0,1 13 16,-1-13-16,0 0 0,0 0 0,14 0 16,-1-13-16,-13 13 0,14-14 15,-14 1-15,14 0 0,-14-13 0,0 12 16,13-12-16,1 13 16,-27-1-16,13 1 15,-26 0 1,-14 26-1,27 0 1,-13 1-16,13-1 16,-13-13-16,13 13 0,0 0 15,0 1-15,13-1 16,14-13 15,-27-13-15,13 13-16,-13-14 0,13 14 15,0-13-15,1 13 16,-1 0-16,13 13 16,-12 1-16,-1-14 0,0 13 15,0 0 1,0 0-16,1-13 0,-1 13 16,0-26 30,-13 0-30,0 0-16,0 0 0,13 13 0,-13-14 16,14 1-1,-14 0-15,13 0 0,0-1 16</inkml:trace>
  <inkml:trace contextRef="#ctx0" brushRef="#br0" timeOffset="57907.9">13666 1601 0,'0'-13'0,"0"39"16,0 0-16,0 1 15,0 13-15,0-27 0,13 26 16,-13-12-16,13 13 15,-13-14 1,13-13 0,-26 1-1,0-14-15,0 0 16,13 13 0,-14-13-16,1 13 15,0-13-15,13 13 0,-13 0 16,0-13-16,13 14 0,0-1 15,0 0 1,0 0-16,13-13 16,0 0-1,13-13-15,-12 0 16,-1 13-16,13-27 0,-12 14 16,-1 0-16,0 0 0,0 0 15,-13-1-15,14 14 0,-1-13 16,-13 0-16,13 0 15,0 13-15,0 0 16,1 13-16,-1-13 16,-13 13-16,13-13 0,14 27 15,-1-14-15,-13 0 16,1 0-16,-14 0 0,13 1 16,-13-1-16,0 0 15,-13 0-15,13 1 0,-14-14 0,1 13 16,0-13-16,0 13 0,-1-13 15,1 0-15,0 0 16,13-13-16</inkml:trace>
  <inkml:trace contextRef="#ctx0" brushRef="#br0" timeOffset="58054.11">14063 1931 0,'13'0'15,"-13"-13"1,0 0 0</inkml:trace>
  <inkml:trace contextRef="#ctx0" brushRef="#br0" timeOffset="85626.24">4961 5609 0,'-79'53'15,"52"-40"-15,1 1 0,12-1 0,1-13 16,0 13-16,0 0 0,-1 0 16,1-13-16,13 14 0,-13-14 15,13 13-15,0 0 16,13 0-16,40 14 15,-26-27 1,-1 0-16,1 13 0,92-13 16,-80 0-16,27 0 15,-26 0 1,13 0-16,-26 0 0,-14 0 0,13 0 16,14-13-16,-27 13 31</inkml:trace>
  <inkml:trace contextRef="#ctx0" brushRef="#br0" timeOffset="85882.6">5040 5583 0,'-39'39'0,"39"-25"0,-14 39 16,1 39-1,13-26-15,-13 27 16,0-67-16,13 1 16,0-14-16,-14 40 15,14-27 1,0-12-16,0-1 15</inkml:trace>
  <inkml:trace contextRef="#ctx0" brushRef="#br0" timeOffset="86183.33">4591 6218 0,'39'-27'0,"-12"14"0,78 0 16,54-14-1,26 14-15,-132 0 16,106 0-1,-132 13-15,-1 0 0,14 0 16,-14 0-16,-13 0 0,1 0 16,-1 0-1</inkml:trace>
  <inkml:trace contextRef="#ctx0" brushRef="#br0" timeOffset="86770.41">5080 6376 0,'-40'0'0,"27"0"0,-40 14 15,13-1-15,27 0 16,-26 0-16,25-13 16,1 14-1,40-1 1,-1 0-1,0-13-15,27 13 16,-39-13-16,-1 14 0,0-14 0,0 13 16,1-13-16,-1 13 15,-13 13-15,-27 1 16,1-14-16,13 0 16,-1-13-16,-25 27 15,25-27-15,1 13 0,-13-13 16,13 13-16,-1-13 0,1 0 15,0 0-15</inkml:trace>
  <inkml:trace contextRef="#ctx0" brushRef="#br0" timeOffset="87142.27">5292 6429 0,'79'0'16,"-52"14"-16,-14-1 16,-13 0-16,-13 27 15,-1-27 1,1 27-16,-13-14 15,26-13-15,-14 14 16,28-14 0,-1-13-1,0 0-15,0 0 0,27 0 16,-27 0-16,0 0 16,14-13-16,-14 13 0,27 0 15,-27-13 1,0 13-1</inkml:trace>
  <inkml:trace contextRef="#ctx0" brushRef="#br0" timeOffset="91286.65">3453 7805 0,'26'0'0,"-13"0"16,1 0-16,25 0 15,-12 0-15,-14 0 16,0 0-16,14-13 0,-14 13 0,0 0 15,14 0-15,-14 0 0,0 0 0,0 0 16,1 0-16</inkml:trace>
  <inkml:trace contextRef="#ctx0" brushRef="#br0" timeOffset="91480.59">3479 7990 0,'0'0'0,"13"14"15,14-14-15,-14 0 16,0 0-16,1-14 0,-1 14 0,13 0 16,1 0-16,-1 0 15,27 0-15,-53-13 16,13 13-16,1 0 16,12 13-1</inkml:trace>
  <inkml:trace contextRef="#ctx0" brushRef="#br0" timeOffset="93703.98">2222 7104 0,'0'-13'16,"14"39"15,-1 1-15,-13-14-16,0 0 0,13 40 15,-13-40-15,0 14 16,0-14-16,13 13 0,-13-12 0,0 12 15,0-13-15,0 1 16,0 25 0,0-25-16,0-1 0,0 0 15</inkml:trace>
  <inkml:trace contextRef="#ctx0" brushRef="#br0" timeOffset="94496.94">2196 7329 0,'13'13'31,"-13"0"-31,13-13 0,-13 14 0,0-1 16,14 27-1,-14-27-15,13 13 16,-13-13-16,0 1 15,13-14 1,-13 13-16,13-26 31,14-1-15,-27 1-16,13 0 0,0 0 16,1 0-1,-14-1-15,13 14 16,-13-13-16,13 13 15,-13-13 1,13 13-16,-13-13 16,0-1 31,13 14 15,-26 14 141,0-14-187</inkml:trace>
  <inkml:trace contextRef="#ctx0" brushRef="#br0" timeOffset="96011.98">2236 6747 0,'0'-13'16,"13"26"515,-13 0-515,13 14-1,0-14-15,-13 0 16,0 0-16,14 0 0,-14 1 16,0-1-16,0 13 15,0-12 1,0-1-1</inkml:trace>
  <inkml:trace contextRef="#ctx0" brushRef="#br0" timeOffset="96344.26">2355 6734 0,'-13'13'16,"-1"0"-16,1 0 16,13 1-16,0-1 31,0 0-31,13-13 15,-13 13-15,14-13 0,-1 13 16,0-13 0,0 0-1,0 0-15,1 0 16,-1 0 0,0-13-16</inkml:trace>
  <inkml:trace contextRef="#ctx0" brushRef="#br0" timeOffset="97284.94">2540 6773 0,'0'-13'0,"0"0"15,-13 0 1,0-1-1,-14-12-15,27 13 16,-13 13-16,0-13 0,-1-1 16,1 14-16,0-13 0,0 13 0,13-13 15,-40 0 1,27 13-16,0-14 0,-27 14 16,27 0-16,-1 14 15,1-14-15,-27 26 16,27-13-16,0 1 0,0-1 15,0 0-15,-14 13 0,27-12 16,-13-1-16,13 13 0,0-12 0,0-1 16,0 13-16,13-13 0,-13 14 15,13-1-15,1-12 0,-1 12 0,0-13 16,0 1-16,14-1 0,-14 13 0,0-26 16,14 13-16,-14 1 0,13-1 15,-12-13-15,12 0 0,-13 0 16,0 0-16,14 0 0,-14 0 0,0 0 0,1 0 15,-1-13-15,0 13 16,0-14-16,1 14 0,-14-13 16,26 0-16,-26 0 0,13 0 0,-13-1 0,13 1 15,-13 0-15,14 0 16,-14-1-16,0 1 0,0 0 0,0 0 16,13-14-16,-26 14 15,13-27 1,0 27-16,-14 0 0,14 0 15,0-1-15,-13 1 16,0 0-16,0 13 0,13-13 16,-13 13-16,-1 0 0,1-13 0,0 13 15,0 0-15,-1 0 16,1-14-16,-27 14 16,27 0-16,0 0 0,-13 0 15,12 0 1,1 0-1,40 27 1</inkml:trace>
  <inkml:trace contextRef="#ctx0" brushRef="#br0" timeOffset="97651.34">2593 6707 0,'26'-13'16,"1"0"0,-14 0-1,0 13-15,-13-14 0,27 14 16,-14-13-16,0 13 0,0 0 16,1-13-16,-1 13 15,0 0 1,-13-13-1</inkml:trace>
  <inkml:trace contextRef="#ctx0" brushRef="#br0" timeOffset="97953.16">2646 6522 0,'13'0'31,"14"0"-31,-14 0 0,40 13 16,-40-13-16,13 13 15,27 1 1,-39-14-16,-1 13 0,0-13 0,0 13 15,0 0-15,-13 1 16,0-1-16,0 0 0,-26 66 16,13-52-16,0 13 0,-14-14 15,1 14-15,-1-1 0,1 1 16,-1-13-16,-12 12 0</inkml:trace>
  <inkml:trace contextRef="#ctx0" brushRef="#br0" timeOffset="101683.63">1640 7369 0,'0'-27'0,"14"54"47,-14-1-47,13-26 15,-13 13-15,13 27 16,-13-27-16,13 0 0,-13 1 0,0-1 15,14 0-15,-14 14 16,13-14-16,0 0 16</inkml:trace>
  <inkml:trace contextRef="#ctx0" brushRef="#br0" timeOffset="102133.42">1667 7514 0,'-13'-13'0,"39"26"15,-13 0-15,1 1 0,-1-1 16,0 13-1,0-26-15,0 14 16,1-14 0,-14 13-16,13-26 15,0-1 1,0 1 0,-13 0-1,0 0 1,0-1-1</inkml:trace>
  <inkml:trace contextRef="#ctx0" brushRef="#br0" timeOffset="102919.68">1164 7250 0,'-13'13'16,"26"-40"-16,0 14 16,1 0-1,-1 13-15,0 0 16,0 0 0,1 0-16,-14 13 15,13 0-15,-13 14 16,0-14-16,-13 0 15,13 0-15,0 1 0,0 12 16,0-13 0,0 1-1,13-14 1,0 0 0,0-14-1,14 1 1,-14 13-16,-13-13 0,13 13 0,0-13 15,1-1 1,-14 1 0</inkml:trace>
  <inkml:trace contextRef="#ctx0" brushRef="#br0" timeOffset="103179.67">1323 7051 0,'40'27'15,"-27"-14"1,-13 0-16,0 0 0,13 14 15,-13-14 1,0 0-16,0 0 0,0 1 0,13-1 16,-13 0-16,0 0 0</inkml:trace>
  <inkml:trace contextRef="#ctx0" brushRef="#br0" timeOffset="103536.44">1588 6998 0,'-40'13'0,"27"1"15,-1 12 1,1-26-16,0 27 15,13-14-15,0 0 16,0 14 0,13-27-16,-13 13 15,27 0 1,-14-13-16,13 0 16,-12 0-16,-1 0 0,0 0 15,0 0-15,0-13 16,14 13-1,-14 0-15,-13 13 16</inkml:trace>
  <inkml:trace contextRef="#ctx0" brushRef="#br0" timeOffset="109734.07">1323 6152 0,'40'0'16,"-14"13"-16,67 0 16,-54-13-16,14 0 0,-13 13 15,13-13-15,-13 0 0,12 13 0,-12-13 16,53 0-16,-54 0 0,-12 0 15,13 0-15,-14 0 0,1-13 16,-1 13-16,0 0 0,1-13 0,-14 13 16,14-13-16,-1 0 0,-13-1 0,0 1 15,14 0-15,-14 0 0,0-14 16,1 1-16,-1 12 0,0-12 0,0 13 16,1-14-16,-1 1 0,-13 13 0,13-14 15,-13 1-15,13 13 16,-13-14-16,13 1 0,-13-1 0,0-26 15,0 27-15,-13-1 16,-13-52 0,13 52-16,-1 1 0,1 0 0,-53-41 15,53 41-15,-14 13 16,1-14-16,-14 14 0,14-13 16,-1 12-16,1 1 0,-1 0 0,1 0 15,-14-1-15,14 14 0,-1-13 16,1 0-16,-1 13 0,1-13 0,-1 13 15,-26-13-15,1-1 16,25 14-16,1 0 0,-1-13 16,1 13-16,-14 0 0,27 0 0,-67 0 15,54 0 1,0 0-16,-1 0 0,1 13 0,-67 1 16,67-14-1,-54 13-15,54 0 16,-14 0-16,14 0 0,-14-13 0,13 14 15,1-1-15,-1 0 0,1 0 0,0 1 16,12-14-16,-25 26 16,12-13-16,14 1 0,0-1 15,-14 0-15,14 0 0,13 0 0,-26 14 16,26-14-16,-14 0 16,14 14-16,0-14 0,0 0 0,-13 14 15,13-14-15,0 0 0,0 14 16,0-14-16,0 0 0,0 14 0,13-14 15,-13 0-15,0 13 0,14-12 16,-14-1-16,13 0 0,0 0 0,-13 1 0,13 12 16,1-13-16,-1 1 0,13-1 15,-13 0-15,1 13 0,-1-26 16,0 14-16,0-1 0,1 0 0,-1 0 16,0-13-16,0 14 0,0-14 15,1 13-15,-1 0 16,0-13-16,0 13 0,1-13 0,-1 0 0,0 13 15,0-13-15,1 0 0,-1 0 16,0 14-16,0-14 0,14 0 16,-14 0-16,13 0 15,-12 0-15,-1 13 0,0-13 0,14 0 16,-14 0-16,0 0 16,0 0-16,0 0 0,1 0 0,-1 0 15,13 0 1,-12 0-16,12 0 15,1 13 1,-1-13 0,-13 0-16,0 0 31,1 0-15,-1-13 93,-26 0-93</inkml:trace>
  <inkml:trace contextRef="#ctx0" brushRef="#br0" timeOffset="111792.95">5054 7527 0,'13'-26'0,"13"39"15,-13-13-15,27 13 16,-27 1-16,1-14 0,-14 13 15,13 0-15,-13 0 0,0 1 16,0-1-16,0 0 0,-27 27 16,14-27-16,0 0 15,-14 0-15,14-13 0,0 14 0,0-1 16,0-13-16,13 13 16,-14-13-16,41 0 31,-14 0-16,0 0-15,14 13 0,-14-13 16,0 14-16,0-14 0,1 13 0,-1-13 0,-13 13 16,13-13-16,-13 13 15,0 0-15,0 1 0,-26 12 16,-1-13-16,14 1 0,-14-1 0,-12 0 16,12 0-1,1 1-15,-1-14 0,14 0 0,-27 13 16,27-13-16,0 13 0,0-13 15,-14 0-15,14 13 16,0 0 0</inkml:trace>
  <inkml:trace contextRef="#ctx0" brushRef="#br0" timeOffset="112090.37">4564 8123 0,'-13'0'0,"53"0"15,92 0-15,-66 0 0,119 0 16,-39 0-16,-93 0 15,13 0-15,-13 0 0,0 0 16,-14 0-16,-12 0 0,-1 0 16,1 0-16,-1-14 0,-13 14 0,1 0 15,-1 0-15,0 0 0,0 0 16,0 0 0</inkml:trace>
  <inkml:trace contextRef="#ctx0" brushRef="#br0" timeOffset="112733.5">5054 8467 0,'13'-14'16,"-66"41"-1,40-27-15,-1 13 0,-12 0 0,13-13 16,-1 14-16,1-14 0,0 13 16,0-13-1,26 13 1,13 0 0,-12 0-16,12-13 15,-13 14-15,14-14 0,-14 0 0,0 13 16,1 0-1,-1-13-15,-13 13 0,0 1 0,0 12 16,-13-13-16,-1 1 16,1-1-16,0 0 15,-14 0-15,14 0 0,0 1 0,-14-1 16,14 0-16,0 0 0,-13 1 16,12-14-16,1 0 15</inkml:trace>
  <inkml:trace contextRef="#ctx0" brushRef="#br0" timeOffset="112946.29">5265 8440 0,'13'80'0,"-13"-67"0,0 0 15,0 13-15,0 41 16,0-54-16,0 13 0,-13-12 16,13 52-1,0-53-15,-13 0 16</inkml:trace>
  <inkml:trace contextRef="#ctx0" brushRef="#br0" timeOffset="122507.8">9538 9446 0,'-13'13'0,"0"0"16,-14 0-16,14 1 0,-66 38 31,65-38-31,-12-1 0,13 0 0,0 0 16,-1-13-16,-12 14 0,13-1 15,-1 0-15,1 0 0,0 1 16,13-1-1,0 0 1,13 0-16,0-13 0,1 0 0,12 13 16,14-13-16,-14 0 15,1 0-15,-1 0 0,1 0 16,-14 14-16,13-14 0,1 0 0,-14 0 0,0 0 16,14 0-16,-14 0 0,0 0 15,0 0-15,1 0 16</inkml:trace>
  <inkml:trace contextRef="#ctx0" brushRef="#br0" timeOffset="122801.04">9485 9472 0,'-13'0'15,"0"13"-15,13 14 0,-13 12 16,13-12-16,-14-1 16,14 14-16,-13-13 0,13 12 0,-13-12 15,13-1-15,-13 1 0,13-1 0,0 0 16,-14 1-16,14-14 0,0 0 15,-13 14-15,13-14 0,0 0 0,-13-13 16,13 14-16,0-1 0,-13 0 16</inkml:trace>
  <inkml:trace contextRef="#ctx0" brushRef="#br0" timeOffset="123201.57">9049 10107 0,'13'-13'0,"40"13"16,-27 0-16,41 0 15,-28-13-15,1 13 0,0 0 16,-1 0-16,1 0 0,13 0 15,-13 0-15,-14 0 0,0 0 16,41-14-16,-54 14 0,13 0 16,-12 0-16,-1 0 0,0 0 0,0 14 15,0-14-15,1 0 16</inkml:trace>
  <inkml:trace contextRef="#ctx0" brushRef="#br0" timeOffset="124166.63">9194 10372 0,'27'0'16,"-14"0"-1,-13-14-15,13 14 16,0 0-16,1 0 15,-41 14 17,-26-1-17,40 0-15,-40 14 16,40-14 0,0-13-16,-1 0 0,14 13 0,-13-13 0,13 13 15,13-13 1,1 14-16,-1-14 15,0 0-15,0 0 0,14 13 0,-14-13 0,14 13 16,-14-13 0,0 13-16,0-13 0,-13 13 0,13-13 15,-13 14-15,0-1 0,-13 0 16,0 0-16,13 1 0,-26-1 16,12 0-16,1 0 0,-13 0 0,12-13 15,-12 14-15,13-1 0,-1-13 16,1 13-16,0-13 0,0 0 0,0 13 15,-1-13-15,1 0 0,0-13 16</inkml:trace>
  <inkml:trace contextRef="#ctx0" brushRef="#br0" timeOffset="124554.1">9472 10491 0,'27'13'0,"-27"0"31,0 0-31,-14 14 15,1-14-15,0 14 16,-14-14 0,27 0-16,-13 0 0,0-13 31,39 13 0,-12-26-31,-1 13 0,0 0 0,0 0 0,1 0 16,-1 0-16,0 0 0,0 0 15,0 0-15,1-13 0,12 13 16,-13 0-16,1 0 0,-1-13 0,0 13 16,-13-13-16,27 13 15</inkml:trace>
  <inkml:trace contextRef="#ctx0" brushRef="#br0" timeOffset="124987.58">10319 9856 0,'-13'13'15,"-1"0"1,-12 40 0,13-26-16,-1-1 0,-12 0 0,13 1 15,-1-1-15,1-12 0,-13 12 16,13-13-16,-1 1 0,1-1 0,0 0 16,0 0-16,13 0 0,-14-13 0,1 14 15,0-14-15</inkml:trace>
  <inkml:trace contextRef="#ctx0" brushRef="#br0" timeOffset="125247.6">10028 9962 0,'13'0'0,"13"13"31,14 13-31,-27-26 0,1 13 16,-1 1-16,0-1 0,0 0 0,27 27 15,0 13 1,-27-53-16,0 13 16,0 0-16,-13 0 0,14-13 0,-14 14 15,13-14-15,0 0 0,0 0 16,0 0-16</inkml:trace>
  <inkml:trace contextRef="#ctx0" brushRef="#br0" timeOffset="125965.66">11126 9551 0,'26'-13'16,"1"13"-16,-80 13 0,119-26 0,-53 13 15,0 13-15,1-13 16,-14 14-16,13-14 0,-13 13 0,0 0 16,0 0-16,0 1 0,-13-1 15,-1 0-15,1 0 0,0 1 0,0-1 16,-1 0-16,1 0 0,0 0 15,0-13-15,39 14 32,-13-14-32,14 0 15,-14 0-15,0 0 0,14 13 16,-14-13-16,13 0 0,-26 13 16,14-13-16,-14 13 0,0 1 15,-14-14-15,-12 26 16,13-26-16,-14 13 0,14 0 15,0-13-15,-14 14 0,14-14 0,0 13 16,0 0-16,-1-13 16,-12 13-16,0 1 0,26-1 15,-14-13-15,14 13 0,-13-13 16,13 13-16,0 1 0,-13-14 0</inkml:trace>
  <inkml:trace contextRef="#ctx0" brushRef="#br0" timeOffset="126210.59">10702 10094 0,'-13'0'0,"40"-13"16,-1-1 0,53 14-16,-39-13 15,0 13-15,13-13 0,-14 13 0,67-13 16,-66 13-16,13-14 15,-13 14-15,-1 0 0,-12-13 0,12 13 16,-12 0-16,13 0 16,-14 0-16,-13 0 0,0 0 0,14-13 15,-14 26-15,-13 0 16</inkml:trace>
  <inkml:trace contextRef="#ctx0" brushRef="#br0" timeOffset="126773.29">11020 10385 0,'13'-13'16,"14"-1"-16,-67 28 47,-13-1-32,40-13-15,-14 13 16,14 0-16,0-13 0,-14 14 16,14-14-16,0 13 15,26-13 1,40 13-1,-13 0-15,-14-13 16,-13 14-16,1-14 0,12 0 16,1 13-16,-27 0 0,13 0 15,-13 0-15,0 1 16,0-1-16,-13 0 0,-1 0 0,-12 14 16,13-1-16,-1-13 0,-12 1 15,13-1-15,0-13 0,-1 13 16,1 0-16,0-13 0</inkml:trace>
  <inkml:trace contextRef="#ctx0" brushRef="#br0" timeOffset="126983.65">11258 10345 0,'40'27'15,"-40"-14"-15,13 0 0,-13 0 16,0 1-16,0 12 0,0-13 0,0 14 16,0-1-16,0 1 15,0-1-15,0-13 0,0 14 0,13 12 16,0-25-16,-13-1 0,14-13 16,-1 0-16,0 0 0,0-13 15,14-1-15</inkml:trace>
  <inkml:trace contextRef="#ctx0" brushRef="#br0" timeOffset="128137.62">12158 9935 0,'26'0'0,"-13"0"15,1-13-15,-1 13 0,53-13 16,-53 13 0,0 0-16,1 0 0,-1 0 0,0 0 15,0 0-15,0 0 16,1 13-1</inkml:trace>
  <inkml:trace contextRef="#ctx0" brushRef="#br0" timeOffset="128357.61">12105 10067 0,'26'0'0,"1"0"15,-14-13-15,0 13 0,14 0 16,-14 0-16,0 0 16,27-13-16,-27 13 0,0 0 0,0 0 15,14 0-15,-14-13 0,0 13 16,0 0-16,1 0 16,-1 0-16,0 0 0,-13-14 0,13 14 15,1 0-15</inkml:trace>
  <inkml:trace contextRef="#ctx0" brushRef="#br0" timeOffset="129121.75">13573 9697 0,'0'53'31,"0"-40"-31,13 0 0,-13 1 16,0-1-16,0 26 0,0-25 15,0-1-15,0 0 0,0 0 16,0 1-16,14 12 16,-14-13-16,0 1 15,13-14 1</inkml:trace>
  <inkml:trace contextRef="#ctx0" brushRef="#br0" timeOffset="129535.68">13891 9591 0,'53'-13'0,"-27"13"0,0 0 15,-12 13-15,-1-13 0,0 13 16,0 1-16,-13-1 16,0 0-16,0 0 0,0 14 15,-13-14-15,0 13 0,-40 27 16,40-39-16,0-1 0,-1 0 15,1 0-15,0 0 0,0 1 16,26-1 15,0-26-31,0 13 0,1 0 0,12 0 16,-13 0-16,14-14 0,-1 14 16,1-13-16,-1 13 0,1 0 0,39-13 15,-53 13-15,0 0 16,0 0-16,1 13 0,-1-13 15,-26 13-15,-1 1 16</inkml:trace>
  <inkml:trace contextRef="#ctx0" brushRef="#br0" timeOffset="129810.91">13414 10147 0,'199'-40'15,"-133"40"-15,13-13 0,-13 0 0,106-1 16,-92 1-16,171-13 16,-171 26-1,-1 0-15,-13 0 0,0-14 0,80 14 16,-120 0-1,1 0-15,-1 0 0,-13 0 0,1 0 16,-1 14-16,0-14 16,-53 0-1</inkml:trace>
  <inkml:trace contextRef="#ctx0" brushRef="#br0" timeOffset="139556.68">13586 10398 0,'-13'-13'15,"53"13"32,-27 13-47,13 0 16,-12-13-16,-1 14 0,0-1 16,14 13-1,-27-12-15,0-1 0,0 0 0,-14 0 16,14 0-16,-13 1 0,-13 12 0,12-13 15,-12 14-15,0-14 0,-1 0 16,-13 14-16,27-14 0,0-13 16,0 13-16,0-13 0,-1 0 0,14 13 15,-13-13-15,13 14 16,13-14 0,1 0-16,-1 0 15,0 0-15,0 0 0,27 0 16,-27 0-16,14 0 0,-14-14 0,13 14 15,-13 0-15,14-13 0,-14 13 16,0-13-16,1 13 0,12-13 16,-13-1-16</inkml:trace>
  <inkml:trace contextRef="#ctx0" brushRef="#br0" timeOffset="139888.57">14023 10372 0,'-79'53'16,"79"-27"-16,-14-13 0,1 14 15,13-14-15,0 13 0,-13 1 16,26 13-16,-13-27 0,13 0 15,14 13 1,-1-26 0,-13 0-1,-26-13 1,0-13-16,-13 13 16,-1-1-1,14 1 1,0 13-16</inkml:trace>
  <inkml:trace contextRef="#ctx0" brushRef="#br0" timeOffset="140446.84">14208 10411 0,'40'-13'0,"-14"13"16,-39 27 15,0-27-15,0 0-16,-14 13 15,14-13-15,-14 13 0,14-13 16,0 13-16,0-13 0,0 14 31,26-1-15,0-13-16,0 13 0,0-13 15,1 13-15,-1-13 16,13 13-16,-12-13 0,12 14 16,-13-1-16,-13 0 15,0 0 1,0 1-16,-13-14 0,0 13 0,0 0 15,-27 13-15,13-12 16,14-14 0,0 13-16,0-13 0</inkml:trace>
  <inkml:trace contextRef="#ctx0" brushRef="#br0" timeOffset="140928.76">14658 10358 0,'66'14'15,"-39"12"-15,-27 1 31,-40 26-31,13-40 0,14 0 16,-40 27-16,27-27 16,13 0-16,-1 0 15,1 1-15,0-1 16,13 0 15,13-13-31,0 0 0,14 0 16,12 0-16,-25 0 15,25-13-15,-25 13 16,12-13-16,-13 13 0,14-14 0,-1 1 16,1 0-16</inkml:trace>
  <inkml:trace contextRef="#ctx0" brushRef="#br0" timeOffset="141480.85">15571 9909 0,'26'0'16,"-13"0"-16,54 13 15,-54-13 1,26 0-16,-25 0 16,12 13-1</inkml:trace>
  <inkml:trace contextRef="#ctx0" brushRef="#br0" timeOffset="141755.73">15544 10107 0,'133'-13'16,"-41"13"0,-52-13-16,0 13 15,-14 0-15,-13 0 16</inkml:trace>
  <inkml:trace contextRef="#ctx0" brushRef="#br0" timeOffset="149544.5">12806 12197 0,'66'-13'16,"-53"13"-16,27 0 16,53 13-16,-1-13 15,-52 14-15,-1-14 16,41 13-16,-1-13 16,1 0-16,-27-13 15,-14 13-15,1-14 0,198-39 31,-185 40-31,-27 0 16,1 0-16,13-1 16,12-25-16,-25 26 15,-14-14 1,0 14-16,1 0 0,-1-27 16,0 0-16,-13 14 15,0-1 1,0 14-16,0 0 0,0 0 15,0-1-15,-26-38 0,-1 25 16,1-26 0,12 40-16,-12-14 15,13 14-15,0 0 0,-40-27 16,39 27-16,-12 0 16,13 0-16,-27-1 15,-26 1-15,26 0 16,-26-14-1,13 27-15,-79-26 32,79 26-32,-26-13 15,52 13 1,-39 0-16,13 0 16,40 0-16,-27 0 15,27 0-15,0 0 0,-53 13 16,26-13-1,27 13-15,-14-13 16,14 0-16,-14 13 16,1 1-1,13-1-15,0-13 0,-1 13 16,-12-13 0,-1 13-1,14 1-15,-27-1 16,14 0-16,0 0 15,-1 1 1,14-1 0,0-13-16,-1 26 15,1 1-15,0-27 16,13 26-16,-13-13 16,13 14-16,-14-1 15,14 14 1,-13-27-16,13 27 15,0-27 1,-13-13-16,0 40 16,13-27-16,0 13 15,0-12 1,-13-1-16,26 27 16,-13-27-1,13 27-15,-13-27 16,26 13-1,1 14 1,-14-27 0,67 27-1,-67-27-15,40 14 16,-14-27 0,14 13-16,13 0 15,1 0 1,-28 0-16,-12-13 15,12 0 1,-12-13-16</inkml:trace>
  <inkml:trace contextRef="#ctx0" brushRef="#br0" timeOffset="150481.74">15134 11867 0,'80'0'16,"25"0"-1,-52 0-15,106-14 16,-106 14-16,106 0 16,-93-13-16,-13 13 15,-27 0 1,-13 0 0,1 0-1</inkml:trace>
  <inkml:trace contextRef="#ctx0" brushRef="#br0" timeOffset="150738.01">15809 11708 0,'66'0'16,"-53"13"-16,27 0 15,-14 14-15,1-1 16,-14-13-16,0 14 16,1-14-16,-14 0 0,0 1 0,0-1 15,-14 26 1,14-25-16,-26 12 16,13-13-16,13 1 15</inkml:trace>
  <inkml:trace contextRef="#ctx0" brushRef="#br0" timeOffset="165918.71">17224 11404 0,'-66'-14'16,"53"28"-16,0-14 0,-14 13 0,1 13 15,13-13-15,-1 1 16,1-1-16,0 13 0,0-12 0,-1 12 16,14 1-16,-13-1 15,13 0-15,0-12 0,13-1 0,-13 13 16,14 1-16,-1-14 0,0 0 16,0-13-16,14 14 0,-14-14 15,14 0-15,12 0 0,14 0 16,-40-14-16,14 14 15,-14-13-15,14-13 0,-14 12 16,-13 1-16,13 0 0,0 0 16,-13-1-16,0 1 0,0-13 15,0-1-15,-13 14 0,13 0 16,-26-27 0,-1 27-16,14 0 15,13-1-15,-13 1 0,-1 13 0,-12-13 16,-1 13-1,14-13-15,0 13 16,0 13-16</inkml:trace>
  <inkml:trace contextRef="#ctx0" brushRef="#br0" timeOffset="166174.62">17542 11655 0</inkml:trace>
  <inkml:trace contextRef="#ctx0" brushRef="#br0" timeOffset="167128.51">18005 11417 0,'-27'26'32,"14"1"-32,0-1 15,13-13-15,0 14 16,0-14-16,0 0 0,0 14 15,0-1-15,13-13 16,0 14-16,1-14 0,12 0 16,-13-13-16,1 0 15,-1 0-15,0 0 0,14 0 16,-14 0-16,0-13 16,0 13-16,0-13 0,1 0 0,12-27 31,-26 14-31,0-1 15,0 14-15,0 0 0,0-27 16,-13 13-16,0 14 16,13 0-16,-27 0 0,14-14 15,0 27-15,0 0 16,-1-13-16,1 13 0,-13 0 16,12 13-1,1-13-15,13 14 16</inkml:trace>
  <inkml:trace contextRef="#ctx0" brushRef="#br0" timeOffset="167527.43">18441 11417 0,'-52'39'16,"52"-12"-16,0-14 15,-14 14-15,28 12 16,-1-12 0,0-14-16,-13 0 0,13-13 15,27 13-15,-27-13 16,14 0-16,-1 0 15,1-26 1,-1-14 0,-26 27-16,0 0 0,0 0 15,0-14-15,-13 14 0,0-14 16,-1 14-16,1 13 16,0-13-16,0 13 15,-27 0-15,27 0 0,-1 0 16,1 0-16,13 13 15,-13 0-15</inkml:trace>
  <inkml:trace contextRef="#ctx0" brushRef="#br0" timeOffset="168088.62">19076 11377 0,'-39'13'16,"26"1"-1,-1-1-15,-12 0 0,-1 13 16,14-12-16,-13-1 0,-1 13 16,14-12-16,-13 12 15,12-13-15,1 1 16,13-1-16,-13-13 0,13 13 16,13 0-16,0 0 15,1-13-15,-1 0 0,26 14 16,14-14-1,53 0-15,-79 0 16,-1 0-16,14-14 0,-14 14 16,-12 0-16,-1 0 0,0 0 15,0 0-15,0-13 16,-13 0 0</inkml:trace>
  <inkml:trace contextRef="#ctx0" brushRef="#br0" timeOffset="168365.81">19103 11404 0,'-27'39'15,"14"-26"-15,13 27 16,-13-27-16,13 14 0,-13-1 15,13 1-15,0-14 0,-13 13 16,13-12-16,0 12 16,0-13-16,0 1 0,-14-1 0,14 0 15,0 0 1,0 1-16,27-28 31</inkml:trace>
  <inkml:trace contextRef="#ctx0" brushRef="#br0" timeOffset="168755.99">19460 11390 0,'-79'0'0,"66"0"16,-27 0-16,27 14 0,-1-14 16,-12 13-16,26 0 0,0 0 15,0 0 1,13 1-16,0-1 0,-13 0 0,14 0 0,-1 1 15,0-1-15,14 13 16,-14-12-16,0-1 16,-13 0-16,13-13 15,-13 13-15,-13 0 16,0-13-16,-27 14 16,27-14-16,-14 13 0,1-13 15,-53 26-15,26-26 0,-27 27 16</inkml:trace>
  <inkml:trace contextRef="#ctx0" brushRef="#br0" timeOffset="169090.28">17529 12012 0,'542'-13'15,"-463"13"-15,80 0 16,-93 0-16,14 0 15,92 0-15,-106 0 16,26 0-16,-39 0 16,-26 0-16,-14 0 0,0 0 15,0 0-15,1 0 0,-54 13 32</inkml:trace>
  <inkml:trace contextRef="#ctx0" brushRef="#br0" timeOffset="169396.61">17621 12105 0,'66'13'16,"40"-13"-16,-40 0 15,93 0-15,-79 0 0,12 0 16,-13 0-16,186 13 15,-186-13-15,133 0 16,-159 0-16,0 0 16,13 0-16,-39 13 0,-1-13 15,0 0-15,1 0 16,-14 0-16,0 0 0,1 0 16,-1 0-1,-26-13 16,-1 0-31</inkml:trace>
  <inkml:trace contextRef="#ctx0" brushRef="#br0" timeOffset="170498.92">20069 11456 0,'-14'0'0,"67"0"31,-39 0-15,65-13-16,-26 13 16,-27 0-16,1 0 0,-1 0 15,14 0-15,13-13 16,-40 13-16,0 0 16,-13-13 15</inkml:trace>
  <inkml:trace contextRef="#ctx0" brushRef="#br0" timeOffset="170926.3">20188 11562 0,'13'14'16,"0"-14"-16,14 0 15,-1 0-15,-13 0 0,27 0 16,-27 0-16,0-14 15,1 14-15,-1 0 16,40-13-16,-27 0 16,-12 13-16</inkml:trace>
  <inkml:trace contextRef="#ctx0" brushRef="#br0" timeOffset="174101.48">18706 10464 0,'-26'40'31,"12"-27"-31,1 14 0,0-1 0,-14 1 16,-12 12-16,12 14 16,14-40-16,0 14 0,-14-1 15,14-12-15,0-1 16,0 0-16,-1-13 16</inkml:trace>
  <inkml:trace contextRef="#ctx0" brushRef="#br0" timeOffset="174291.26">18441 10544 0,'53'26'16,"-26"-13"-16,-1 14 15,1-14-15,-14 0 16,27 27-16,-27-27 15,-13 0-15,13 1 0,0-1 16</inkml:trace>
  <inkml:trace contextRef="#ctx0" brushRef="#br0" timeOffset="174614.49">18494 9856 0,'27'53'15,"-27"-27"-15,0 93 32,0-92-32,0 12 0,0-25 15,0-1-15</inkml:trace>
  <inkml:trace contextRef="#ctx0" brushRef="#br0" timeOffset="174970.4">18640 9962 0,'0'-14'16,"-40"54"-1,40-27-15,-13 0 0,13 1 16,0-1-16,0 13 0,0-12 16,26 12-16,-26-13 15,27 1-15,-1-14 0,-12 0 16,-1 0-16,0 0 0,0 0 16,0 0-16,14-14 0,-27 1 15,13-13-15,-13 12 0,0 1 16,0-13-1,-13-1-15,-14 1 16,14 13-16,0-1 16,0 14-16,-14-13 0,1 13 15,13 0-15,-1 13 0,1-13 16,0 0-16</inkml:trace>
  <inkml:trace contextRef="#ctx0" brushRef="#br0" timeOffset="175281.55">18812 9882 0,'-13'40'16,"13"-27"-16,0 0 15,13 1-15,-13-1 16,26 13-16,-12-26 0,-1 13 15,0-13-15,27 0 0,-27 0 16,0 0-16,0 0 0,1-13 16,-1-13-16,-13 13 15,0-1-15,0 1 0,0 0 0,-13 0 16,-1-14-16,1 14 0,-13 0 16,-1-1-16,1 1 15,13 13-15,-14 0 0,14 0 16,0 13-16,-1-13 0,1 14 15,0-1-15,13 0 16</inkml:trace>
  <inkml:trace contextRef="#ctx0" brushRef="#br0" timeOffset="175876.76">19341 9631 0,'53'-40'16,"53"0"-16,-27 1 15,-26 26-15,0-1 16,40-25-16,-54 25 0,1 14 16,13-13-16,-27 0 0,54-14 15,-54 14-15,-13 13 16,1 0-16,-1 0 16,-13-13-16,13 13 0,-13-13 15,0 0 1</inkml:trace>
  <inkml:trace contextRef="#ctx0" brushRef="#br0" timeOffset="176196.7">19897 9168 0,'13'13'31,"0"-13"-31,0 0 0,14 13 16,-14-13-16,13 14 0,-12-1 15,12-13-15,1 13 0,-1 0 0,1 0 16,12 1-16,1-1 16,-27 0-16,0 0 0,1 1 0,-1-14 15,-13 13-15,0 0 16,0 13-16,0-12 0,-13 12 0,-1-13 15,1 14-15,-27 13 16,27-14-16,-26 14 16,25-27-16,-12 13 0,13-12 15,-1-1 1</inkml:trace>
  <inkml:trace contextRef="#ctx0" brushRef="#br0" timeOffset="177100.43">21259 8956 0,'-13'0'16,"0"13"0,0 14-16,-1-14 0,14 0 0,-13 14 15,0 39 1,13-53-16,0 14 0,13 39 15,0-53 1,1 0-16,-14 0 0,13-13 0,0 14 16,0-14-16,27 0 15,-14 0-15,1-14 0,-14 14 16,14-13-16,-14 0 16,0 0-16,0 0 0,0-1 0,-13-12 15,0 13-15,14-1 0,-14-12 16,-14 13-16,14-1 0,0-12 0,-13-14 15,0 27-15,-13-13 16,12 12-16,-12-12 16,13 26-16,-1-13 15,1 13-15,0 13 16,0-13 0</inkml:trace>
  <inkml:trace contextRef="#ctx0" brushRef="#br0" timeOffset="177262.28">21669 9102 0,'0'13'16</inkml:trace>
  <inkml:trace contextRef="#ctx0" brushRef="#br0" timeOffset="179025.51">21987 8890 0,'-13'13'32,"-1"0"-32,-12 27 31,0-13-31,12-1 0,-25 1 16,25-14-16,14 13 0,-13-13 15,0-13-15,13 14 0,-13-1 16,13 0-16,-14-13 15,28 13-15,-14 1 0,39-14 16,-25 0 0,-1 0-16,0 0 0,14 0 0,12-14 15,-12 14-15,-14 0 16,13 0-16,14-13 16,0 0-16,-27 13 0,0 0 0,0 0 15,1-13-15,-1 13 16,-13-14-16,0 1 31</inkml:trace>
  <inkml:trace contextRef="#ctx0" brushRef="#br0" timeOffset="179277.39">22053 8890 0,'-13'40'0,"13"-27"0,0 27 15,-13-27-15,13 0 0,0 14 16,0-1-16,0 14 16,-14-27-16,14 0 0,0 0 15,0 1-15,0-1 0,0 0 0,0 0 16,14 1-1</inkml:trace>
  <inkml:trace contextRef="#ctx0" brushRef="#br0" timeOffset="179712.48">22371 8837 0,'13'-13'16,"-40"26"-16,14-13 15,-13 13-15,-1 14 16,14-14-16,0 0 15,-1-13-15,14 13 0,-13 1 16,26-1 0,1-13-16,-1 13 15,0-13-15,0 0 16,1 13-16,-1-13 0,0 0 0,14 14 16,-1-1-16,-13 0 15,0 0-15,-13 14 16,-13-14-1,-13 0-15,13 0 16,-14 14-16,14-27 16,-14 13-16,14-13 15,0 0-15,13-13 16</inkml:trace>
  <inkml:trace contextRef="#ctx0" brushRef="#br0" timeOffset="179958.23">22741 8718 0,'-13'13'16,"13"14"-1,-14-1-15,1-13 0,0 27 16,-13 13-16,12-40 15,14 14-15,-13-14 0,0 0 16,0 27-16,-1-14 16,1-12-16,13-1 0,-13 0 15</inkml:trace>
  <inkml:trace contextRef="#ctx0" brushRef="#br0" timeOffset="180093.83">22490 8877 0,'0'-13'16</inkml:trace>
  <inkml:trace contextRef="#ctx0" brushRef="#br0" timeOffset="180210.27">22781 8983 0,'0'-14'0,"0"28"0</inkml:trace>
  <inkml:trace contextRef="#ctx0" brushRef="#br0" timeOffset="180745.44">21643 9446 0,'53'26'15,"-27"-26"-15,1 0 16,-1 0-16,14 13 0,26-13 16,-26 0-16,-1 0 0,14-13 15,40 13-15,-40 0 16,-13 0-16,12-13 0,-12 13 0,26-13 15,-39 13-15,12 0 16,1-14-16,-27 14 0,1 0 16,-1 0-16,0-13 15,-26 26 17,0 1-32,-1-14 15,1 13-15,0 0 16</inkml:trace>
  <inkml:trace contextRef="#ctx0" brushRef="#br0" timeOffset="181008.69">22278 9604 0,'0'27'31,"-13"52"-15,13-52-16,-14 92 16,14-40-1,0-52-15,0 25 16,14 28-16,-14-40 16,0-14-16,0 0 15,0-12 1,0-1-16</inkml:trace>
  <inkml:trace contextRef="#ctx0" brushRef="#br0" timeOffset="181306.12">22199 10081 0,'-14'0'15,"1"0"1,13 13-16,27-26 0,-54 39 0,27-13 15,0 1-15,0 12 16,0-13-16,13 0 0,14 27 16,-14-13-16,0-27 15,14 13-15,-14-13 16,0 0-16,0 0 0,1 0 16,12-13-16,1 13 0,39-53 15,-13 0 1,-40 26-16,13 14 15,1-27-15,-14 40 0,0-13 0,-13 0 16,13 0-16,-39 13 16</inkml:trace>
  <inkml:trace contextRef="#ctx0" brushRef="#br0" timeOffset="181865.24">22132 10623 0,'-26'40'0,"13"-27"16,-14 53-16,27-53 16,0 27-16,0-27 15,0 27 1,13-27-16,14 14 0,-1-27 16,-12 0-1,12 0-15,-26-14 16,13 1-16,1-13 15,-14 12-15,0 1 16,0-13-16,-14-1 0,14 14 16,-13 0-16,13-14 0,-13 14 15,0-13-15,13 12 0,-14 14 16,1-13 0,0 13-1</inkml:trace>
  <inkml:trace contextRef="#ctx0" brushRef="#br0" timeOffset="182038.71">22344 10742 0</inkml:trace>
  <inkml:trace contextRef="#ctx0" brushRef="#br0" timeOffset="183723.24">22622 10649 0,'26'-13'31,"-12"13"-16,-1 0 1,0-13-16,-53 26 47,27-13-47,-13 13 16,-1-13-16,14 0 15,0 14-15,-1-14 0,14 13 0,-13-13 16,0 13-16,26 0 31,0 1-31,14-1 16,-14-13-16,0 13 0,1 0 15,-1-13-15,13 14 16,-12-1-16,-1 0 16,-13 0-1,-13 0-15,13 1 16,-14-14-16,1 13 0,0 0 15,0-13-15,-1 13 0,-25 1 16,12-14-16,14 13 0,0-13 16,-14 0-16,14 13 0,0-13 15,0-13-15,26 0 32,0-1-32</inkml:trace>
  <inkml:trace contextRef="#ctx0" brushRef="#br0" timeOffset="183970.31">22992 10649 0,'0'-13'0,"-13"40"31,0-14-31,0 0 16,13 14-16,-14-14 15,1 0-15,13 0 0,-13 14 0,13-14 16,-13 0-16,-1 14 0,1-14 16,13 0-16,-13 0 0,0 1 0,13-1 15,-13-13-15,13 26 0,-14-26 16</inkml:trace>
  <inkml:trace contextRef="#ctx0" brushRef="#br0" timeOffset="184130.59">22781 10742 0,'0'-13'16,"0"0"-1,26 26 1</inkml:trace>
  <inkml:trace contextRef="#ctx0" brushRef="#br0" timeOffset="184270.5">23085 10848 0,'13'0'15,"-13"-13"1,13 13-1</inkml:trace>
  <inkml:trace contextRef="#ctx0" brushRef="#br0" timeOffset="185364.88">22251 11271 0,'106'27'0,"-79"-27"16,12 0-16,160 26 16,-107-26-1,-39 0-15,53 0 0,0-13 16,-53 0-16,-13-1 16,39 1-16,-39 0 15,-1 0-15,28-14 0,-41 14 16,0 0-16,1-14 0,-1 14 15,14-13-15,-13-1 0,-14 1 16,13 13-16,-13-14 0,1 14 0,12 0 0,1-27 16,-27 14-16,13 12 15,-13-12-15,13 13 0,-13-1 16,0-25-16,-13-1 16,0 0-16,-1 27 0,1 0 15,-13-27-15,-14 14 16,27-1-16,-27 1 15,0-1-15,1 14 16,-27-13-16,13 12 16,26 1-16,1 13 15,-27-13-15,26 0 0,-39 0 16,40 13-16,-27-14 16,26 14-16,-39-13 15,40 0-15,-1 13 0,-39-13 16,26 13-16,1 0 15,-27 0-15,-1 0 16,41 0-16,0 0 0,-54 0 16,54 13-16,-1-13 15,1 0-15,-14 13 0,27-13 16,-40 27-16,40-14 16,-27 0-16,27-13 0,-14 13 15,1 0-15,-1 14 16,-12-14-16,26 0 15,-1 1-15,-12-1 0,13-13 16,-1 13-16,-12 0 0,-14 14 16,27-1-1,0-26-15,0 27 16,-1-1-16,1-13 16,13 14-16,-13-14 0,13 0 15,0 0-15,0 27 16,13-13-16,-13-1 0,0-13 15,13 14-15,14 12 16,-14-12-16,0-14 0,27 40 16,-14-27-16,1 1 15,-14-14-15,14 14 0,-1-14 0,14 13 16,-14-12-16,40 25 16,-39-39-16,12 13 15,-12 1-15,-14-1 16,0-13-16,1 0 15,-1 13-15,0-13 0,0 13 16,1-13-16,-1 0 31,-13-13 16</inkml:trace>
  <inkml:trace contextRef="#ctx0" brushRef="#br0" timeOffset="189661.41">14936 6218 0,'0'26'16,"0"-13"-16,0 14 0,0-14 15,13 0-15,-13 14 0,0-1 16,0 14-16,13-27 16,-13 27-16,0-14 15,0 14-15,0-27 0,0 0 16,0 1-16,0-1 0,0 0 15,0 0-15,-13-13 0,13 14 16</inkml:trace>
  <inkml:trace contextRef="#ctx0" brushRef="#br0" timeOffset="190004.61">14790 6575 0,'-13'26'0,"13"-12"0,0 12 16,0-13-16,13 14 16,-13-14-16,13 0 0,1 0 15,-14 1-15,26-1 0,-26 0 16,13-13-16,1 13 0,-1-13 15,0 0-15,13 0 16,-26-13-16,14 13 0,-1-13 0,13 0 16,-26-1-1,14 14-15,-1-13 0,0 0 16,0 0 0,1 0-16,-1 13 0,0-14 15,0 14 1,0-13-16</inkml:trace>
  <inkml:trace contextRef="#ctx0" brushRef="#br0" timeOffset="190357.36">14843 6985 0,'0'26'16,"0"-12"-16,0 25 16,0-12-16,-13 13 0,13-14 15,-13 14-15,13-14 0,0-13 16,-14 14-16,14-14 0,14 0 16</inkml:trace>
  <inkml:trace contextRef="#ctx0" brushRef="#br0" timeOffset="190602.46">15015 7104 0,'-13'-13'15,"-40"39"17,40-12-32,-1-14 0,1 13 0,0 0 15,0 0-15,-14 0 0,27 1 16,-13-14-16,13 13 15,0 0-15,13-13 16,1 0-16,-1 0 16,26 0-1,-12 0-15,-1-13 0,-12 13 0,25-13 16,-12-1-16,26 1 16,-14-13-16,14-1 15</inkml:trace>
  <inkml:trace contextRef="#ctx0" brushRef="#br0" timeOffset="190867.57">15849 6257 0,'0'27'31,"0"-14"-31,0 0 0,0 14 16,0-1-16,0 1 0,0-1 0,0 27 16,0-26-16,0-1 0,0 0 15,0 27-15,0-39 16,0 25-16,0-25 0,0-1 16,0 0-16,0 13 15,-14-12-15,14-1 0</inkml:trace>
  <inkml:trace contextRef="#ctx0" brushRef="#br0" timeOffset="191140.25">15690 6694 0,'-27'40'15,"27"-27"-15,14 0 16,-1 0-16,13 1 15,-13-14-15,1 13 0,-1-13 16,0 0-16,27 0 0,-27-13 16,0 13-16,1-14 0,-1 14 15,0-13-15,-13 0 0,13 0 0,14-27 16,-27 27-16,13 0 16,-13-1-16,0 1 15,13 13-15,-39 27 31</inkml:trace>
  <inkml:trace contextRef="#ctx0" brushRef="#br0" timeOffset="191442.54">15663 7197 0,'0'39'31,"0"-25"-31,0 25 0,-13-26 0,13 14 16,-13-1-16,13-12 16,0-1-16,0 0 0,13-13 15</inkml:trace>
  <inkml:trace contextRef="#ctx0" brushRef="#br0" timeOffset="191698.47">15994 7170 0,'-106'27'0,"93"-27"0,-40 26 16,40-13-16,0-13 0,-14 14 16,14-1-16,13 0 0,-13-13 15,13 13-15,0 0 16,0 1-16,13-14 0,-13 13 15,13-13-15,0 13 0,14-13 16,-14 0-16,0 13 0,1-13 16,12 0-16,-13 0 0,0 0 15,1 0-15,-1 0 0,0-13 16</inkml:trace>
  <inkml:trace contextRef="#ctx0" brushRef="#br0" timeOffset="198549.41">16880 6297 0,'133'-26'15,"-80"26"-15,224-14 16,-237 1-16,0 13 0,-14 0 16,27 0-16,-26 0 15,-14 0-15,0 0 0,0 0 16,1 0-16,-1-13 0,0 13 15,-13-13 17</inkml:trace>
  <inkml:trace contextRef="#ctx0" brushRef="#br0" timeOffset="198837.44">17396 6032 0,'27'14'0,"-14"-1"16,13-13-16,27 26 0,-26 1 16,-1-14-16,1 0 0,-1 14 15,-13-14-15,14 13 0,-14-12 0,0-1 16,1 0-16,-14 14 0,13-1 15,-26 27-15,-1-40 0,1 14 16,-13-1-16,12 1 0,-38 26 16,25-40-16,14 13 0,0-13 15,-1-13-15,1 14 0,-13-14 16</inkml:trace>
  <inkml:trace contextRef="#ctx0" brushRef="#br0" timeOffset="201481.55">19381 5781 0,'13'-26'32,"-13"12"-32,119 14 31,-93 14-31,14 39 15,-40-27-15,-13-13 16,0 14-16,-1-14 0,-12 27 16,0-27-16,12 13 0,1-12 15,0-1-15,0-13 0,-1 13 16,1 0-16,0 0 16,0 1-16,26-14 31,0 0-31,14 0 15,-14 0-15,27-14 0,-1 14 16,-26 0-16,27-13 16,-27 0-16,14 13 15,-14 0-15,0-13 0,1 13 0,-1-13 16,0 13-16,13-14 16,1 1-16,-14 0 15</inkml:trace>
  <inkml:trace contextRef="#ctx0" brushRef="#br0" timeOffset="201935.16">19844 5702 0,'13'-13'0,"13"-1"0,-12 14 16,-1 0-16,0 0 0,0 0 16,-13 14-16,27-1 15,-14-13-15,-13 13 0,0 0 16,0 0-16,0 1 0,-13-1 15,13 0-15,-13 0 0,-14 14 16,14-1-16,0 1 16,-1-27-1,14 13-15,0 0 16,14-13 0,-1 0-1,0 0-15,0 0 0,14 0 16,-14-13-16,13 0 15,-12 13-15,-1 0 16,0-13-16,0 13 0,1-27 16,-1 27-16,-13-13 0</inkml:trace>
  <inkml:trace contextRef="#ctx0" brushRef="#br0" timeOffset="202233.57">20188 5556 0,'0'-13'16,"-14"66"-1,14-40-15,0 27 16,14-14-16,-14-12 15,0 12-15,0-13 0,0 0 0,0 1 16,0-1-16,0 0 16,0 0-16,0 1 15,0-1-15,13-13 16,0 0-16,0 0 16,1 0-16,-14-13 15</inkml:trace>
  <inkml:trace contextRef="#ctx0" brushRef="#br0" timeOffset="202630.19">20598 5675 0,'-13'0'0,"52"-13"31,-25 13-31,-1-13 16,13 13-16,-13 0 0,14-13 0,-1 13 15,1 0-15,-1-14 0,1 14 16,39-13-16,-40 13 16,-12-13-16,-1 13 0,0 0 0,0 0 15,0 0-15,1 0 0,-1-13 16,0 13 0,0 0-16,-13-14 15</inkml:trace>
  <inkml:trace contextRef="#ctx0" brushRef="#br0" timeOffset="202979.34">20902 5411 0,'40'26'16,"-27"-26"-1,13 13-15,-12 1 0,25-1 16,1 0-16,-13 0 16,-14 1-16,0-1 15,13 0-15,-12 13 16,-14-12-16,0-1 15,0 0-15,0 14 16,0-14-16,0 0 0,-14 0 0,14 14 16,-13-1-16,0 1 15,13-14-15,-13 0 16,0 0-16,13 1 16</inkml:trace>
  <inkml:trace contextRef="#ctx0" brushRef="#br0" timeOffset="203729.65">21934 5252 0,'13'26'16,"-13"-12"-16,13 25 15,-13 28 1,0-54-16,0 13 0,0 1 15,0-14-15,0 40 16,0-27-16,0-13 0,0 1 16,14-1-16,-14 0 15,13-39 1,-13 12 0,0 1-16,0-13 0</inkml:trace>
  <inkml:trace contextRef="#ctx0" brushRef="#br0" timeOffset="204253.36">21788 4882 0,'-105'66'16,"91"-53"-1,-65 106-15,66-79 0,-14 13 16,14-14-16,0 54 16,26 13-16,0 13 15,1-66-15,-1 0 0,13 0 0,-13-1 16,54 28-16,12-14 16,-39-40-16,39 14 15,-39-40-15,-1 13 0,-12-13 16,13-13-16,118-40 15,-52-13-15,79-119 16,-145 132 0,39-53-16,-52 66 15,-1-12-15,-12-1 0,-1 13 0,0-66 16,-13 66 0,-13 1-16,-53-54 0,26 53 15,-13 1-15,-106-80 16,106 92-16,-13 1 0,0-1 15,0 14-15,-80-13 0,27 12 16,53 14-16,-53 14 16,-13 12-16,79-13 15,0 14-15,0-1 0,13 1 16,-39 52-16,26 14 16,53-40-1,0-40-15,13 13 16,-13-13-16,40 27 0</inkml:trace>
  <inkml:trace contextRef="#ctx0" brushRef="#br0" timeOffset="206521.29">6496 12263 0,'26'14'32,"-13"-14"-32,14 13 0,12 0 15,-25-13-15,12 13 16,27 1-16,-27-1 0,54 0 15,-41 0-15,14-13 0,40 13 16,-40-13 0,53 14-16,-53-28 0,0 14 0,-1 0 15,1 0-15,0 0 0,-13-13 16,13 13-16,0-13 0,-13 0 16,-1 13-16,1-13 0,0-1 0,26-12 15,-27-1-15,-25 14 0,12 13 16,-13-13-16,1 0 15,25-27-15,-25 27 0,-1 0 16,0-1-16,13-12 0,-12 13 16,-1-14-16,13 1 15,-26 13-15,14-1 0,-1 1 0,0-13 16,0 12-16,0 1 16,-13 0-16,14 0 15,-14-14-15,0 1 16,0-1-1,0 1 1,0-1-16,0 14 0,0 0 16,-14 0-16,14-14 15,0 14-15,-13 0 16,13 0-16,0-1 0,-13-12 16,0-1-16,0 14 0,-1-13 15,-12-1-15,-1 1 16,14 13-16,-26-27 0,-1 13 15,27 14-15,-27 0 16,-39-27 0,39 27-16,0 0 0,0 0 0,1 13 15,-41-27-15,41 14 16,-94-14-16,94 14 16,-14 13-16,26-13 0,1 13 0,-1-13 15,-12 13-15,-1 0 16,14 0-16,-1 0 0,14 0 0,-14 13 15,1-13-15,-40 26 16,26-12-16,14-1 16,-1 13-16,-12 1 15,25-1-15,1-12 16,0-1-16,0 0 0,13 0 16,-14 0-16,1 14 0,0-14 15,0 27-15,0-14 16,-14 27-1,14-26-15,0-14 0,-1 40 16,1-13-16,13-14 0,-13 14 16,13-14-16,0-13 15,0 14-15,0-14 0,0 13 0,0 14 16,0-13-16,0 26 16,13-27-16,0 40 15,1-26-15,25 39 16,27 1-16,-13-14 15,0-27-15</inkml:trace>
  <inkml:trace contextRef="#ctx0" brushRef="#br0" timeOffset="208970.56">9168 12224 0,'-13'0'16,"39"13"15,40 0-15,-39-13-16,12 13 0,27 1 15,54-1-15,-94-13 16,67 13-16,-1 0 15,-52-13-15,0 0 16,52 0 0,-52 0-16,-14 0 0,1-13 0,12 13 15,41-13-15,-27-14 16,-40 27-16,13-13 0,1 0 0,13 0 16,-14 0-16,1-14 15,25 1 1,-38 12-16,-1-12 15,0 13 1,0-1-16,1-12 16,-1 0-16,-13 12 15,13 1-15,-13-13 16,13 12-16,-13 1 0,0 0 16,0-14-1,0 14-15,0 0 16,0 0-16,0 0 15,0-1-15,0-12 16,-13 13-16,13-1 0,0 1 16,-13-13-16,0 13 0,13-1 15,-14 1-15,1 0 16,13-14-16,-40-12 16,27 25-16,-13-12 0,-1 0 15,1 12-15,13 1 16,-27 0-16,13 0 0,-52-14 15,39 14-15,-52 0 0,52 13 16,0-14-16,-26 14 16,-66 14-16,79-1 15,13 0-15,1 0 0,-14-13 16,-53 40 0</inkml:trace>
  <inkml:trace contextRef="#ctx0" brushRef="#br0" timeOffset="210317.17">14089 9551 0,'-370'159'15,"251"-106"1,66-26-16,-93 65 15,106-65-15,1-1 16,12-13-16,14 1 16,0-1-16</inkml:trace>
  <inkml:trace contextRef="#ctx0" brushRef="#br0" timeOffset="210541.31">14168 8771 0,'-66'225'16,"53"-185"-16,-13 65 15,12-52-15,-12 66 0,26 40 16,0-119 0</inkml:trace>
  <inkml:trace contextRef="#ctx0" brushRef="#br0" timeOffset="211008.31">13441 10425 0,'132'0'16,"-66"0"-16,-13 0 16,27 0-16,158-14 15,-80 14-15,14-13 16,-105 13-16,118-13 16,-132 0-16,13 13 15,-13 0-15,-40 0 16,13 0-16</inkml:trace>
  <inkml:trace contextRef="#ctx0" brushRef="#br0" timeOffset="211620.18">14539 10888 0,'40'-27'16,"-1"27"-16,-26 0 16,1 0-16,-1 13 15,0-13-15,-13 14 0,0 12 16,-26 14 0,12-14-16,1-13 15,0 1-15,-13 12 0,-1 1 16,27-14-16,-13 0 0,0-13 15,13 13-15,13-13 32,0 0-32,0 0 0,1 0 0,-1 0 15,13-13-15,14 13 16,-27-13-16,14 13 16,-1-13-16,-13-1 15,1 14-15</inkml:trace>
  <inkml:trace contextRef="#ctx0" brushRef="#br0" timeOffset="211909.39">14896 10821 0,'66'14'31,"-79"12"-31,-14 1 16,1 12-16,13-25 16,13-1-16,-13-13 15,13 13-15,0 0 16,0 0 0,13-13-1,13 0 1,-13 0-16,1 0 0,-54-172 15,93 344-15,-53-185 0,13 0 16</inkml:trace>
  <inkml:trace contextRef="#ctx0" brushRef="#br0" timeOffset="212096.28">15134 10755 0,'-13'66'16,"13"-52"-16,0 65 16,13-52-1,0-1-15,1-13 16,-1-13 0</inkml:trace>
  <inkml:trace contextRef="#ctx0" brushRef="#br0" timeOffset="213289.38">14790 10888 0,'27'-14'78,"-14"1"-63,13 13-15,14-13 32,-27 13-32,0 13 15,-13 0 1,0 14-16,-13-14 16,0 14-16,0-1 15,0-13-15,-1 0 16,14 1-16,-13-1 15,13 0 1,0 0 0,13-13-1,1 14 1,-1-28-16,13 14 16,-13 0-16,27 0 15,-27 0-15,14-13 16,-1 13-16,-12 0 15,-1 0 1,-13-13-16</inkml:trace>
  <inkml:trace contextRef="#ctx0" brushRef="#br0" timeOffset="-207718.92">19725 6085 0,'39'14'31,"1"-14"-15,-27 13-16,14-13 0,-1 0 15,27 0-15,-26 0 16,39 0-16,-40 0 0,27-13 16,-26 13-16,25-14 15,-25 1-15,-1 0 0,-12 13 16,39-40-16,-27 27 0,0-13 15,27-14-15,-39 13 16,12 1-16,-13 0 0,1-1 0,25-39 16,-39 39-1,13-12-15,1-14 16,-14 13-16,0 14 16,0 12-16,-14-12 0,14-14 15,-13 1-15,0 12 16,13 1-16,-13-1 0,0 1 15,-27-40-15,-13-14 16,13 41-16,-13-1 16,27 27-16,-1-1 15,1 1-15,-40 0 0,39 0 16,-12 13-16,-41-13 0,41 13 16,-28 0-1,-65 13-15,92 0 0,1 0 16,-27 14-16,-1-1 15,1 14-15,13 13 16,27-40-16,-27 40 16,-13 26-1,26-13-15,27-39 16,-13 39-16,-1-13 16,1 13-16,12-13 15,14 0-15,0-13 16,0-14-16,0 1 0,0-1 0,27 40 15,-1-13 1,27 0-16,-26-27 0,-1-12 16,1 12-16,39 1 15,-40-14-15,27 13 16,-13-13-16,-27-13 16,0 14-16,0-14 15,1 13 1,-1 0-16,0 0 15,0-13 1</inkml:trace>
  <inkml:trace contextRef="#ctx0" brushRef="#br0" timeOffset="-206595.39">20082 6337 0,'0'26'31,"0"1"-15,13 12-16,0-12 15,-13-14-15,14 14 0,-14-14 0,26 26 16,-13-12-16,53 26 15,-39-53-15,-1 13 0,93 0 16,-26-13 0,-40-13-16,0 0 15,0 13-15,-14-13 0,14-1 0,13 1 16,67-27-16,-54 14 16,1 0-1,-28-14-15,-12 27 0,-13-1 16,-1-12-16,0-1 0,27-12 15,-26 12-15,-14 1 0,14-1 16,25-26-16,-38 40 16,-1 0-16,0-13 0,0 26 15,-13-14-15,14 1 0,-1 13 16,-13-13-16,13 13 16</inkml:trace>
  <inkml:trace contextRef="#ctx0" brushRef="#br0" timeOffset="-206255.33">21325 6006 0,'-13'0'16,"40"13"0,-14-13-16,0 13 15,0-13-15,1 0 16,25 14-16,-26-1 0,14-13 15,-14 13-15,14 0 0,-1 1 16,-13-1-16,1-13 16,-14 13-16,13 0 0,-13 1 0,0-1 15,13 0-15,-13 0 0,-13 0 0,13 1 16,0-1-16,0 13 16,-13 1-16,13-14 0,0 0 15,0 1-15</inkml:trace>
  <inkml:trace contextRef="#ctx0" brushRef="#br0" timeOffset="-205762.58">22741 6125 0,'0'-13'16,"0"53"-1,0-14-15,0 0 0,-13 1 16,-1 26-16,14-40 0,-13 14 16,13-1-16,0 0 0,-13-12 15,13-1-15,0 13 0,0-12 0,0 12 16,0-13-16,13-13 31</inkml:trace>
  <inkml:trace contextRef="#ctx0" brushRef="#br0" timeOffset="-205491.36">23006 6257 0,'-106'14'15,"92"-1"-15,-25 0 16,26 0-16,-1-13 0,1 14 15,0-1-15,13 0 0,-13-13 0,13 13 16,0 0 0,0 1-16,13-14 0,-13 13 0,13-13 15,0 0-15,-13 13 16,14-13-16,-1 0 0,0 0 16,0 0-16,0 0 0,14 0 15,-14 0-15,0 0 0,1 0 16,-1 0-16</inkml:trace>
  <inkml:trace contextRef="#ctx0" brushRef="#br0" timeOffset="-205239.31">23376 6178 0,'-27'53'47,"27"-40"-47,0 14 0,0-14 16,-13 0-16,13 14 0,-13-14 0,13 0 16,-13 27-16,13-27 15,-13 0-15,13 0 0,0 1 16</inkml:trace>
  <inkml:trace contextRef="#ctx0" brushRef="#br0" timeOffset="-205006.35">23521 6271 0,'-66'13'16,"53"0"-16,92-39 0,-184 52 0,91-13 15,-12 1-15,13-1 0,-1 0 16,1 0-16,0 0 16,26 1-16,-13-1 15,13-13-15,1 0 0,-1 0 16,0 13-16,0-13 0,1 0 0,-1 0 16,0 0-16,14 0 15,-14 13-15,0-13 0</inkml:trace>
  <inkml:trace contextRef="#ctx0" brushRef="#br0" timeOffset="-204464.58">22820 6734 0,'106'26'16,"-13"-26"-1,-40 0-15,0 0 0,0 0 16,92-26-16,-92 12 16,0 14-16,-13-13 0,52-13 15,-52 13-15,0-1 0,-14 1 16,67-53-16,-80 53 15,53-80 1,-53 67-16,-13-14 0,13 0 16,1-52-16,-14 52 0,0-13 0,-14-13 15,1 13-15,0 0 0,-14-13 16,1 13-16,-14 13 0,1 1 16,-1-1-16,-79-26 0,53 39 15,0 14-15,-14 0 0,1 0 16,-14 13-16,14 13 0,-93 13 15,53 1-15,26-1 0,-13 14 16,14 0-16,12 13 0,28-14 0,-15 1 16,-25 52-16,65-39 0,1 0 15,-1 0-15,27 27 0,0-27 16,27-1-16,65 54 16,-25-53-16,12 0 0,0 0 15,1 0-15,171 26 16,-79-26-16,-93-40 15,93 14-15,-13-27 16</inkml:trace>
</inkml:ink>
</file>

<file path=ppt/ink/ink17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4:21:44.879"/>
    </inkml:context>
    <inkml:brush xml:id="br0">
      <inkml:brushProperty name="width" value="0.05292" units="cm"/>
      <inkml:brushProperty name="height" value="0.05292" units="cm"/>
      <inkml:brushProperty name="color" value="#0070C0"/>
    </inkml:brush>
  </inkml:definitions>
  <inkml:trace contextRef="#ctx0" brushRef="#br0">10967 4154 0,'-40'-13'0,"27"13"31,53 13 0,-14-13-31,1 0 0,12 0 16,1 0-16,13 0 0,0 0 0,0 0 16,0 0-16,0 0 0,0 0 0,66 0 15,-66 0-15,-14 0 16,1 0-16,0 0 0,-14 0 0,1 0 16,-14 0-16,13 0 0,-13 0 15,1 0-15,12 0 16,-13 0-16,1 0 0,-1 0 15,0 0 1,0 0-16,0 0 16,1 0 15,-1 0-15,0 0 46,-39 13 94</inkml:trace>
  <inkml:trace contextRef="#ctx0" brushRef="#br0" timeOffset="778.8">10954 3572 0,'13'-13'15,"13"-1"-15,-12 14 16,-1 0-16,0-13 16,27 0-16,-14 13 0,1-13 15,-1 13-15,14-14 0,-14 14 0,1 0 16,39-13-16,0 0 16,-26 13-16,-14-13 15,1 13-15,12-13 0,-25 13 0,25 0 0,-25-14 16,12 14-16,-13 0 0,14 0 15,-14-13-15,13 13 16,-12 0-16,-1 0 0,-13-13 0,13 13 16,-39 13 31</inkml:trace>
  <inkml:trace contextRef="#ctx0" brushRef="#br0" timeOffset="1594.99">12382 3545 0,'0'27'16,"0"-14"-16,27 159 15,-27-119 1,13 13-16,-13 27 0,0-40 0,13-14 16,-13 1-16,0 0 15,14 26-15,-14-40 0,0-12 16,13 12-16,-13-13 0,0 0 0,0 1 15,0-1-15,13 0 16</inkml:trace>
  <inkml:trace contextRef="#ctx0" brushRef="#br0" timeOffset="2333.23">12422 3572 0,'13'-13'31,"14"13"-31,26-14 16,0 14-16,-14-13 15,147-13-15,-41 12 16,-65 1-16,-1 13 0,-13-13 15,13 0-15,1 13 16,-1-13-16,80-1 0,-80 14 0,-13-13 16,14 13-16,39-13 15,-66 0-15,-14 13 0,14-14 16,-13 14-16,-13 0 0,25-13 16,-12 13-16,-13 0 15,-14 0-15,0-13 0,0 13 16,1 0-1,-1 0-15,-13 13 16,0 0-16,0 14 16,0 26-16,0-27 15,0 1-15,0 12 0,0 1 16,0 39-16,13 14 16,-13-53-16,0-1 0,13 1 15,-13 26-15,13-26 16,-13-27-16,14 14 0,-14-1 0,0-13 0,13 27 15,-13-27-15,0 1 16,0 12-16,0-13 16,-13 14-16,-1-14 0,1 0 15,-13 0-15,-1 1 0,1-1 16,-14 0-16,0 0 0,-26 0 16,-66 14-16,66-14 0,-66 0 15,65 1-15,-38-14 16,65 0-16,0 0 15,-26 0-15,53-14 0,-14 14 16,1-13-16,13 0 0</inkml:trace>
  <inkml:trace contextRef="#ctx0" brushRef="#br0" timeOffset="3384.13">13361 3731 0,'0'-27'31,"14"14"-15,-14 0-16,0-1 0,13-52 16,-13 40-16,0-1 15,0-12-15,0 12 0,0-52 16,-13-40 0,-1 53-16,14 39 15,0 14-15,-13-13 0,13 12 0,0-25 16,-13 12-16,13 14 15,0 0-15,0-1 0,0 1 16,0 0-16,-26 39 47</inkml:trace>
  <inkml:trace contextRef="#ctx0" brushRef="#br0" timeOffset="3888.94">13150 3307 0,'26'0'16,"-26"14"-1,13-1-15,-13 13 16,14 14-1,-1 0-15,-13-14 0,0 0 16,13 1-16,-13-1 0,0 14 16,13 0-16,-13-27 15,0 13-15,0 1 16,14-14-16,-14 0 16,0 1-16,0-1 15,13-26 16,0 13-31,-13-14 0,13 1 0,1 0 16,-1 0-16,0 13 0,0-14 16,0 1-16,14 0 15,-14 0-15,0 13 16,1-13-16</inkml:trace>
  <inkml:trace contextRef="#ctx0" brushRef="#br0" timeOffset="5080.09">13309 2368 0,'-40'-13'16,"-13"26"0,26 0-16,14 0 15,0 1-15,0 12 16,0-13-16,-1 1 0,14-1 15,-13-13 1,26 13 0,27-26-16,0 13 15,-27 0 1,13 0-16,14 13 0,0 0 16,13 27-16,-53-14 15,13-12-15,-13 25 16,0-12-16,-27 39 15,-12-13-15,12-40 16,-12 0 0,25-26-1,1-13 1,26-27 0,1 40-16,12-40 0,14 0 15,-14 26 1,1 1-16,26-14 15,-27 40 1,-13 0 0,1 0-16,-1 0 15,0 13-15,0 1 16,0-1 0,-13 13-16,14-13 0,-1 27 31,-13-27-31,13-13 15,-13 14 1</inkml:trace>
  <inkml:trace contextRef="#ctx0" brushRef="#br0" timeOffset="5238">13573 2408 0,'0'-14'0,"-13"1"31</inkml:trace>
  <inkml:trace contextRef="#ctx0" brushRef="#br0" timeOffset="5954.26">13719 2474 0,'0'13'16,"13"14"0,-13-14-16,13-13 15,-13 13-15,13 0 16,-13 0-1,-39-105 1,105 171 0,-66-92-1,13 0-15,0 0 0,0-1 16,1 1-16,12 0 16,14-14 15,-27 27-31,0-13 0,14 0 31,-40 26 0,-1-13-31,1 27 16,0-14 0,26 0 15,0-13-16,1 0-15,-1 0 16,0 0-16,27 0 16,-27 13-1,0-13 1,0 14 0,14-1-1,-1-26 32,-12-1-31,-1 14-16,0 0 15,-13-13 1,26 13 0,-12 0-1,-1 0 1,0 13-1,-26 1 1</inkml:trace>
  <inkml:trace contextRef="#ctx0" brushRef="#br0" timeOffset="6339.94">13467 2844 0,'80'-39'32,"-41"25"-17,80-25 1,-79 25-16,145-38 16,-145 38-16,66-12 15,-53 26 1,-40-13-16,27 13 15,-27 0 1</inkml:trace>
  <inkml:trace contextRef="#ctx0" brushRef="#br0" timeOffset="6632.85">13600 2871 0,'158'-40'31,"-105"27"-31,397-106 31,-423 119-31,52-13 16,-66 13-1,14-14-15,-14 14 16,-13-13 0,-820 225-1</inkml:trace>
  <inkml:trace contextRef="#ctx0" brushRef="#br0" timeOffset="9163.35">8599 3612 0,'0'-40'16,"40"-26"0,-27 52-1,27-25-15,12-14 0,-12 40 16,13-27 0,13 0-16,-26 27 0,0 0 15,92 0-15,-106 13 16,67 13-1,-40-13-15,26 26 0,1 1 16,-41-14-16,-12 0 0,52 40 16,-39-40-1,-27 1-15,27 12 16,-40-13-16,13-13 16,0 13-16,0-13 15</inkml:trace>
  <inkml:trace contextRef="#ctx0" brushRef="#br0" timeOffset="9514.92">9657 3321 0,'40'39'15,"-27"-39"-15,27 53 16,-27-40-16,-13 1 15,13 12-15,1 0 16,-14 14-16,-14-27 16,1 1-16,0-1 0,-14 13 0,1 1 15,-27 12 1,-13 1-16,39-13 0,-25-1 16</inkml:trace>
  <inkml:trace contextRef="#ctx0" brushRef="#br0" timeOffset="17621.79">17119 4855 0,'0'40'31,"0"-27"-31,0 13 16,0 1-16,0-1 0,0 27 15,0-26-15,0 39 16,-14-53-16,14 14 0,0-1 0,0-13 15,0 14-15,0-14 0,0 0 16,0 0-16,0 1 0,0-1 16,0 0-16,14-13 15,-1-13 1,0 13-16</inkml:trace>
  <inkml:trace contextRef="#ctx0" brushRef="#br0" timeOffset="17950.2">17079 4829 0,'13'-27'0,"27"14"31,-14 13-15,-13 0-16,1 13 0,12 0 16,1 27-16,-14-27 15,-13 1-15,0-1 0,0 0 16,-13 13-16,13 14 16,-27-13-16,14-14 0,13 0 15,-27 0-15,27 1 16,-13-14-16,13 13 0,-13-13 15</inkml:trace>
  <inkml:trace contextRef="#ctx0" brushRef="#br0" timeOffset="18230.61">17568 4736 0,'-39'26'16,"25"-12"-16,-12 39 16,-27 52-16,27-12 15,26-53-15,-14-1 0,14 1 16,0 26-16,14-26 16,12 26-16,-13-53 0,0 14 15,27 13-15,-27-40 16,40 26-16,-39-26 0,-1 0 15,26 0-15,1-13 16,-13 13-16,-14-13 0,0 13 16,0-14-16,14-12 0</inkml:trace>
  <inkml:trace contextRef="#ctx0" brushRef="#br0" timeOffset="18471.96">17965 4908 0,'0'-13'16,"-26"52"-1,26-12-15,-13-14 16,-1 40-16,1-26 16,0 25-16,13-25 0,-13 39 15,-1-39 1,14-1-16,0-13 0,0 0 15,0 1 1,14-14-16,-1 0 16</inkml:trace>
  <inkml:trace contextRef="#ctx0" brushRef="#br0" timeOffset="18993.31">17899 4961 0,'66'-27'16,"-39"27"0,-14 0-16,-13 14 0,13-1 15,-26 13-15,0-12 16,-1 12-16,14-13 15,-13 1-15,13 12 32,13-26-32,1 13 15,-1-13 1,-13 13-16,40 14 16,-27-14-16,-13 0 0,0 1 15,-13-1-15,-1 0 16,-12 0-16,13 1 0,-27 12 15,27-26-15,-14 13 16,1 0-16,13-13 0,-1 0 16,1 0-16,0 0 15,0 0-15,13-13 16</inkml:trace>
  <inkml:trace contextRef="#ctx0" brushRef="#br0" timeOffset="19278.18">18283 4802 0,'0'53'15,"0"-40"-15,-14 27 16,1 66-16,13-66 15,-13 39 1,0-53-16,0 41 0,-1-54 16,1 13-16,13-13 0,-13 27 15,0-13-15,13-14 16,13-13 0,0-13-16,0-1 15</inkml:trace>
  <inkml:trace contextRef="#ctx0" brushRef="#br0" timeOffset="19683.25">18587 5080 0,'-13'26'0,"0"67"31,13-80-31,-14 1 16,28-28 15,-14-12-31,13 13 16,-13-14-16,13-26 0,13 0 16,-12 40-16,-14-13 0,26-1 15,-13 14-15,1-14 16,-1 27-16,0 0 15,13 14 1,-12 12-16,-1 1 16,0-1-1,-13-13-15,13 14 0,-13 12 16,0-25-16,0-1 16,0 0-16,0 0 15,0 1 1,0-1-16</inkml:trace>
  <inkml:trace contextRef="#ctx0" brushRef="#br0" timeOffset="19876.06">18600 5173 0,'-13'0'15,"39"-14"1,1 14-1,13-13-15,-27 13 16,-106 27-16,252-67 16,-146 27-16,40-1 0,-13 1 15,-1 0-15,1 0 16</inkml:trace>
  <inkml:trace contextRef="#ctx0" brushRef="#br0" timeOffset="20194.91">18904 4551 0,'40'-13'16,"-27"13"-16,27 26 15,-13-13-15,-1 14 0,40 65 16,-39-52 0,39 79-16,-40-40 15,-13-39-15,1 40 0,-14-14 16,0-40 0,-14 40-16,-38 14 15,38-54 1,-12-13-16,13 1 0,-1-1 15</inkml:trace>
  <inkml:trace contextRef="#ctx0" brushRef="#br0" timeOffset="20887.13">18693 5543 0,'-27'0'31,"-26"53"-15,27-27-16,-53 54 15,39-27-15,0-14 0,-66 94 16,-26 12-16,-13 14 15,-14 13-15,79-79 16,-158 171 0,66-92-16,93-79 0,0-14 15,-146 146-15,159-159 16,-53 40-16,66-53 16,0-13-16,-27 39 0,1-13 15,26-13-15,40-40 16,-14 0-16,14 1 15,-13 12 1,12-13-16,14-39 31,0 13-15,0-1 0</inkml:trace>
  <inkml:trace contextRef="#ctx0" brushRef="#br0" timeOffset="21297.39">16497 7408 0,'0'40'16,"-27"0"-1,27-14-15,-13 14 0,-13-14 0,-1 40 16,1 1-16,12-28 16,14-25-16,0-1 15,0 0-15,0 13 0,0-12 16,14 12-16,12-26 0,14 13 15,-14-13 1,67 0-16,26 0 16,-53 0-16,80-13 0,-93 13 15,13 0-15,-13-13 0,-14 26 16,1-26-16,39 26 16,-26-13-16,-26 0 15,-14 13-15,0 1 16</inkml:trace>
  <inkml:trace contextRef="#ctx0" brushRef="#br0" timeOffset="24214.02">5120 8334 0,'53'358'16,"0"184"0,-27-397-16,0 160 15,-12-147-15,-1-25 0,0 12 16,14 120-16,-14-40 0,0-80 16,0-79-1,1 54-15,-14-81 0,0 14 16,0-26-16,0-14 15,-14-53 1,1 0-16,0-12 0</inkml:trace>
  <inkml:trace contextRef="#ctx0" brushRef="#br0" timeOffset="26171.8">4723 8427 0,'106'-13'0,"26"13"15,-26 0-15,53 0 16,92 0 0,-145 13-16,105-13 15,67 0-15,-146 0 16,14 0-16,-14 13 0,173-13 15,-160 13-15,318 1 16,13-1 0,-304 0-16,0-13 15,159 27-15,26-14 16,-13 13-16,-159-26 0,-13 13 16,14-13-16,369 14 15,-370-14-15,1 0 0,-1 0 16,0 0-16,384-14 15,-384 14-15,0 0 0,1 0 16,343 0-16,-27 14 16,-330-14-1,-13 0-15,145 13 0,-158 0 16,13-13-16,132 13 0,0 1 16,-146-1-16,1-13 15,145 13-15,-146-13 16,1 13-16,118-13 0,-118 14 15,-14-14-15,1 13 0,-1-13 16,106 0-16,-119 13 0,93-13 16,-106 0-16,132 13 15,-133-13-15,1 0 0,119 13 16,-13-26-16,-106 13 16,92 0-16,-105 0 0,105-13 15,-105 13-15,79 0 16,-13 0-16,-40 13 15,-66-13-15,-1 0 0,54 0 16,0 13 0,-79-13-16,-14 14 15,13-14-15,-13 13 0,1-13 0,-1 13 0,13 14 16,-12-14-16,-14 13 16,0 1-16,0 12 0,-14 160 15,14-146 1,-13 79-16,13-53 15,-13-12-15,13 65 0,-13-53 16,13-13-16,-14 14 0,1-14 0,0 66 16,13-66-16,-13-13 15,13 13-15,-13-13 0,13 14 0,-14 38 16,14-65-16,-13 13 16,13 40-16,0-54 0,0 14 15,0 27-15,0-41 16,13 41-16,-13-54 0,0 27 15,0-27-15,0 54 16,0-54-16,0 1 16,-13 26-16,-27 13 15,27-53-15,-13 13 16,-1-12-16,-39 25 0,-13-12 16,39-14-16,0 0 0,-13 1 15,-39 12-15,39-26 16,-66 26-16,53-12 15,-80-1-15,1 0 16,-93 0-16,158 1 16,-12-14-16,-80 13 0,79 0 15,-13-13-15,-13 13 0,-132 1 16,132-1-16,-133 0 16,133 0-16,-13-13 0,-106 13 15,-14 1-15,14-14 16,-26 13-16,132-13 15,-107 13-15,-25-13 16,131 13-16,1-13 16,-278 0-16,278 0 15,0 14-15,-1-14 0,-12 0 16,12 0-16,1 0 0,0 0 0,13 0 16,-146 0-16,133 0 0,26 0 15,-26 13-15,-106-13 16,132 0-16,-238 13 15,238-13-15,-211 0 16,118 0-16,-13-13 16,-105 13-1,224-13-15,-118 13 0,105 0 16,-225 0 0,238 0-16,-118 0 15,-93-14-15,105 14 16,107 0-16,-1 0 15,-106-13-15,14 13 16,-79 0-16,78-13 16,94 13-16,-1 0 15,-92 0-15,0 0 16,0 0-16,92 0 0,-79 0 16,93 0-16,-80 13 15,80-13-15,-41 13 16,1-13-16,53 0 15,13 0-15,-13 0 0,13 0 16,0 14-16,0-14 0,-66 0 16,27 13-16,-41-13 15,94 0-15,-27 0 16,13 0-16,26 0 16,1-13-16,-1 13 0,1 13 0,-40-26 15,39 26-15,-26-13 16,14 0-16,-54 0 15,14 13 1,39-13-16,0 13 0,-39-13 16,-27 14-16,66-14 15,-26 0-15,0 13 16,40-13-16,-1 0 0,-39 0 16,40-13-1,-14 13-15,-79-27 16,53 1-16,39 12 15,-26-25-15,40 12 0,-13-12 16,12 25-16,1-12 0,0-27 16,13 26-16,-13-25 15,13-28 1,13 54-16,-13-1 0,13-26 16,-13 27-16,13-1 15,1-12-15,-1-1 16</inkml:trace>
  <inkml:trace contextRef="#ctx0" brushRef="#br0" timeOffset="28319.02">9485 10729 0,'40'13'16,"-27"-13"-16,0 0 15,14 0-15,-14-13 0,0 13 16,1-13-16,12-14 15,-13 14-15,14 0 0,-14-1 0,0 1 16,14-13-16,-14 13 16,0-27-16,0 27 0,27-53 15,-27 52-15,-13 1 16,13-27-16,1 27 16,-14-13-16,13-1 0,0 1 15,-13-14-15,0 0 16,0 27-16,0-40 15,0 14-15,-13-14 16,0 13-16,-1 13 16,14 14-16,-13-13 0,0 13 15,0-14-15,-14-13 16,1 27-16,-1-13 16,-12-1-16,12 14 15,1 0-15,-14-14 16,14 14-1,12 13-15,-12-13 16,13 13-16,0 0 0,-14-13 16,14 26-16,0-13 15,-67 13 1,67 0-16,-13 1 0,-1-1 16,-26 13-16,27-13 15,-27 14-15,26-1 0,1-12 16,-14 12-16,14-13 15,13 1-15,-1-1 0,-12 13 0,13-13 16,-1 1-16,14 12 0,-26 27 16,13 0-1,13-27-15,0-12 16,0 12-16,0 1 0,13-14 0,-13 40 16,26 13-1,-12-40-15,-14 1 0,26 13 16,-13-14-16,1 27 15,-1-40 1,0 0-16,-13 1 0,13-1 16,0 0-16,14-13 15,-14 13-15,0-13 16,1 0-16,12 13 16,1 1-1,-14-14-15,13 13 0,-13 0 16,14 0-16,-14-13 15,27 14-15,-27-1 0</inkml:trace>
  <inkml:trace contextRef="#ctx0" brushRef="#br0" timeOffset="29215.02">9604 10689 0,'0'40'16,"0"-14"-1,14 1-15,-1 12 0,0 28 16,27-1-16,-27-27 15,40 41-15,-27-27 16,1-14-16,12 1 0,41 39 16,65 27-16,-92-66 15,66 26-15,-52-26 16,197 92-16,-92-52 16,13-1-16,-92-53 15,79 40-15,132 27 16,-105-53-1,-1-1-15,-79-25 16,106-1-16,0 0 16,-119-13-16,26 0 0,0 0 0,1-13 15,-1 13-15,93-13 16,-93-1-16,-13 1 0,-13 0 16,198-13-16,-39-27 15,-93 13 1,-93 13-16,1 14 0,-1-13 15,-13-1-15,53-26 0,-53 27 16,53-40-16,-53 39 16,-52 14-16,25-13 15,1-1 1,-40 14 0,13 0-1,-26 0 1,0-1-1,0 14-15,13-13 16,-14 13-16,14-13 16</inkml:trace>
  <inkml:trace contextRef="#ctx0" brushRef="#br0" timeOffset="29509.88">14975 11496 0,'0'13'15,"27"-13"1,-1 0 0,-12 14-16,12-14 15,-119-27-15,226 67 0,-54-14 16,-52-12-16,-1 12 0,14-13 0,-1 40 15,-12-13 1,-27 26-16,-27 0 16,-26 0-16,27-39 0,13 12 15,-14-12-15,1-1 16,-1 1-16,-12 26 0</inkml:trace>
  <inkml:trace contextRef="#ctx0" brushRef="#br0" timeOffset="34794.07">20624 6972 0,'0'26'16,"14"1"-16,-14 26 16,0-27-16,0 1 0,0 39 15,0-40-15,0 1 0,0-1 16,0 0-16,0 1 0,0-14 0,0 27 16,-14-14-16,14 1 15</inkml:trace>
  <inkml:trace contextRef="#ctx0" brushRef="#br0" timeOffset="35177.87">20585 6985 0,'79'-40'16,"-66"40"-1,14 0-15,-14 0 0,40 14 16,-40-1-16,0 0 0,0 0 16,14 14-16,-27-1 15,0-13-15,0 1 0,0 12 0,-13-13 16,-1 1-16,1-1 16,0 0-16,0 13 0,0-26 0,-1 14 15,1-14-15</inkml:trace>
  <inkml:trace contextRef="#ctx0" brushRef="#br0" timeOffset="35436.76">21153 6760 0,'-66'66'0,"27"-13"16,-1 40-16,0-14 16,27 14-16,0-54 15,13 1-15,0-13 0,0-1 16,13 27-16,0-27 0,0-12 0,1-1 16,-1 13-16,0-26 0,27 27 15,-27-27-15,14 0 16,-14 13-16,0-26 0,13 13 0,-12 0 15</inkml:trace>
  <inkml:trace contextRef="#ctx0" brushRef="#br0" timeOffset="35874.83">21471 6972 0,'-13'13'31,"13"0"-31,-14 0 0,14 1 16,0-1-16,0 13 0,-13 27 15,13-39-15,0 12 0,0 14 16,-13-1-16,13-25 16,0-1-16,0 0 0,0 13 15,-13-12 1,26-54-1,-13 14 1,0-1-16,13 1 0,0-14 0,-13 0 16,14 1-16,12 12 0,14-65 15,-27 78 1,0 1-16,1 13 16,-1 0-16,0 13 15,0-13-15,-13 14 0,13-1 0,1 13 16,-14 1-16,13-1 15,-13-13-15,0 14 0,0-14 16,13 14-16,-13-14 0,0 13 16,0-13-16,0 1 0,0-1 15,-13-13 1</inkml:trace>
  <inkml:trace contextRef="#ctx0" brushRef="#br0" timeOffset="36026.69">21444 7157 0,'14'-26'15,"-1"26"1,13 0-16,1-14 16,26-12-16,-40 13 15,0-1-15</inkml:trace>
  <inkml:trace contextRef="#ctx0" brushRef="#br0" timeOffset="36207.04">21709 6972 0,'27'-40'0,"-14"40"16,-66 53 0,66-66-16,40-14 15,-53 41-15,0-1 16,0 0-16,0 0 0,0 0 16,-13 27-16,13-13 0,0 12 15,0-25-15,0-1 16,0 13-16,0-13 0,0 1 15,0-1-15,0 13 0,13-12 16</inkml:trace>
  <inkml:trace contextRef="#ctx0" brushRef="#br0" timeOffset="36437.9">22053 6985 0,'0'-13'16,"-13"39"0,13-13-16,0 1 15,0-1-15,-13 0 0,13 0 16,0 1-16,0 12 0,-14-13 16,14 14-16,-13-1 15,13-13-15,0 1 16,13-1-1</inkml:trace>
  <inkml:trace contextRef="#ctx0" brushRef="#br0" timeOffset="36886.21">22013 6985 0,'14'-13'0,"12"0"16,-13 26 0,0-13-16,-13 13 0,0 0 15,0 0 1,0 1-16,0-1 16,14 0-1,-1 0-15,-13 1 16,13-14-16,-13 13 15,0 0-15,0 0 0,0 1 16,0-1-16,-13 0 16,0 0-16,-1 0 15,-12 1-15,0-14 16,-1 0-16,14-14 16</inkml:trace>
  <inkml:trace contextRef="#ctx0" brushRef="#br0" timeOffset="37121.87">22106 6615 0,'13'13'0,"14"0"16,-67-39-16,106 92 16,-53-40-16,1 14 0,-1-14 0,0 14 15,13 39-15,-26 1 16,0-27-16,-26 53 15,13-67-15,-14 27 16,1-26-16,13-27 0,-1 14 0,14-14 16,-26 13-16,13-12 15</inkml:trace>
  <inkml:trace contextRef="#ctx0" brushRef="#br0" timeOffset="37450.96">22741 7078 0,'66'-14'15,"-13"28"1</inkml:trace>
  <inkml:trace contextRef="#ctx0" brushRef="#br0" timeOffset="37609.57">22714 7263 0,'27'0'15,"-14"0"1,27-13-16,-27 13 16,14-14-16,52 1 15,-53 13-15</inkml:trace>
  <inkml:trace contextRef="#ctx0" brushRef="#br0" timeOffset="38610.1">23495 6945 0,'-13'14'16,"13"-1"-16,0 13 15,0 1-15,-13 39 0,-14 13 16,27-39-16,-13-14 0,0 14 15,13-14-15,0 1 16,-14-14-16,14 14 0,0-14 0,0 13 16,0-12-16,14-1 15</inkml:trace>
  <inkml:trace contextRef="#ctx0" brushRef="#br0" timeOffset="38985.14">23508 6945 0,'80'-13'0,"-54"26"16,-13-13-16,-13 14 15,14 12-15,-14-13 0,0 0 16,0 14-16,0-14 0,-27 27 15,1 0-15,12-27 16,-12 0-16,-1 13 0,14-12 16,0-1-16,0-13 0,0 0 0,13 13 15</inkml:trace>
  <inkml:trace contextRef="#ctx0" brushRef="#br0" timeOffset="39245.75">23786 6839 0,'-26'27'16,"-14"66"0,27-67-16,-1 14 15,-12 39-15,0 0 0,26-39 16,-14-13-16,14-1 0,0 14 15,14-1 1,-14-12-16,13-1 16,0-26-16,0 0 0,-13 14 0,13-14 15,1 0-15</inkml:trace>
  <inkml:trace contextRef="#ctx0" brushRef="#br0" timeOffset="39457.92">23905 7078 0,'0'-14'0,"0"54"16,-13-13-16,13-14 16,-13 0-16,-1 27 15,1 13-15,13-27 16,-13 0-16,13-12 0,-13-1 15,-1 13 1</inkml:trace>
  <inkml:trace contextRef="#ctx0" brushRef="#br0" timeOffset="39878.25">23852 7183 0,'53'-39'0,"-40"39"15,1 0-15,-14 13 16,0 0-16,-14 14 16,14-14-1,0 0 1,0 0-16,0 1 16,0-1-16,14 0 0,-14 0 15,0 0-15,0 1 0,0-1 16,0 13-16,0-12 15,-14-14-15,14 13 0,-13 0 16,-13 0-16,12 1 16,-12-1-16,13-13 31,-1-13-31</inkml:trace>
  <inkml:trace contextRef="#ctx0" brushRef="#br0" timeOffset="40667.83">24143 7157 0,'-13'0'16,"0"0"-16,-14 40 16,27-27-1,0 0-15,-13 0 16,13 1-16,0-1 15,13 0 1,-13 0-16,14-13 16,-1-13 15,0 0-15,-13 0-1,13 13-15,-13-14 16,13 14-1,1-13-15,-1 13 16,-13 13 0,13-13-1,-13 14-15,13-1 32,-13 0-17,27-26 16,-14 13-31,-13-13 0,13 13 16,1 0 0,-1-14-16,0 28 31,0-14-15,0 0-1,14 0 1</inkml:trace>
  <inkml:trace contextRef="#ctx0" brushRef="#br0" timeOffset="41382.85">24487 7131 0,'0'-14'16,"-13"41"-1,13-14-15,-13-13 16,13 13-16,0 0 15,-13 1 1,-1-1 0,14 0-1,-13-13-15,0 13 16,0-13-16,13 14 16,-14-14-16,14 13 0,14 0 31,-1-13 0,0 0-31,0 0 16,1 0-16,-1 0 15,0 0 1,0 0 0,0-13-16,1 13 31,-14-13-16,13-1 17,-13 1-1,0 0-15,0 0-1,0-14 1,0 14-1,0-13-15,0-1 16,13 14-16,-13 0 0,0-14 0,0 14 16,0 0-16,13-14 15,-13 14-15,0 0 0,-13 39 47,0 1-47,0-1 0,13 1 16,-14-14-16,14 13 0,0-12 15,0 12-15,-13-13 0,13 27 16,0-27-16,0 27 16,0-27-16,13 13 15,-13-12-15,14-1 16</inkml:trace>
  <inkml:trace contextRef="#ctx0" brushRef="#br0" timeOffset="41815.05">24739 7091 0,'-14'13'16,"14"0"-16,-13 14 15,13-14-15,0 13 16,-13 1 0,13-14-16,0 0 15,13-39 17,-13 13-32,27-27 15,-1-13 1,-26 40-16,13 0 15,0-1-15,1 1 0,-1 0 16,0 13-16,0 26 16,-13-12-1,0-1-15,0 0 16,0 0-16,0 1 0,0-1 16,0 0-16,0 0 0,0 0 15,0 1-15,0-1 16,0 0-16</inkml:trace>
  <inkml:trace contextRef="#ctx0" brushRef="#br0" timeOffset="41972.95">24752 7197 0,'-13'-14'0,"39"14"31,0 0-15,-12 0-16,-14-13 0,13 13 0,0 0 16,-13-13-16</inkml:trace>
  <inkml:trace contextRef="#ctx0" brushRef="#br0" timeOffset="42254.82">25003 6866 0,'13'-13'15,"-26"26"-15,40-26 0,-14 13 16,-13 13-16,13-13 0,0 13 0,0 0 16,14 40-1,-14-26-15,0-14 0,1 13 0,-14 27 16,13-13-16,-26 0 15,13-14-15,-14-13 16,14 14-16,-13-14 0,0 14 0,0-14 16,13 13-16,-40 1 15,14 12-15,12-25 16,-12 12-16,13-13 16</inkml:trace>
  <inkml:trace contextRef="#ctx0" brushRef="#br0" timeOffset="42601.7">23773 7673 0,'198'-27'15,"-145"27"-15,13 0 16,0 0-16,80-13 0,-14 0 16,14 0-16,-80 13 15,0-13-15,40-1 16,-53 14-16,13-13 0,-40 13 15,-12 0-15,-1 0 0,0 0 16,-26 13 0,0 1-16,-14-1 0</inkml:trace>
  <inkml:trace contextRef="#ctx0" brushRef="#br0" timeOffset="43126.85">24262 8096 0,'-13'27'15,"13"-14"1,-13 0-16,13 14 0,0 12 16,-13-12-16,13-1 0,0-13 15,-14 14-15,14-14 0,0 0 16,0 14-16,0-14 0,0 0 0,0 1 16,-13-1-16,13-40 31,0 14-31,0 0 15,0-14-15,0 1 0,0-14 16,13 1-16,1-1 0,-14 0 0,26-26 16,-13 40-16,14-14 15,-27 27-15,13-1 0,0 14 16,14-13-16,-1 13 16,-13 13-16,1 1 15,-14-1-15,0 0 16,-14 14-16,14-14 0,-13 0 15,0 13-15,-14-12 0,14-1 0,-13 13 16,13-26-16,-1 14 16,1-1-16,0-13 0,0 0 0,13 13 15</inkml:trace>
  <inkml:trace contextRef="#ctx0" brushRef="#br0" timeOffset="43360.49">24540 7938 0,'-13'39'15,"0"-26"1,-1 1-16,1 12 0,0 27 16,0 0-16,0-27 15,13 1-15,0-14 0,0 40 16,13-27-16,-13-12 0,13-1 15,-13 0-15,13 0 0,-13 1 16,27-1-16,-27 0 0,13-13 16,0 0-16,14-13 0,-14 0 15</inkml:trace>
  <inkml:trace contextRef="#ctx0" brushRef="#br0" timeOffset="43582.61">24725 8070 0,'-13'26'32,"0"-13"-32,13 1 15,-13-1-15,13 13 16,-14 1-16,14-1 0,0-12 16,-13-1-16,13 0 0,0 13 0,-13-12 15,13-1-15,0 0 16,0 0-16,0 1 15,26-28 1</inkml:trace>
  <inkml:trace contextRef="#ctx0" brushRef="#br0" timeOffset="44051.18">24686 8070 0,'53'-13'16,"-40"13"-16,-13 13 0,13-13 16,0 13-1,-26 13 1,13-12-16,-13-14 0,13 13 16,0 0-1,0 0-15,13 1 16,0-1-16,-13 0 15,13 14-15,-13-14 16,0 0-16,0 0 16,0 0-16,0 1 0,-13-1 0,13 0 15,-13-13-15,13 13 16,-26 1-16,-1-14 16,14 0-1,0 0-15,13-14 16,-14 1-16</inkml:trace>
  <inkml:trace contextRef="#ctx0" brushRef="#br0" timeOffset="44529.65">25069 7779 0,'27'26'16,"-14"-13"-16,0 1 0,0-1 0,1 27 15,-1-14-15,0 1 0,-13 12 16,13 1-16,-13-14 0,-13 14 16,0 0-16,-14 39 0,14-39 0,-13-1 15,-1-12-15,1-1 0,-1 1 16,1-1-16,-27 14 0,27-27 16,-14-13-16,13 13 0,1-26 15</inkml:trace>
  <inkml:trace contextRef="#ctx0" brushRef="#br0" timeOffset="45406.26">22119 7408 0,'-13'186'16,"13"-81"0,-13-52-16,13 0 0,0 0 15,0 13-15,13 67 0,40 39 16,-40-106-1,14-13-15,65 79 16,-26-53-16,-13-52 0,27 12 16,-28-25-16,1-1 15,0-13-15,0 0 0,27 0 0,12-13 16,-12-1-16,92-12 0,-93 26 16,14-13-16,-14-1 0,0 1 15,-13 0-15,80 0 0,-93 0 16,0 13-16,26-14 0,-39 1 15,0 13-15,-1-13 0,-12 0 16,12 13-16,-12-14 16,-14 1-16,14 0 15,-14 13-15,-13-13 0,13 13 16,-26-13 0,0-1-1,-1 14-15</inkml:trace>
  <inkml:trace contextRef="#ctx0" brushRef="#br0" timeOffset="45700.96">23839 8215 0,'79'40'15,"-65"-14"-15,-1-12 16,13 12-16,1 27 16,-14-13-16,-13-27 0,0 13 15,-27 27-15,14-13 0,-13-14 16,-14 14-16,0-13 0,1 12 0,-1-25 15,-66 52 1,67-66-16</inkml:trace>
  <inkml:trace contextRef="#ctx0" brushRef="#br0" timeOffset="49850.72">21868 6456 0,'13'-13'16,"-13"-1"-16,13 28 31,-13 25-15,14-25-16,-14 12 16,0-13-16,13 0 0,-13 14 0,13 13 15,-13-27-15,13 27 16,0-14-16,-13 0 15,0-12-15,14-1 16,-14 0-16,0 0 0,0 1 16,-14-1-16</inkml:trace>
  <inkml:trace contextRef="#ctx0" brushRef="#br0" timeOffset="50147.82">21828 6747 0,'13'53'32,"-13"-40"-32,14 0 15,-14 0-15,13-13 0,0 14 16,14-14-16,-14 0 0,0 0 15,13-14-15,1 1 16,-1-13-16,-12 13 16,12-1-16,-13 1 15,0 0-15,1 0 16,-1 13-16,0-14 0,0 1 16,1 13-16</inkml:trace>
</inkml:ink>
</file>

<file path=ppt/ink/ink17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4:22:45.565"/>
    </inkml:context>
    <inkml:brush xml:id="br0">
      <inkml:brushProperty name="width" value="0.05292" units="cm"/>
      <inkml:brushProperty name="height" value="0.05292" units="cm"/>
      <inkml:brushProperty name="color" value="#0070C0"/>
    </inkml:brush>
  </inkml:definitions>
  <inkml:trace contextRef="#ctx0" brushRef="#br0">3797 3162 0,'1561'-93'110,"-3122"186"-110,3214-186 15,-1613 93-15,0 13 16,-27-13-16</inkml:trace>
  <inkml:trace contextRef="#ctx0" brushRef="#br0" timeOffset="268.57">4114 3334 0,'53'0'16,"13"0"0,-26 0-16,53-13 0,12 13 15,-52 0-15,0-14 16,93 1-16,-14 13 16,-105 0-16,-1-13 15,0 13-15,-12 0 0,25 0 16,-25 0-16,-1 0 15,0 0-15,0 0 16</inkml:trace>
  <inkml:trace contextRef="#ctx0" brushRef="#br0" timeOffset="3210.33">7461 4075 0,'-13'0'0,"79"0"31,-26 13-31,79 0 16,26 0-16,1 1 15,-80-14-15,13 13 0,1-13 16,-1 13-16,67 0 16,-1 0-16,-39-13 15,-53 14-15,26-1 16,-39-13-16,13 0 15,-27 13-15,1-13 0,-14 0 16,0 0-16,1 13 0,-1-13 16,0 0-16,0 0 15,1 0 1,-14-13 0,13 13-16,-13-13 15</inkml:trace>
  <inkml:trace contextRef="#ctx0" brushRef="#br0" timeOffset="15812.2">13507 3479 0,'0'-13'16,"0"0"0,0 0-1,-13 52 32,13-26-47,13 1 0,-13-1 0,0 0 16,0 0-16,0 1 15,0 12-15,0 1 0,0 12 16,0 14-16,0-26 0,0-1 16,0 67-1,0-67-15,0 67 16,0-67-16,0 1 0,0-1 16,0 14-16,0-14 15,13-12-15,-13-1 0,0 13 16,0 1-1,0-14-15,0 0 16,0 0-16,0 1 31,0-1-31,13-13 47,1 0-31,-1 0-1,0 0 32,0 0-31,1 0-16,-1 0 16,0 0-1,0 0-15,0-13 16,14 13-16,-14 0 15,14-14-15,-1 14 16,1 0-16,-1-13 16,-13 13-16,27 0 15,-14 0-15,1-13 16,-1 13-16,1 0 16,-14 0-16,13 0 15,1 0 1,-14 0-16,14-13 0,-14 13 15,0 0-15,14 0 0,-14 0 16,0 0-16,27 0 0,-1-14 16,14 14-16,-26 0 15,-1-13-15,14 13 16,-14 0-16,14 0 16,-27-13-16,40 13 0,-40 0 15,40 0 1,-13 0-16,-27 0 0,14 0 15,12 0-15,-25 0 16,39-13 0,-27 13-16,14 0 0,-14 0 15,1 0-15,25-13 16,15 13 0,-28 0-16,14 0 15,-26 0-15,12 0 16,41 0-1,-1 0 1,-52-14-16,39 14 16,-40 0-16,27 0 15,-26 0-15,-14 0 16,66 0-16,-13 0 16,-13 0-16,-26 0 15,-1 0-15,67 0 16,-67 0-16,1 0 15,52-13-15,-26 13 16,-13 0-16,-27 0 16,27 0-16,26-13 0,-13 13 15,-27 0-15,14 0 16,-14 0-16,1 0 0,12 0 16,1 0-16,13 0 15,-13 0-15,-27 0 16,27 0-16,-1 0 15,-25 0-15,25 13 16,-12-13-16,-14 0 16,27 0-1,-14 13-15,14-13 16,-27 0-16,0 0 16,0 14-16,14-14 15,13 0-15,-14 0 16,-13 0-16,14 0 15,12 0 1,-12 13-16,-1-13 16,-12 0-16,12 0 15,-13 0-15,27 0 16,-27 0-16,0 0 16,1 0-16,12 13 0,1-13 15,-14 0 1,13 0-16,-13 0 0,1 0 15,12 0-15,1 0 16,-1 13-16,14-13 16,-27 0-16,0 0 15,0 0-15,27 13 0,-13-13 16,12 0-16,1 14 16,-14-14-16,14 0 15,-13 13-15,-14-13 16,53 0-16,-26 0 15,-14 0-15,-13 13 16,14-13-16,-14 0 0,40 0 16,-13 0-16,13 0 15,-27 13-15,27-13 16,-27 0-16,1 0 0,92 14 16,-66-14-1,-27 0-15,40 0 16,-26 0-16,13 13 15,0-13-15,0 0 16,-27 0-16,1 0 16,52 0-16,-26 13 15,13-13-15,-39 0 16,65 0 0,-65 0-16,12 13 0,54-13 15,-67 0-15,1 0 16,-1 0-16,1 0 0,39 0 15,-13 13-15,39-13 16,-39 0-16,-26 14 16,26-14-1,13 0-15,13 13 16,-52-13-16,-14 0 16,13 0-16,54 0 15,-14 0 1,-26 0-16,-27 0 15,27 0-15,-14 0 16,0 0-16,-12 0 0,12 0 16,1 0-16,-14 0 15,0 0-15,27-13 16,-27 13-16,0 0 16,0 0-16,14 0 0,-14 0 15,0 0-15,14 0 16,-1 0-1,-12 0-15,12 0 16,-13 0-16,0 0 0,1 0 16,-1 0-16,27 0 15,-14 0-15,-13 0 16,1 0-16,12-14 16,0 14-16,14 0 15,-13 0-15,-14 0 0,0 0 16,53-13-1,-39 13-15,-1 0 16,-13 0-16,1 0 16,12 0-16,0 0 15,-12 0-15,-1 0 16,0 0-16,0 0 0,1 0 16,-1 0-16,0 0 15,14-13-15,-14 13 31,13 0-31,-13-13 16,1 13 0,-1 0-16,-13-13 15,13 13-15,0 0 16,1-14 0,-1 14-1,-13-13-15,13 13 16,0-13-16,0 0 15,1-1 1,-14 1-16,13 13 0,0-26 16,-13 13-16,13-14 15,-13 14-15,14 0 16,-14-1-16,0-12 0,0 13 16,13-1-16,-13 1 15,0 0-15,0-13 16,13-14-16,-13 27 15,0-1-15,0 1 16,0 0-16,0-14 16,0 1-1,0 13-15,-13 0 16,13-1-16,0 1 16,0-13-16,-13-14 15,13 27-15,-14-14 16,14 1-1,-13-1-15,13 14 0,0-27 16,-13 14-16,13 13 16,0-1-16,0 1 0,-13-13 15,13 13-15,-14-14 16,1 27 0,13-13-16,-26 0 15,13 13 1,-1-14-16,-12 14 15,13 0-15,13-13 0,-27 13 16,14 0-16,-13 0 16,12 0-16,1 0 15,0 0-15,0 0 16,-14 0-16,-13 13 16,27-13-1,0 0-15,-27 0 16,14 0-16,-14 0 15,0 14 1,27-14-16,0 0 0,-40 0 16,27 0-1,-27 0-15,40 0 16,-14 13-16,-26-13 16,27 0-16,-40 0 15,39 0 1,-13 0-1,-13 0 1,40 13-16,-40-13 0,40 0 16,-27 0-1,-13 0-15,27 0 16,13 0-16,-14 0 0,1 0 16,13 0-1,-14 0-15,-13-13 16,-12 13-16,25 0 15,1 0-15,-1 0 16,-26-13 0,0 13-16,40 0 15,-13 0-15,-1-14 0,1 14 16,-27 0 0,13-13-1,0 13 1,14 0-16,13 0 0,-27 0 15,27 0-15,-53 0 16,39 0 0,-12 0-16,12-13 15,14 13-15,-27 0 16,1 0 0,25 0-16,-39 0 15,0 0-15,14 0 16,26 0-16,-27-13 15,27 13-15,-27 0 16,0 0-16,27 0 0,-13-13 16,-1 13-16,-13 0 15,14 0-15,-27 0 16,-13-14-16,-27 14 16,1-13-16,39 13 15,26 0 1,-39-13-16,40 13 15,-14 0-15,14 0 0,-41-13 16,41 13 0,0 0-16,-94-14 15,81 14-15,-14 0 16,0 0 0,13 0-16,27 0 15,-53 0-15,0-13 16,-14 13-1,54 0-15,-67 0 16,40-13-16,14 13 16,-160 0-1,173 0 1,-67 0-16,14-13 16,66 13-16,-40 0 15,-13 0 1,39 0-16,-79 0 15,40 0-15,13 0 16,0 0 0,-26 0-16,-1 0 15,54 0 1,-67 0-16,-52 13 16,66-13-1,39 0-15,-26 0 16,26 0-16,-13 0 15,0 0-15,-26 0 16,-1 0 0,14 0-1,-26 0-15,-1 13 16,27-13 0,13 0-1,0 0-15,27 0 0,-1 0 16,-13 0-16,14 0 15,13 0-15,0 0 16,-14 0-16,14 0 0,-27 13 16,14-13-16,12 0 15,1 0-15,-26 0 16,-1 0-16,27 0 0,-40 0 16,13 0-1,14 0-15,12 0 16,1 0-16,-13 0 0,-1 0 15,1 0 1,13 0-16,-14 0 16,1 0-16,12 0 0,1 0 15,-27 0-15,27 0 0,-26 0 16,12 0-16,-26 0 16,40 0-16,-27 0 15,-13 14 1,40-14-16,-13 0 0,-14 0 15,27 0 1,-14 0-16,1 0 16,13 13-1,-14-13-15,1 0 16,12 0-16,-12 0 31,0 13-31,-1-13 16,1 0-1,12 0-15,1 13 16,0-13-16,-14 0 0,14 0 16,-13 0-1,-1 14-15,14-14 16,0 0 0,0 13-16,-1-13 15,1 0 1,0 0-16,0 13 31,-1-13-31,1 0 16,0 0-1,0 0-15,13 13 16,-13-13 0,-1 0-16,1 0 15,0 0 1,0 0-1,13 13 1,-14-13 0,1 14-1,0-1 1,0-13 0,0 13-1,13 0-15,-14 1 16,1-1-1,0 0 1,13 0 0,0 0-16</inkml:trace>
  <inkml:trace contextRef="#ctx0" brushRef="#br0" timeOffset="34512.25">4008 5265 0,'-13'0'0,"53"0"31,-27 0-31,27 0 0,26 0 0,-13 0 16,0 0-16,26 0 16,80-13-16,13 0 15,0 0-15,-80 13 16,-12-14-16,92 1 0,-53 13 16,-26-13-1,-54 13-15,14 0 0,-26 0 16,-14 0-16,0 0 0,27 13 15,-14-13 1</inkml:trace>
  <inkml:trace contextRef="#ctx0" brushRef="#br0" timeOffset="35823.08">9379 5239 0,'27'0'32,"26"13"-1,-27-13-31,1 13 0,-1-13 0,67 13 16,-53-13-16,12 14 15,54-14-15,13 13 16,27 0-1,-80-13-15,66 13 0,-66-13 16,1 0-16,-14 0 0,118 14 16,-51-14-1,-68 0-15,1 0 0,0 0 0,53 0 16,-53 0-16,53 0 16,-66 0-16,79 0 15,-80 0-15,-12 13 0,12-13 16,81 0-1,-94 0-15,0 0 0,27 0 16,0 0 0,0 0-16,-26 0 0,26 0 15,-27 0-15,0-13 0,14 13 0,-13 0 16,12 0 0,-12 0-16,-1 0 0,27 0 15,-40 0-15,14 0 0,13 0 16,-14 0-16,-13 0 15,0 0-15,14 0 0,-14 0 0,0 0 16,1 0-16,-1 13 16</inkml:trace>
  <inkml:trace contextRef="#ctx0" brushRef="#br0" timeOffset="36513.06">13811 4617 0,'0'26'15,"13"14"-15,1 39 16,-14-26-16,13 40 16,0-40-16,-13 0 0,0-13 0,13 12 15,-13-12-15,0 66 16,14-93-16,-14 14 16,0 12-16,0-12 0,13-14 15,0-39 1,-13 12-1,0 1-15,0-13 16</inkml:trace>
  <inkml:trace contextRef="#ctx0" brushRef="#br0" timeOffset="37468.44">13811 4498 0,'13'0'0,"1"0"16,-1 0-16,0 0 0,14 0 15,-1 0-15,1 0 0,52-13 16,-26 13-16,0 0 0,0 0 15,13-14-15,13 14 0,1 0 16,78-13-16,-78 13 0,-1-13 16,0 13-16,14 0 0,79-13 15,-93 13-15,1 0 0,-1 0 16,1 0-16,-1 0 0,0 0 0,80 0 16,-40 0-16,0-13 15,-53 13 1,-13 0-16,66 0 0,-13 0 15,-53 0-15,0-14 0,0 14 16,0 0-16,-27 0 16,14 0-16,13 0 0,-27 0 15,1-13-15,26 13 0,-14 0 16,-25 0-16,12 0 0,-13-13 16,1 13-16,-1 0 0,26 0 15,-25 0-15,-1 0 16,0 0-16,0 0 15,1 13 1,-1 0 0,0 1-1,-13-1-15,13 0 0,-13 0 0,13 0 16,1 14-16,-1-1 0,0-12 16,-13 12-16,13 1 0,1 39 15,-1-27-15,0 27 16,-13-39-16,13 26 0,1-13 15,-14-1-15,13 27 16,0-39-16,-13-1 0,0 1 16,13 12-16,0 1 15,-13-13-15,0-14 0,0 0 0,0 0 16,14 1-16,-14 12 16,-14-13-16,1 0 15,0-13 1,-13 14-16,12-14 0,-12 0 15,-1 13-15,-12-13 0,-1 13 0,0-13 16,-13 13-16,1-13 0,-15 14 16,-12-14-16,13 13 0,-14 0 15,14-13-15,-13 13 0,-14 1 0,1-14 16,-1 13-16,-13 0 0,14-13 16,-14 13-16,-26 0 0,-93 1 15,39-1-15,107-13 0,-133 26 16,159-26-1,14 0-15,-1 0 0,14 0 0,-1 0 16,-12 0-16,12 0 16,14 0-16,0 0 0,-1 0 0,1 0 15,-13 0-15,12 0 16,1 0-16,13-13 16,-13 13-1</inkml:trace>
  <inkml:trace contextRef="#ctx0" brushRef="#br0" timeOffset="44983.84">2011 6152 0,'-13'0'16,"-1"0"-16,41 13 62,-14-13-62,14-13 0,-14 13 0,79 0 16,27 0 0,-66 0-1,0 0-15,132-14 16,-39 1-16,79 0 16,-159 0-16,13-1 15,1 14-15,-14-13 0,13 0 16,-13 0-16,14-1 0,-14 1 15,13 0-15,-13 0 0,1 0 0,-1 13 16,0-14-16,-13 1 0,0 13 0,-14-13 16,14 13-16,-13-13 0,-13 13 15,12 0-15,-26 0 0,14 0 0,-1-14 16,1 14-16,-14 0 0,0 0 16,0 0-16,1 0 0,12-13 15,-13 13 1,1 0-1,-1 0 17,0 0 93,-39 0 187,26 13-312,-14-13 0,-12 14 16</inkml:trace>
  <inkml:trace contextRef="#ctx0" brushRef="#br0" timeOffset="48080.06">3691 6125 0,'13'13'32,"0"53"-17,1-39-15,-1-1 0,0 14 16,0-13-16,14 12 0,-14 1 0,13-14 15,-12 14-15,12 0 0,54 66 16,-54-80-16,14 14 16,-14-14-16,14-13 0,-14 14 0,1-1 15,-1-12-15,14 12 0,-14-13 16,14 0-16,0 1 0,-14-1 16,1-13-16,-1 0 0,14 13 0,-14-13 0,14 0 15,0-13-15,-1 13 0,14-13 16,-13-1-16,79-25 15,-66 26-15,0-14 0,-14 14 0,14-14 16,-13 1-16,0 0 16,-1 12-16,1-12 0,-13-1 0,39-26 15,-40 27-15,14 13 0,-14-27 16,1 14-16,-1-1 0,1 1 16,-1-1-16,-13 14 0,14-13 0,-1-14 15,-12 27-15,-14-1 0,13 14 16,-13-13-16,13 0 15,-13 0-15,13 13 0,-13-14 16,0 1-16,0 0 31,-13 13-15,13-13 0</inkml:trace>
  <inkml:trace contextRef="#ctx0" brushRef="#br0" timeOffset="48470.83">5358 6059 0,'26'0'47,"-12"0"-47,-1 0 0,0 0 0,0 0 16,14 0-1,-14-13-15,0 13 0,0 0 0,1 0 16,-1 13-16,0-13 15,0 0-15,-13 13 0,13-13 0,1 13 16,-14 1-16,13-1 0,-13 0 16,13 0-16,-13 1 0,0 25 15,0-26-15,0 1 0,0 12 0,0-13 16,0 14-16,0-14 0,0 0 16,0 1-16,0-1 0,0 0 0,0 0 15,0 0-15</inkml:trace>
  <inkml:trace contextRef="#ctx0" brushRef="#br0" timeOffset="50606.82">4617 6032 0,'-26'-13'16,"12"26"0</inkml:trace>
  <inkml:trace contextRef="#ctx0" brushRef="#br0" timeOffset="54407.59">7673 7633 0,'26'-13'16,"14"13"-1,-27 0-15,14 0 0,39-13 16,-26 0-1,-14 13-15,27 0 16,-40 0-16,0 13 16</inkml:trace>
  <inkml:trace contextRef="#ctx0" brushRef="#br0" timeOffset="54602.87">7660 7898 0,'0'13'0,"13"0"16,0-13-16,14 0 16,-14 14-16,0-14 15,14 0-15,-1 0 0,-13 0 0,14 0 0,-1 0 16,-13 0-16,14 0 0,-14 0 16,0 0-16,1 0 0,-1 0 15,13 0-15,-13 0 0,1-14 0,12 1 16</inkml:trace>
  <inkml:trace contextRef="#ctx0" brushRef="#br0" timeOffset="69351.63">12409 3612 0,'-13'-14'31,"-1"1"-31,1 0 16,0 0-1,0 13-15,13-14 16,-13 14-16,-14-26 15,-13-1 1,27 14-16,-40 0 16,40 0-16,0 0 0,-27-1 15,14 14-15,12 0 0,-12-13 16,13 13-16,-14 0 0,14-13 0,-13 13 16,-1 0-16,-26 0 15,27 0-15,-27 13 0,26-13 16,1 13-16,-14-13 0,-39 14 15,52-1-15,1-13 16,-67 26-16,67-26 16,-1 13-16,14-13 0,-13 14 0,-1-14 15,1 13 1,-1 0-16,14-13 0,-27 27 16,27-14-16,0 0 0,0 0 15,0 1-15,13-1 0,-40 40 16,40-27-16,-13 1 15,13-1-15,-14-13 0,14 14 0,-13-1 16,13 1-16,-26 65 16,26-65-16,0-1 0,0-13 15,0 14-15,0-1 0,0 1 0,0-14 16,13 66 0,13-39-16,-26-13 0,14-1 15,12 0-15,-13 1 0,1-14 0,38 27 16,-25-14-16,39 1 15,-53-14 1,14 0-16,-14 0 0,13-13 0,1 14 16,-14-1-16,14-13 0,26 13 15,-40-13-15,0 0 16,13 0-16,-12 0 0,-1 0 16,40 0-16,-40 0 15,14-13-15,-14 13 0,26-13 16,-12 13-16,-14 0 0,0-14 15,14 14-15,-14-13 0,13 13 0,-12-13 16,-1 13-16,0-13 0,14 13 16,-14-13-16,0 13 0,0-14 15,1 1-15,38 0 16,-38 0-16,-14-1 0,13 14 0,0-13 16,14-13-16,-14 12 15,0 14-15,0-13 0,-13 0 0,14 0 16,-1 13-16,-13-13 0,13-1 0,-13 1 15,26 0-15,-26 0 16,14 13-16,-14-14 0,26-12 16,-26 13-16,13 0 0,-13-1 15,14-12 1,-1 13-16,-13-1 0,13 1 16,-13 0-16,0-14 0,13 14 0,-13 0 0,0-13 15,0-27 1,13 26-16,-13 14 0,0-14 15,0 14-15,0-13 0,-13 13 0,13-14 16,-13-26 0,13 40-16,0-14 0,-13 14 0,13 0 15,-13 0-15,13-14 0,-14 14 16,14 0-16,-13-14 16,13 14-16,0 0 0,0 0 0,0-1 15,0 1-15,0 0 0</inkml:trace>
  <inkml:trace contextRef="#ctx0" brushRef="#br0" timeOffset="71690.96">10623 7699 0,'0'-13'15,"0"0"1,0 0-1,-26 13-15,12 26 16,1-26 0,-13 40-1,12-14-15,14 1 0,-13-14 0,13 13 16,-13 1-16,13-1 0,0-12 16,0 12-16,13 27 15,-13-27-15,13-12 0,-13-1 0,14 0 16,-1 0-16,0-13 0,0 14 15,1-14-15,-1 0 0,26 0 16,-25 0-16,-1 0 0,0-14 16,0 14-16,1-13 0,-14 0 15,39-53 1,-39 53 0,0-14-16,-13 14 0,0-40 15,0 40-15,-1-1 16,-12 1-16,13 0 0,-1 0 15,1 0-15,0 13 0,-13-27 16,12 27-16,1 0 16,0 0-1,0 0-15,13 13 16</inkml:trace>
  <inkml:trace contextRef="#ctx0" brushRef="#br0" timeOffset="71881">10980 7977 0,'-13'0'0</inkml:trace>
  <inkml:trace contextRef="#ctx0" brushRef="#br0" timeOffset="72495.92">11311 7792 0,'53'-26'0,"-40"26"0,27 13 16,-27 0-16,0-13 0,-13 13 15,13 27 1,-13-27-16,0 0 0,0 1 0,0-1 16,-13 0-16,13 0 0,0 1 0,-13-14 15,13 13 1,0 0-16,13-13 16,14 0-1,-1 13 1,-13-13-16,1 0 0,-14 13 15,13-13-15,0 0 0,0 14 0,1-14 16,-14 13 0,0 13-16,-14-12 15,1-1-15,13 0 0,-26-13 16,12 13-16,1 0 0,-40 14 16,40-27-1,0 0 1,0 0-16,13-13 15</inkml:trace>
  <inkml:trace contextRef="#ctx0" brushRef="#br0" timeOffset="73248.2">11893 7818 0,'26'-13'0,"-52"26"47,-14 1-32,27-1-15,0-13 0,13 13 16,-40 0 0,27 1-16,26-1 15,-13 0 1,13-13-16,40 27 15,-39-27-15,-1 13 0,53 13 16,-26 1 0,-27-1-1,-26 14 1,-1-40 0,-25 26-16,25-13 0,-52 14 15,53-27-15,0 13 16,0-13-16,-1 0 0,1 0 15,0 0-15</inkml:trace>
  <inkml:trace contextRef="#ctx0" brushRef="#br0" timeOffset="74358.84">13269 7686 0,'-53'0'16,"40"0"-16,-27 66 0,14-39 0,-1-1 15,14 1-15,-14-1 0,14 1 0,-26 39 16,25-40-16,1-13 16,0 14-16,0-14 0,-1 0 0,1 14 15,0-27-15,13 13 0,0 0 0,-13 0 16,-1 1-16,1-1 31,13 0-31,-13 0 31,0-13 32,13 14 15,13-14 31,-26 26-93,0 1-16,-14-1 16,1 27-16,-1-13 0,-13 13 0,1-1 15,-27 28-15,13-1 0,-13 1 16,-1-1-16,-65 93 15,53-93-15,-1 1 0,14-1 0,0-13 0,0 14 16,-80 92 0,94-133-16,12 14 0,13-13 15,-12 0-15,25-1 0,-12-12 0,13-1 16,0 1-16,-1-14 0,1 0 0,0 0 16,0 0-1</inkml:trace>
  <inkml:trace contextRef="#ctx0" brushRef="#br0" timeOffset="76686.81">16404 6204 0,'80'0'0,"52"-13"15,-66 13-15,93 0 0,-67-13 16,1 13-16,0 0 0,118 0 15,-79-13-15,-26 13 0,27 0 16,-28 0-16,266-13 16,-279 13-16,14 0 0,-13 0 0,0-14 15,-14 14-15,13 0 16,-25 0-16,105 0 16,-133-13-16,-12 13 0,26 0 15,-27 0-15,-13 0 0,1 0 16,-1 0-16,0 0 0,0 0 0,1 0 15,-1 0-15,0 0 16,0 0 0</inkml:trace>
  <inkml:trace contextRef="#ctx0" brushRef="#br0" timeOffset="81116.78">5847 6112 0,'14'-13'31,"38"-1"-15,-12 1-1,0 13-15,-27-13 16,53 13-1,-53 0-15,14-13 0,-14 13 0,0 0 16,1 0-16,-41 26 31,-13-26-15,14 13 0,13-13-16,-1 0 0,1 0 0,0 14 15,53-28 32,-14 14-31,-13 0-1,1 0 1,-41 14 0,27-1-1,-13-13-15,0 0 0,-1 13 16,1-13-1,0 0 1,39 13 62,-12-13-62</inkml:trace>
  <inkml:trace contextRef="#ctx0" brushRef="#br0" timeOffset="82050.78">19103 6112 0,'26'13'16,"-12"-13"-16,-1 0 0,13 0 16,-12 0-1,-54 0 32,27 0-47,-14 13 16,14-13-16,0 0 15,-1 0-15,54-13 32,-13 13-17,-27-13-15</inkml:trace>
  <inkml:trace contextRef="#ctx0" brushRef="#br0" timeOffset="86266.3">1349 4207 0,'27'0'15,"-14"0"1,53 13-16,-26 0 16,-14-13-16,41 14 15,-41-14-15,14 0 16,-14 0-16,14 0 0,-14 0 0,14 0 0,39 0 15,-26-14-15,-13 14 16,-14-13-16,14 0 0,0 13 0,-14-13 16,1-1-16,-14 1 0,27 0 15,-14 0-15,-13 0 16,0 13-16,1-14 0,-1 1 0,27-27 16,-27 27-16,0 0 15,0 0-15,-13-1 16,14 1-16,-14 0 0,13 0 0,-13 0 15,0-1-15,13 1 0,-13 0 16,13-27-16,-13 27 16,0 0-16,0-1 0,0 1 0,13 0 15,-13 0 1,0 0-16,0-1 0,0 1 0,0-13 16,0 12-16,0 1 0,-13 13 15,13-13-15,0 0 16,-13-1-16,-13-25 15,12 26-15,1-1 0,13 1 0,-13 0 16,0 13-16,-40-40 16,39 27-16,-12 0 0,-27-14 15,40 27-15,0-13 16,-14 13-16,14-13 0,0 13 16,-14 0-16,14-13 0,-40-1 15,40 14-15,-14 0 16,14 0-16,0 0 0,0 0 0,-27 0 15,27 0 1,0 0-16,-1 0 0,1 0 16,0 0-16,0 0 0,-14 0 0,14 0 15,0 0-15,0 14 0,-1-14 0,1 0 16,0 13-16,0-13 0,-14 13 16,14-13-16,-27 13 15,27-13-15,13 13 0,-13-13 16,0 0-16,-1 14 0,1-14 15,0 0-15,13 13 0,-13-13 0,-1 0 16,1 13-16,0-13 0,13 13 0,-13-13 16,0 0-16,-1 14 15,1-14-15,13 13 0,-13-13 0,-14 13 16,27 0-16,-13 1 0,0-14 16,0 13-16,-1 0 15,-12 13-15,13-26 16,0 14-16,-1-1 0,1 13 15,13-12-15,0-1 16,-13 0-16,13 0 0,0 14 16,0-1-16,0-13 0,0 14 0,0-14 15,0 14-15,0-1 16,13 1-16,0 65 16,14-26-16,-1-13 15,-13-13-15,14-14 0,-1 1 16,14-1-16,39 14 0,-39-14 15,53 1-15,-54-14 0,14-13 16,0 13-16</inkml:trace>
  <inkml:trace contextRef="#ctx0" brushRef="#br0" timeOffset="87451.48">12502 9036 0,'26'-14'15,"-13"14"-15,27-13 16,-14 13-16,-12 0 16,-1 0-16,0 0 0,0-13 0,1 13 15,-1 0-15,0 13 0,13 0 16,-26 1 0,14-1-16,-14 0 0,0 0 0,0 14 0,0-14 15,13 13-15,-26 41 16,13-15-16,0-25 15,0-14-15,0 14 0,0-1 0,0-13 16,0 14-16,0-14 16,0 0-16,0 0 0,13 27 15,-13-27-15,13-13 16,-13 14-16</inkml:trace>
  <inkml:trace contextRef="#ctx0" brushRef="#br0" timeOffset="87661.22">12422 9393 0,'40'-27'0,"-14"27"16,-12-13-16,25 13 0,-12-13 0,-1 13 15,14-13-15,-14-1 16,14 1-16,-14 0 0,14 0 0,-13-1 0,12 1 16,-12 0-16,-1 0 0</inkml:trace>
  <inkml:trace contextRef="#ctx0" brushRef="#br0" timeOffset="88008.51">13057 9062 0,'-26'0'16,"13"13"-16,-1-13 0,1 13 15,13 1-15,-13-1 16,0 0-16,13 0 0,-14 1 0,14-1 16,0 13-16,0-12 0,0 38 15,0-38-15,14 12 16,-14-13-16,13 1 0,0-1 0,0 0 16,1-13-16,-1 13 0,13-13 0,-13 0 15,1 0-15,12 0 0,-13 0 16,1-13-16,-1 13 0,0-13 0,0 0 15,0 13-15,1-27 16,-14 14-16,0 0 0,0-1 0,0 1 16,0 0-16,-14 0 0,14 0 15,-13-1-15,0 1 0,13 0 0,-13 0 16,0-1-16,-1 1 0,1 13 16,0-13-16,0 13 0,-1 0 0,1-13 15,0 13-15,0 0 0,0 0 16,-1 0-1</inkml:trace>
  <inkml:trace contextRef="#ctx0" brushRef="#br0" timeOffset="89157.68">12144 9419 0,'-26'13'0,"13"-13"0,13 14 16,-27 12-16,14-13 16,13 1-16,-13 12 0,13-13 0,0 0 15,0 14-15,0-14 0,0 0 0,0 14 16,0-14-16,13 14 0,0-1 15,0-13-15,1-13 0,-1 13 16,0-13-16,0 14 0,1-14 0,-1 0 16,0 0-16,0-14 15,1 14-15,-14-13 0,13 0 16,-13 0-16,0 0 0,13-1 0,-13 1 16,-13-13-16,13 12 0,0-12 0,-13 13 15,13-14-15,-14 14 0,14-13 16,-13 12-16,13 1 0,-13 13 0,0-13 15,13 0-15,-14 13 0,1 0 16,0 13-16,0 0 16</inkml:trace>
  <inkml:trace contextRef="#ctx0" brushRef="#br0" timeOffset="89294.67">12343 9578 0</inkml:trace>
  <inkml:trace contextRef="#ctx0" brushRef="#br0" timeOffset="90120.6">14129 7832 0,'13'-14'15,"13"14"1,-12 0-16,-1-13 0,0 13 0,14 0 16,-14 0-16,0 0 0,14 0 15,-14 0-15,40 0 16,-40 0-16,13 0 0</inkml:trace>
  <inkml:trace contextRef="#ctx0" brushRef="#br0" timeOffset="90339.72">14195 7977 0,'-13'13'0,"39"-13"31,-26 14-31,13-14 16,14 0 0,-14 0-16,0 0 0,1 0 0,12 0 15,-13 0-15,0 13 16,14-26-16,-14 13 16</inkml:trace>
  <inkml:trace contextRef="#ctx0" brushRef="#br0" timeOffset="91826.68">12290 8043 0,'-66'66'0,"26"-39"15,-92 92 1,79-66-16,13 0 0,-26 0 0,13 0 16,0 0-16</inkml:trace>
  <inkml:trace contextRef="#ctx0" brushRef="#br0" timeOffset="94417.81">15478 7633 0,'-13'0'0,"0"13"0,-14 27 16,27-27-16,0 14 16,-13 39-1,13-40-15,0-12 0,0 12 0,13-13 16,-13 1-16,13 12 15,27 1 1,-40-14-16,13-13 0,1 0 0,-1 0 16,0 0-16,0-13 0,1 13 0,-14-14 15,13 14-15,-13-13 0,13 0 16,-13 0-16,0-1 0,0-12 0,0 13 16,-13-14-16,13 14 0,0 0 0,-13-14 15,13 14-15,-14 0 0,14 0 16,-13-1-16,13 1 0,-26-13 15,12 26-15,14-14 0,-13 14 16,0 0-16,0 0 16,13 14-1</inkml:trace>
  <inkml:trace contextRef="#ctx0" brushRef="#br0" timeOffset="94590.93">15769 7792 0</inkml:trace>
  <inkml:trace contextRef="#ctx0" brushRef="#br0" timeOffset="95294.41">16126 7660 0,'14'-14'15,"-1"1"-15,0 13 16,-53 13 0,14-13-1,13 14-15,-1-14 0,1 13 16,-13-13-16,13 13 0,-1-13 15,1 13-15,26 1 16,1-14 0,-14 13-16,13 0 0,0-13 0,0 13 15,0-13-15,1 14 0,-1-1 0,0-13 16,0 13-16,-13 0 0,14-13 16,-14 13-16,-14 14 15,1-27-15,0 13 0,0 0 0,-1 1 16,-12-1-16,0 0 15,-1-13-15,1 13 0,12 1 0,-25-1 16,25-13-16,1 13 0,0-13 16</inkml:trace>
  <inkml:trace contextRef="#ctx0" brushRef="#br0" timeOffset="95638.99">16523 7845 0,'40'-40'16,"-27"27"-16,0 13 0,1 0 0,12-13 15,1 13-15,-14 0 0,0-13 16,0 13-16,0 0 0,1 0 0,-1 13 15,0 0 1</inkml:trace>
  <inkml:trace contextRef="#ctx0" brushRef="#br0" timeOffset="95796.45">16629 7951 0,'-13'0'0,"39"13"16,-12-26-1,-1 13-15,0 0 0,13 0 16,-12-13-16,12 13 0,-13 0 0,14-14 16,-1 14-16,-12 0 0,12-13 0,-13 13 15,14-13-15</inkml:trace>
  <inkml:trace contextRef="#ctx0" brushRef="#br0" timeOffset="96247.55">17449 7660 0,'13'0'0,"-52"0"32,-1 13-17,14-13-15,12 13 0,-12-13 0,13 13 16,0-13-16,-1 0 0,1 14 16,13-1-1,40 0 1,-27 0-16,13 1 15,-12-14-15,-1 13 16,0-13-16,-13 13 0,13 0 0,1 0 16,-28 14-1,14-14-15,-13 0 0,0 1 16,0-14-16,-14 13 0,14 0 0,-13 0 16,12 1-16,1-14 15,0 13-15,0-13 16</inkml:trace>
  <inkml:trace contextRef="#ctx0" brushRef="#br0" timeOffset="96582.46">17542 7699 0,'-40'40'15,"40"-27"-15,-13 1 0,0-1 0,13 0 0,0 0 16,0 0-16,0 14 16,13-27-16,-13 13 15,13-13-15,0 0 0,1 13 0,12-13 16,-13 0-16,14-13 0,-14 13 16,13 0-16,1-13 0,-14 0 15,0 13-15,-13-14 0,14 1 0,-14 0 16,-14-27-1,1 27 1,0 13-16,0-13 0,-1 13 0,1 0 16,0 0-16,-40 13 31,40-13-31,13 13 0</inkml:trace>
  <inkml:trace contextRef="#ctx0" brushRef="#br0" timeOffset="96790.48">17965 7620 0,'13'0'0,"-13"40"32,-13-27-32,13 0 0,0 14 0,-13-14 15,0 13-15,13 1 16,-13-1-16,-1 1 0,1-1 0,13-13 15,-13 1-15,0-1 0,13 0 0,0 0 16,-14 1-16,14-1 0,0 0 16</inkml:trace>
  <inkml:trace contextRef="#ctx0" brushRef="#br0" timeOffset="96950.82">17767 7713 0,'0'-14'0</inkml:trace>
  <inkml:trace contextRef="#ctx0" brushRef="#br0" timeOffset="97103.79">18177 7924 0,'13'-13'32,"-13"0"-1</inkml:trace>
  <inkml:trace contextRef="#ctx0" brushRef="#br0" timeOffset="98782.13">17291 8057 0,'13'26'16,"13"0"-1,1-12-15,-14-14 0,27 26 0,-1-13 16,1 1-16,13-1 0,0 0 15,0 0-15,0-13 0,0 14 16,119-14-16,-106 0 16,-13 0-16,0-14 0,-1 14 15,1-13-15,-13 13 0,92-40 16,-92 27-16,-14 0 0,14 0 16,-13-14-16,-1 14 0,1-13 15,-1-1-15,0 14 0,1-27 16,-14 14-16,0-1 0,14 1 0,-14-14 0,0 14 15,0-14-15,-13 14 16,0-1-16,0 1 0,0-14 0,-13 0 0,-13-13 16,-14 14-16,14-14 0,-27 13 0,0 0 15,-13 1-15,-53-28 16,39 28-16,14 12 0,-26-12 16,12 12-16,14 1 0,-13 13 15,12-14-15,1 14 0,0 0 0,13 13 16,-13 0-16,13 0 0,-13 13 0,0 0 15,0 0-15,13 14 0,-13-1 16,13 14-16,0 0 0,13 12 0,0 1 16,1 0-16,-1 0 0,0 0 0,14 0 15,-14 66-15,14-26 16,13-54-16,-1 1 0,14 0 16,0 0-16,0-14 0,14 0 15,-14-12-15,13 12 0,0 1 0,0-14 0,1 13 16,-1-13-16,0 1 0,13-1 15,-12 0-15,12 0 0,1-13 16,-14 14-16,13-14 0,14 13 16,-27-13-16</inkml:trace>
  <inkml:trace contextRef="#ctx0" brushRef="#br0" timeOffset="103567.86">18415 8493 0,'0'27'16,"-13"-14"-16,13 0 16,13 0-16,-13 27 0,13-27 0,0 14 15,1-1-15,12-13 0,27 27 16,-13-27-16,-1 0 16,160 1-1,-133-28-15,0 14 0,0-13 0,67-13 16,-94 13-16,14-1 15,-13 1-15,0 0 0,-14 0 0,1 13 16,-1-14-16,0 1 16,-12 13-16,-1-13 0,0 13 0,0-27 15,-13 14 1,0 0-16</inkml:trace>
  <inkml:trace contextRef="#ctx0" brushRef="#br0" timeOffset="103829.96">19368 8361 0,'26'13'16,"14"14"-16,-27-14 0,13 13 0,27 14 15,-26-27-15,12 14 0,-25-14 16,12 13-16,-13-13 0,1 1 15,-1-1-15,-13 13 0,0-12 0,-13 52 16,-54 0 0,28-40-1,12 1-15,1-14 0,-1 0 0,1 14 0,-1-14 16,14-13-16,0 13 0,0-13 16,0 0-16</inkml:trace>
  <inkml:trace contextRef="#ctx0" brushRef="#br0" timeOffset="105603.74">20386 8453 0,'13'-13'0,"1"13"0,-1-13 0,0 13 16,14-13 0,-14 13-16,0 0 0,-39 13 46,-41 13-30,41-12-16,13-1 0,-14-13 0,1 13 16,13 0-16,-1-13 0,1 14 15,0-14-15,13 13 0,-13-13 0,26 13 16,-13 0-16,13-13 16,0 13-16,14-13 0,-14 14 15,13-1-15,1-13 0,-14 13 0,0 0 16,14-13-16,-14 14 0,0-14 15,1 13-15,-14 0 0,13-13 0,-13 13 16,0 1-16,0-1 0,-13-13 16,13 13-16,-14 0 0,1-13 15,-27 27-15,27-27 16,0 13-16,0-13 0,-1 0 0,1 13 16,0-13-16,13-13 31</inkml:trace>
  <inkml:trace contextRef="#ctx0" brushRef="#br0" timeOffset="105939.7">20585 8506 0,'-27'14'31,"27"-1"-31,0 0 0,-13 0 0,26 0 15,-13 1-15,0-1 0,13 0 0,-13 0 16,14 1-16,-1-1 0,-13 0 16,13-13-16,14 13 0,-14-13 15,13 0-15,-13 0 0,1 0 0,-1-13 16,0 13-16,0-13 0,1 0 16,-1-1-1,-13 1-15,0 0 0,0 0 16,-13-14-1,-1 14-15,1 13 0,13-13 16,-13 13-16,0 0 0,-1 0 16,1 0-16,0 0 0</inkml:trace>
  <inkml:trace contextRef="#ctx0" brushRef="#br0" timeOffset="106121.4">21008 8401 0,'13'0'0,"0"13"0,-13 0 15,0 0-15,0 0 0,0 1 16,-13-1-16,13 13 16,-13-12-16,13-1 0,0 0 15,-13 0-15,13 0 0,0 1 0,-14-1 16,14 0-16</inkml:trace>
  <inkml:trace contextRef="#ctx0" brushRef="#br0" timeOffset="106262.66">20876 8467 0,'0'-14'15</inkml:trace>
  <inkml:trace contextRef="#ctx0" brushRef="#br0" timeOffset="106399.32">21101 8586 0,'13'0'0</inkml:trace>
  <inkml:trace contextRef="#ctx0" brushRef="#br0" timeOffset="107049.9">21630 8387 0,'-27'27'0,"14"-27"15,13 13-15,-13 0 0,13 14 16,0-14-16,0 0 16,0 0-16,13-13 0,-13 14 15,13-14-15,0 13 0,1-13 0,-1 0 16,0 0-16,0-13 0,1 13 15,-1 0-15,0-14 0,-13 1 16,13 0-16,-13 0 0,0-1 0,-13 1 16,13 0-16,-13 0 0,0 0 15,13-1-15,-27 1 0,14 0 16,26 39 15,0-12-31,14 25 0,-14-12 16,14-1-16,-14 1 0,0-1 0,13 0 15,-12 14-15,-1 13 16,-13 0-16,0-27 16,0 1-16,-13-14 0,-1 14 0,14-14 15,-13 0-15,13 0 0,-13 1 16,0-14-16,13 13 0,-13-13 0,-14-13 16,27-1-1,0-12-15,13 13 16,1-1-16,-1-12 0,26-14 15,-12 14-15,-1-1 0,1 14 0,26-13 16,-14-1 0,-12 27-16,-14-13 0,0 13 0,1-13 15,12 13-15,-13-14 0</inkml:trace>
  <inkml:trace contextRef="#ctx0" brushRef="#br0" timeOffset="108820.31">22807 8109 0,'-13'-13'0,"0"66"15,-1-26 1,14-1-16,-13 14 0,13-1 15,0 54-15,0-53 0,0-14 16,0 40-16,0-39 0,0-1 16,13 14-16,1-14 0,-14 1 15,13-14-15,-13 0 0,13 1 0,-13-1 16,13 0-16,-13 0 0,-13-26 31,0 13-15,0-13-16,-1 13 0,1-13 15,0-1-15,0 14 0,13-13 16,-27 0-16,14 0 0,0 13 16,13-14-16,0 1 15,0 0 1,13 0-16,0-1 16,0 1-16,1 0 0,-1 0 15,0 0-15,0-1 16,1 1-16,-1 0 0,13-14 15,-26 14-15,14 0 0,-14 0 0,13 0 16,0-1-16,-13 1 16,13 0-16,-13 0 0,0-1 15,13 1 1,-13 0 0,14 0-1,-14 39 16,-14-13-15,14 27 0,0-27-16,14 14 15,-14-14 1,13-13-16,-13 13 0,13-13 16,-13 13-16,13-13 0,1 14 0,-1-14 15,0 13-15,0-13 0,1 0 16,-1 0-16,0 0 0,0 0 15,0 0-15,1-13 16,-1 13 0,0-14-16,0 1 15,1 0 1,-14 0 0,13 13-16,-13-13 15,0-1 16,13 1 32,-13 0 46,0 39-46,0-12-63,0-1 0,-13 0 15,13 0-15,0 14 0,0-14 0,0 0 16,-13 0-16,13 1 0,0-1 16,13-13-16,-13 13 15</inkml:trace>
  <inkml:trace contextRef="#ctx0" brushRef="#br0" timeOffset="108976.47">23125 8242 0,'-14'-13'0,"1"13"32,26 26-17</inkml:trace>
  <inkml:trace contextRef="#ctx0" brushRef="#br0" timeOffset="109524.5">23244 8493 0,'0'13'0,"13"-13"31,0-13-31,0 0 16,-13 0-16,0-1 16,14 14-16,-14-13 0,-14 13 31,1 0-15,13 13-16,-13 1 15,0-1 1,26 0-1,0-13 1,0 0 0,1-13-16,-1 13 0,0 0 15,0 0-15,0 0 16,1 0 0,-1 13-1,0-13 1,-13 13-16,13-13 31,1-13 0,-1 13-31,0-13 32,0 13-32,1-13 15,-1 13 1,0-14-1,0 14-15,0-13 0,14 0 16</inkml:trace>
  <inkml:trace contextRef="#ctx0" brushRef="#br0" timeOffset="109954.69">23773 8189 0,'-13'26'16,"-1"-12"-1,14 12-15,-13 0 16,0 1-16,13-14 0,0 0 16,0 1-16,0-1 0,0 0 15,-13 14 1,-1-27 15,1 13-15,0-13-1,0 0-15,13 13 0,-13 0 32,39-13-1,14-13-15,-27 13-16,0 0 15,14 0-15,-14 0 0,0 0 16,0 0-16,0 0 0,1 0 15,-1 13-15,-13 0 16,13-13 0,-26 14-1,0-1-15,-1-13 16,14 13 0</inkml:trace>
  <inkml:trace contextRef="#ctx0" brushRef="#br0" timeOffset="111123.83">20466 9379 0,'-14'14'15,"1"25"-15,0-25 0,13 12 16,-13 1-16,13-14 0,-14 40 16,14-14-16,0-25 15,0-1-15,0 0 0,14 0 0,-14 1 16,13-14-16,0 13 15,0-13-15,1 0 0,-1-13 16,13 13-16,-13-14 16,1 14-16,-1 0 0,0-13 15,0 26-15,1-13 16,-1 0-16,-13 14 0,13-14 0,-13 13 16,0 13-1,0-13-15,0 1 16,13-14-16</inkml:trace>
  <inkml:trace contextRef="#ctx0" brushRef="#br0" timeOffset="111280.48">20730 9485 0,'-13'-13'15,"0"26"1</inkml:trace>
  <inkml:trace contextRef="#ctx0" brushRef="#br0" timeOffset="111520.82">20929 9353 0,'-14'26'16,"14"-12"-16,-13 12 16,13 27-16,-13-26 15,13-1-15,-13 0 0,13-12 0,-14 12 0,14 1 16,-13-1-16,13-13 15,0 14-15,-13-14 0,13 0 0,0 14 16</inkml:trace>
  <inkml:trace contextRef="#ctx0" brushRef="#br0" timeOffset="111780.46">21101 9446 0,'-93'53'16,"66"-27"-16,27-13 0,-13 0 15,0 1-15,0 25 16,13-25 0,0-1-16,0 13 15,13-26-15,0 14 16,0-14-16,1 0 0,12 0 15,-13 0-15,27-14 16,-27 14-16,27 0 16</inkml:trace>
  <inkml:trace contextRef="#ctx0" brushRef="#br0" timeOffset="112161.84">21259 9684 0,'66'-66'15,"-66"52"-15,14 1 16,-14-13 0,13 12-16,-26 1 15,-1 26 1,1-13-16,0 0 0,0 27 16,-1-14-16,1 0 0,13 1 15,-13-14-15,13 13 0,13 0 16,-13 0-16,13-13 0,1 0 15,-1 14-15,27-14 0,13 0 16,-27-14 0,53 1-16</inkml:trace>
  <inkml:trace contextRef="#ctx0" brushRef="#br0" timeOffset="112544.74">22000 9379 0,'-26'53'0,"39"-39"16,13 25 0,1-12-16,-1-14 0,-13 13 15,1-12-15,-1-1 0,13 27 16,-26-27-16,14-13 16,-14 13-16,0 0 0,0 14 0,0-14 15,-14 0-15,1 0 16,0 1-16,-14-1 15,1-13-15,0 0 16,12 0 0,14-13-1,14-1-15</inkml:trace>
  <inkml:trace contextRef="#ctx0" brushRef="#br0" timeOffset="112768.46">22318 9313 0,'13'-26'0,"-13"52"32,0-12-32,0-1 0,0 26 15,-13 1-15,13-146 0,0 239 16,0-107-16,0 14 16,0-14-16,0-13 0,0 27 15,0-13-15,0-1 16,0-13-16,13 1 15</inkml:trace>
  <inkml:trace contextRef="#ctx0" brushRef="#br0" timeOffset="112959.34">22225 9604 0,'13'-26'16,"14"13"-16,-14 13 16,13-14-1,-12 14-15,12 0 16,-13 0-16,1 0 0,-1-13 16,0 13-16</inkml:trace>
  <inkml:trace contextRef="#ctx0" brushRef="#br0" timeOffset="113232.96">22516 9512 0,'13'-13'0,"0"26"31,1 0-15,-14 0-16,13 14 16,-13 12-16,0-12 15,0-14 1,0 0-16,0 1 15,-53-173-15,106 331 0,-27-185 32,-26-1-32,14 1 15,-1-27-15,13 1 16,27-14 0,0 26-16,-26 1 15,-14 26-15,0 0 16</inkml:trace>
  <inkml:trace contextRef="#ctx0" brushRef="#br0" timeOffset="114572.88">22886 9737 0,'106'-14'16,"-79"14"-16,-14 0 0,13 0 15,14 0-15,-13-13 16,12 13-1,-12 0-15,-14 0 16,0 0 0,0-13-16,1 13 0</inkml:trace>
  <inkml:trace contextRef="#ctx0" brushRef="#br0" timeOffset="114939.62">23191 9578 0,'39'13'31,"-25"0"-31,-1-13 16,0 0-16,-13 14 0,13-1 16,14 0-16,-14 0 0,0-13 15,-13 14-15,13-1 0,-13 0 16,0 0-16,14-13 0,-14 27 15,0-14-15,-14 13 0,14-12 0,-13-1 16,0 0-16,-13 27 16,12-14-16,14-13 0,-13 1 15,13-1-15,13-13 16</inkml:trace>
  <inkml:trace contextRef="#ctx0" brushRef="#br0" timeOffset="116523.63">23879 9459 0,'-40'13'16,"13"0"-1,14 1-15,0 25 0,-13 1 16,26-27-16,-14 14 15,14 12-15,0-25 16,0-1-16,0 26 0,14-25 0,-1-1 16,79 40 15,-78-53-31,12 0 16,-26-13-16,53-14 15,-40 14-15,14-14 16,-27 14-16,13 0 15,0-13-15,0-14 0,-13 13 16,14 14-16,-14-66 16,13 52-16,-13 14 0,0-13 15,0-14-15,0 27 16,0-1-16,0 1 0,0-13 16,0 13-16,0 39 46,0-13-46,-13 0 0,13 14 16,0-14-16,0 0 0,0 14 16,0-1-16,0 1 15,0-14-15,0 0 0,0 0 0,-14 14 16,14-14-16,0 14 16,0-14-16,0 0 15,0 0-15,0 1 16,27-28 31,-27 1-47,13 13 0,-13-13 15,13 13-15,1 0 16,-1 0-16,0 0 16,0 13-1,0-13-15,-13 13 0,14 1 16,-1-14-1,-13 13-15,13-13 16,0 0-16,14 0 16,-14 0-16,0-13 15,1-1-15,-1 1 0,0 0 16,0 13-16,-13-13 0,13-1 16,1-12-16,-1-1 15,-13 14 1,-13 26 15,13 1-15,-14 12-16,28-13 31,-14 1-31,0-1 0,13 0 16,0-13-16,-13 13 15,13-13-15,14 0 16,-14-13-16,0 13 15,1-13-15,-1 13 16,-13-13-16,0-1 16,0 1-16,0 0 15,0 0-15,0-1 16,-13 1-16,-1 0 16,14 0-16,-13 0 0,0 13 0,13-14 15,-13 14-15,-1 0 16,1 14-16,0-14 0,0 13 0,-1 0 15,1 0 1</inkml:trace>
  <inkml:trace contextRef="#ctx0" brushRef="#br0" timeOffset="116876.76">24646 9472 0,'-40'27'16,"40"-14"-16,-13 13 0,0-13 15,0 14-15,13-1 16,0-12-16,13-1 16,-13 0-16,13 0 15,0-13-15,0 14 16,1-14-16,-1 0 0,0 0 16,0 0-16,1 0 15,-1 0-15,0 0 16</inkml:trace>
  <inkml:trace contextRef="#ctx0" brushRef="#br0" timeOffset="117462.48">21603 10147 0,'675'-80'16,"-556"67"-16,13 0 0,-13 0 15,14-1-15,105-12 16,-13 0-16,-133 12 0,1 14 15,-1-13-15,-12 0 0,-1 13 16,53-13-16,-39-1 16,-40 1-16,-27 13 0,-12 0 15,-1 0-15,-66 0 32,27 0-32</inkml:trace>
  <inkml:trace contextRef="#ctx0" brushRef="#br0" timeOffset="117759.85">21855 10253 0,'66'-14'16,"-13"14"-1,13-13-15,13 0 0,27 0 0,238-14 16,-225 27 0,-13-13-16,92 13 0,-92-13 0,-13 13 15,92-13-15,-106 13 16,54-14-16,-80 14 0,-1-13 16,81-13-1,-120 12 1,0 14-16,-13-26 0,-13-1 15,0 14-15,-27 0 0</inkml:trace>
  <inkml:trace contextRef="#ctx0" brushRef="#br0" timeOffset="118382.46">20849 8877 0,'66'-13'0,"53"-1"16,40-12-16,53-1 15,-93 14-15,145-27 16,147-12 0,-279 38-16,0 1 0,0 0 0,1 13 15,-27 0-15,92-13 16,-105 13-16,79 0 0,-120 0 16,1 0-16,0 0 0,-13 0 15,26 0-15,-53 0 16</inkml:trace>
  <inkml:trace contextRef="#ctx0" brushRef="#br0" timeOffset="118720.86">21114 8930 0,'489'-53'16,"-370"40"-16,675-14 15,-556 27-15,-132 0 16,-13 0-16,-1 0 15,1 0-15,66 0 0,-93 0 16,-13 0-16,0 0 0,-1 0 0,-12 0 0,-13 0 16,12 0-16,-12 0 15,-14-13-15,0 13 16</inkml:trace>
</inkml:ink>
</file>

<file path=ppt/ink/ink17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4:25:26.956"/>
    </inkml:context>
    <inkml:brush xml:id="br0">
      <inkml:brushProperty name="width" value="0.05292" units="cm"/>
      <inkml:brushProperty name="height" value="0.05292" units="cm"/>
      <inkml:brushProperty name="color" value="#0070C0"/>
    </inkml:brush>
  </inkml:definitions>
  <inkml:trace contextRef="#ctx0" brushRef="#br0">5622 4101 0,'14'13'16,"-1"-13"-16,27 0 16,-1 0-16,1 0 15,-27 0-15,53 0 16,-13 0-16,-26 0 16,-14 0-16,13-13 0,-12 13 15,25 0-15,-26 0 16,1 0-16,-1 0 0,0 0 15,-13 13 1</inkml:trace>
  <inkml:trace contextRef="#ctx0" brushRef="#br0" timeOffset="241.98">5940 4141 0,'-13'13'16,"-1"-13"-16,14 26 0,-13-12 16,13-1-16,-26 53 15,26-40-15,-13 14 16,13-13-16,-14-14 0,14 13 16,-13 1-16,13-14 15,0 0-15,-13 0 0,13 1 16,0-1-16</inkml:trace>
  <inkml:trace contextRef="#ctx0" brushRef="#br0" timeOffset="645.7">6178 4233 0,'0'27'31,"0"-14"-31,0 0 16,0 27-16,-13 0 15,13-14 1,0 1-16,0-14 15,0 0-15,0 0 16,0 0 0</inkml:trace>
  <inkml:trace contextRef="#ctx0" brushRef="#br0" timeOffset="1033">6112 4260 0,'26'-53'15,"1"53"1,-1-13-16,-13 13 16,27 0-16,-27 0 15,1 0-15,25 0 0,-12 13 16,-14 0-16,0 0 16,-13 1-16,0-1 15,0 0-15,-39 27 16,25-27-16,1 0 15,-13 0-15,12 1 0,-12 12 16,-14-13-16,14 1 16,13-14-1,13 13-15</inkml:trace>
  <inkml:trace contextRef="#ctx0" brushRef="#br0" timeOffset="2983.95">6191 4379 0,'-13'26'32,"13"1"-32,0-14 15,0 0-15,0 27 16,0-14-16,0-12 0,0-1 0,0 13 16,0-12-16,0 12 15,0-13-15,0 0 16,0 1-16,0-1 15,0-40 48,13 14-63,-13 0 16,0 0-16,0 0 15,0-27-15,0 13 0,0 14 16,0 0-16,0 0 0,13-14 15,-13-26 1,0 14 0,0 12-16,0 1 0,0 12 15,0 1-15,0-13 16,0 13-16,0-1 0,0 1 16,0 0-1,0 0 1,14 13-1,-1 13-15,0 0 16,0 0 0,1 1-16,12 12 0,1 0 15,-14 1-15,13-1 16,1 1 0,-14-14-16,0 0 0,0 1 15,1-1 1,-1 0-16,0-13 15,-13 13-15,13 0 0,1-13 16,-1-13 15,0 0-31,-13 0 16,0-14-16,0 14 16,0-27-16,13 14 15,-13-1-15,0-52 0,0-13 16,0 52-16,0 13 15,0-39-15,0 27 16,0 12-16,0-13 16,13 14-16,-13 13 0,0-14 15,0 14 1,0 0 0,-13 39 30</inkml:trace>
  <inkml:trace contextRef="#ctx0" brushRef="#br0" timeOffset="5296.25">2884 6403 0,'40'-27'16,"-14"1"-16,-13 13 0,14 0 15,-1-14-15,-13 14 16,1 13-16,-14-13 16,13 13-16,0-14 15,0 14-15</inkml:trace>
  <inkml:trace contextRef="#ctx0" brushRef="#br0" timeOffset="5888.37">9208 3016 0,'79'-26'16,"-66"13"-16</inkml:trace>
  <inkml:trace contextRef="#ctx0" brushRef="#br0" timeOffset="6485.5">9062 5861 0,'40'0'16,"-14"-14"-1,1 14-15,26-13 0,-27 13 16,40-13 0,-26 0-16,-1 13 15,1-14 1,-27 14-1</inkml:trace>
  <inkml:trace contextRef="#ctx0" brushRef="#br0" timeOffset="6688.84">9446 5768 0,'-40'53'15,"27"-13"-15,13 12 16,0-12-1,0-27-15,0 27 16,0 0-16,0-27 0,0 0 16,0 14-16,0-14 15,0 0-15,13 0 0,-13 1 16</inkml:trace>
  <inkml:trace contextRef="#ctx0" brushRef="#br0" timeOffset="6919.8">9631 5887 0,'-13'13'31,"13"0"-31,0 1 0,-14 12 16,14 1-16,0-14 15,0 13-15,0 1 16,0-14-16,0 0 16,0 0-16,0 1 0,14-1 15</inkml:trace>
  <inkml:trace contextRef="#ctx0" brushRef="#br0" timeOffset="7229.72">9618 5808 0,'26'-27'16,"1"27"-1,25 13 1,1 14 0,-53-14-16,14 27 15,-14-14 1,-14-26-16,-12 27 16,13-14-16,-1-13 15,-12 13-15,0-13 16,-1 0-16</inkml:trace>
  <inkml:trace contextRef="#ctx0" brushRef="#br0" timeOffset="15532.84">8533 4114 0,'0'27'47,"0"-14"-47,0 27 16,0-1-16,0-12 15,13 26-15,-13-27 16,0 27-16,0 0 15,0-27 1,0-12-16,0-1 16</inkml:trace>
  <inkml:trace contextRef="#ctx0" brushRef="#br0" timeOffset="15911.96">8559 4154 0,'0'-13'16,"13"13"-16,14-13 15,-14 13 1,27-14-16,-14 14 15,1-13-15,-1 0 16,-13 13-16,1 0 0,12-13 16,-13 13-1,1 0-15</inkml:trace>
  <inkml:trace contextRef="#ctx0" brushRef="#br0" timeOffset="16192.88">8692 4207 0,'52'-13'16,"-38"13"-1,-1 0-15,0-14 0,0 14 16,1 0-16,-1 0 16,-13-13-16,13 13 15,0 0-15,1 0 16</inkml:trace>
  <inkml:trace contextRef="#ctx0" brushRef="#br0" timeOffset="16624.54">8771 4220 0,'-13'0'32,"-27"0"-17,14 13 1,12-13-16,1 0 0,-53 27 16,39-14-1,14-13-15,-26 13 16,25 0-1,-12-13-15</inkml:trace>
  <inkml:trace contextRef="#ctx0" brushRef="#br0" timeOffset="17476.06">8758 3440 0</inkml:trace>
  <inkml:trace contextRef="#ctx0" brushRef="#br0" timeOffset="18248.13">9075 4022 0,'0'53'31,"0"-27"-31,0 1 0,0-14 16,0 13-16,0 1 15,0-1-15,0 1 16,13-14-16,-13 0 16,0 0-1,0 0-15,0 1 16</inkml:trace>
  <inkml:trace contextRef="#ctx0" brushRef="#br0" timeOffset="18668.75">9036 4101 0,'0'-53'16,"0"40"-16,26-14 15,-13 14-15,40-13 16,-40 26-16,1 0 0,-1 0 16,0 0-16,40 13 15,-40 0-15,-13 0 16,13 1-16,-26-1 15,0 0-15,0 0 16,-14 14-16,14-27 16,-27 13-1,27 0-15,0-13 0,-14 14 0</inkml:trace>
  <inkml:trace contextRef="#ctx0" brushRef="#br0" timeOffset="19191.59">2183 5173 0,'0'26'16</inkml:trace>
  <inkml:trace contextRef="#ctx0" brushRef="#br0" timeOffset="22599.76">2421 5067 0,'-13'13'0,"26"0"16,0-13 0,0 13-16,1-13 0,12 14 15,27 12-15,-27-26 16,80 40-16,-66-40 16,13 13-16,40-13 0,-41 0 15,1 0-15,0 0 0,172-13 16,-159 0-1,80-1-15,79-12 16,-146 13-16,67-14 16,-67 1-16,80-1 15,-80 14-15,146-27 16,-146 27-16,-12 0 0,144-27 16,-79 27-1,40-13-15,-119 12 16,53 1-16,-66 0 15,92-14 1,-52 14-16,-41 0 16,1 13-16,0-13 0,92-14 15,-92 27-15,39-13 16,-53 0-16,1 13 16,13-13-16,39-14 0,40 1 15,-40 12 1,-39 1-16,0 0 15,-14 0-15,40 0 0,-39 13 0,39-14 16,-13 1-16,-27 13 16,67-13-1,-14-14-15,40 14 16,-39 0 0,-41 0-16,41-1 15,-1 1-15,-52 0 0,12 13 16,-12-13-16,39 0 0,-26 13 15,-14 0-15,27-14 16,40-12-16,-67 26 16,27-13-1,13-14-15,-26 27 16,-14-13-16,-12 13 0,38-13 16,-38 13-1,12-14-15,-13 14 16,14-13-1,-14 13-15,0 0 0,14-13 16,-14 13 0,13-13-1,-12 13-15,-1 0 16,0-13 0</inkml:trace>
  <inkml:trace contextRef="#ctx0" brushRef="#br0" timeOffset="22963.9">7911 4128 0,'-13'0'16,"39"13"15,-12 0-31,-1-13 16,0 13-16,0-13 0,14 13 15,-14 1-15,0-1 16,14 0-16,-14 14 16,0-27-16,-13 13 15,0 0-15,0 13 0,-13 1 16,-27 13-16,14-14 16,-14-13-16,-39 14 0,-27-14 15,26 0 1</inkml:trace>
  <inkml:trace contextRef="#ctx0" brushRef="#br0" timeOffset="24639.71">8983 3466 0,'26'26'0,"1"14"15,-27-27-15,26 14 16,-26-14-16,26 27 16,-26-27-16,14 0 0,-14 0 15,13 14-15,-13-14 0,13 0 16,0 1-16,-13-1 0,14 13 16,-1-12-16,0-1 15,-13 0-15,13-13 16,1 0-1</inkml:trace>
  <inkml:trace contextRef="#ctx0" brushRef="#br0" timeOffset="25266.8">9062 3770 0,'13'0'15,"14"14"1,-14-1 0,13 0-16,-12 0 15,-1-13-15,-13 13 16,13-13-16,0 0 0,1 14 15,-1-14-15,13 0 16,-13-14 0,1 14-16,-1-13 0,0 13 15,0-26-15,1 13 16,-1-1-16,-13 1 0,13 0 16,-13 0-16,13 13 15,-13-14-15,13 1 0,1 0 16,-14 0-16,13-1 15</inkml:trace>
  <inkml:trace contextRef="#ctx0" brushRef="#br0" timeOffset="29950.66">5649 6310 0,'0'-13'0,"0"40"15,13-27-15,-13 13 0,0 13 16,0-13-16,13 1 0,-13-1 15,0 13-15,14-12 16,-14 12-16,0-13 0,0 14 0,0-14 0,13 0 16,-13 0-16,0 14 0,0-14 15,13 0-15,-13 1 16</inkml:trace>
  <inkml:trace contextRef="#ctx0" brushRef="#br0" timeOffset="30246.77">5622 6337 0,'14'-27'16,"-1"27"-16,13-26 16,-12 13-16,-1-1 0,13 1 15,1 0-15,-14 0 16,0 13-16,0-14 15,1 14-15</inkml:trace>
  <inkml:trace contextRef="#ctx0" brushRef="#br0" timeOffset="30466.96">5636 6443 0,'26'0'16,"-13"-14"-16,1 14 16,12-13-1,-13 13-15,0 0 0,14-13 0,-14 13 16,0 0-16,1-13 0,-1 13 0,0 0 16,-13-14-16,13 14 0,1 0 15,-1 0 1</inkml:trace>
  <inkml:trace contextRef="#ctx0" brushRef="#br0" timeOffset="31683.44">5940 6601 0,'13'-13'31,"-13"0"-31,-13 0 0,13-27 16,0-13 0,0 27-16,0-1 0,-13 14 15,26-27-15,-13 1 16,0 25-1,13 1-15,14 13 16,-1 27 0,-13-27-16,-13 13 0,13-13 15,1 13-15,-1-13 0,0 13 16,0-13-16,1 0 0,-1-13 0,0 0 16,14-27-1,-27 14-15,0-1 0,0-65 16,-14 12-1,14 54-15,0-1 16,-13-12-16,13-1 16,-13 27-16,13-1 0</inkml:trace>
  <inkml:trace contextRef="#ctx0" brushRef="#br0" timeOffset="34031.44">5953 6562 0,'0'-27'63,"0"14"-48,13 13-15,-13-40 16,0 27-16,0 0 0,0 0 16,0-1-16,0 1 0,0 0 0,0 0 15,0-1-15,0 1 16,14 13 0,-14-13-16,26 13 15,-26 13 1,13-13-16,0 0 15,1 0-15,-1 13 16,0-13-16,0 0 16,1-13-16,-1 13 15,0 0-15,0-13 0,-13 0 16,14 13-16,-14-27 0,0 14 16,13 0-16,-13 0 0,0-1 0,0-25 15,0-1 1,0 0-16,0 27 15,0-13-15,0 12 0,0-12 16,0 13 0,13 13-16,-13-14 0,13 1 15</inkml:trace>
  <inkml:trace contextRef="#ctx0" brushRef="#br0" timeOffset="39475.81">11377 8996 0,'-503'450'16,"450"-358"-16,-79 160 15,106-186 1,39 238 0,27-264-16,39 39 0,53-26 15,1-13 1,91-14 0,-12-39-16,-106-14 15</inkml:trace>
  <inkml:trace contextRef="#ctx0" brushRef="#br0" timeOffset="40041.73">11390 10438 0,'-423'397'31,"370"-318"-15,-66 530 0,132-530-1,252 265 1,132-172-1,-318-146 1,199 14-16,-106-40 16,92-26-1,-105-1 1</inkml:trace>
  <inkml:trace contextRef="#ctx0" brushRef="#br0" timeOffset="52344.37">17568 10438 0,'-26'0'16,"52"13"15,1-13-31,-1 0 16,14 0-16,0-13 0,13 13 0,13 0 15,0-13-15,0 13 0,13-14 16,-12 14-16,78-13 0,-79 0 16,-13 13-16,0-13 0,0 13 15,79 0-15,-105 0 16,-1-14-16,1 14 0,-1 0 16,-13 0-16,0 0 0,1 0 15,-1 0-15</inkml:trace>
  <inkml:trace contextRef="#ctx0" brushRef="#br0" timeOffset="52616.67">17767 10464 0,'92'-13'0,"-39"13"16,0 0-16,93-13 15,-93 13-15,39 0 16,-39 0-16,-13 0 0,-14-13 16,1 13-16,26 0 0,-40 0 15,0 0-15,0 0 0,27 0 16,-40 13-1,13-13-15</inkml:trace>
  <inkml:trace contextRef="#ctx0" brushRef="#br0" timeOffset="53203.71">17767 11880 0,'198'-27'16,"-132"27"-1,14-13-15,158-13 16,-159 12-16,1 14 0,-1-13 0,66 0 16,-78 0-16,-14 13 15,-1 0-15,-12 0 0,-13 0 16,-1 0-16,-13 0 0,27 0 16,-27 0-16,-13 13 15</inkml:trace>
  <inkml:trace contextRef="#ctx0" brushRef="#br0" timeOffset="53441.06">17939 12078 0,'26'0'16,"1"0"-16,79 0 0,-67 0 15,27 0-15,-13-13 0,0 13 16,0 0-16,13 0 0,40 0 16,-53 0-16,0-13 0,0 13 0,39 0 15,-65 0 1,-14 0-16,14-13 0,-14 13 16,13-14-16</inkml:trace>
</inkml:ink>
</file>

<file path=ppt/ink/ink17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4:26:37.652"/>
    </inkml:context>
    <inkml:brush xml:id="br0">
      <inkml:brushProperty name="width" value="0.05292" units="cm"/>
      <inkml:brushProperty name="height" value="0.05292" units="cm"/>
      <inkml:brushProperty name="color" value="#0070C0"/>
    </inkml:brush>
  </inkml:definitions>
  <inkml:trace contextRef="#ctx0" brushRef="#br0">22357 3215 0,'-13'-66'16,"13"52"-16,0 1 16,-13-13-1</inkml:trace>
  <inkml:trace contextRef="#ctx0" brushRef="#br0" timeOffset="1251.93">22212 2963 0,'13'-13'16,"27"13"0,-14-13-16,-13 13 0,14 0 15,-1 0-15,1 0 0,-1 0 0,1 0 16,-1 0-16,-13 0 0,14 0 0,12 0 16,-12 13-16,-14-13 15,14 13-15,-14 1 0,0-1 0,14 13 16,-14 1-16,0-14 15,-13 13-15,26 27 0,1 40 16,-14-53-16,0-1 16,1 1-16,-14 0 15,13-1-15,0-12 0,14 65 16,-14-52-16,13 13 0,-13-13 0,-13-1 0,14 14 16,-1-13-16,0 0 15,-13 13-15,13-14 0,1 41 16,-14-41-16,0 14 0,13-13 15,-13 0-15,0-1 0,0 1 16,0 39-16,0-39 0,13 0 16,-13 26-16,0-26 15,0-1-15,13-12 0,-13-1 0,0 1 16,14-1-16,-14 1 0,0-1 0,0 0 16,13 27-16,-13-26 15,0-1-15,13 14 0,-13-14 0,0 1 16,0 13-16,0-14 0,13 1 0,-13-1 15,0 0-15,0 14 0,0 0 16,13 0-16,-13-14 0,0 14 0,14-14 16,-14 1-16,13 12 0,-13-12 0,0-1 15,13 27-15,-13-26 16,13-1-16,-13 14 0,0-14 0,0 14 16,0-14-16,14 14 0,-14-14 15,0 14-15,0-13 0,0 52 16,0-39-16,0-14 0,13 14 15,-13-1-15,0 1 0,0 0 16,0 0-16,0-14 0,0 14 0,-13-1 16,13 1-16,0 0 0,0-1 0,0 1 15,0 0-15,0 0 0,-14-1 16,14 1-16,0 0 0,0-1 0,-13 1 16,13 0-16,-13-1 0,13 1 15,0 26-15,-13-26 0,13 0 16,0-1-16,-14 1 0,14-14 0,0 54 15,-13-41-15,13 1 16,0 0-16,0-14 0,-13 1 0,13 12 16,0 1-16,0 0 0,0-14 15,-13 54-15,13-41 16,0-12-16,0 12 0,0 1 0,-13-13 16,13 12-16,0 1 0,0 0 15,0 52-15,0-52 0,0 0 16,0 13-16,0 39 0,0-52 15,0 0-15,13 12 0,-13 1 0,0-13 16,0 0-16,13 13 0,-13-14 16,13 1-16,-13 0 0,13-1 15,14 54-15,-27-53 0,13-1 16,0 1-16,1 0 0,-14-1 0,13 1 16,0 0-16,14 26 15,-14-26-15,0-1 0,-13-12 0,13 13 16,0-14-16,1 0 0,12 14 15,1 13-15,-14-40 16,0 27-16,0-27 0,0 14 0,-13-14 0,14 13 16,-1-12-16,13 25 15,1 1-15,-27-27 16,13 0-16,-13 1 0,13-1 16,-13 0-16,0 0 15,14 1-15,-14-1 0,0 0 0,0 0 16,-14 0-16,14 1 0,-13 12 15,0-13-15,-14 14 0,-26 26 16,14-27-16,-14 1 0,-13 12 16,-14-12-16,-131 52 0,78-39 15,-171 26-15,-40-13 16,159-27-16,-53 14 16,53-13-16,-278 12 0,264-39 15</inkml:trace>
  <inkml:trace contextRef="#ctx0" brushRef="#br0" timeOffset="2524.46">6231 2897 0,'79'-13'0,"14"-13"15,105-1 1,-39 1-16,79-1 16,-105 14-16,-14 0 15,277-40-15,-263 40 0,145-14 16,79 1-1,-265 26-15,1-14 16,304 1 0,-344 13-16,66 0 15,-66 0 1,-40 0-16,13 0 0,-12 0 16,-41 13-1,1 1-15,-1-14 16,-12 13-16</inkml:trace>
  <inkml:trace contextRef="#ctx0" brushRef="#br0" timeOffset="2827.76">6959 3016 0,'-27'0'15,"67"-13"1,13 13-16,0-13 0,26 0 0,0-1 16,14 1-16,145-27 15,13 1-15,-131 26 0,250-27 16,-172 13 0,-105 27-16,158-13 15,-171 13-15,-1-13 16,27 13-16,-13 0 15,-67 0-15,14 0 16,-1 0-16</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6.713"/>
    </inkml:context>
    <inkml:brush xml:id="br0">
      <inkml:brushProperty name="width" value="0.025" units="cm"/>
      <inkml:brushProperty name="height" value="0.025" units="cm"/>
      <inkml:brushProperty name="ignorePressure" value="1"/>
    </inkml:brush>
  </inkml:definitions>
  <inkml:trace contextRef="#ctx0" brushRef="#br0">55 1,'47'0,"-41"0,-31 0,19 1,-1 0,1 0,-1 1,1-1,-1 2,1-1,-8 5,12-6,0 0,1-1,-1 1,1 1,-1-1,1 0,0 0,-1 0,1 1,0-1,0 1,0-1,0 1,-1 1,2-2,0 0,0 0,0 0,0 0,0 0,0 0,0 0,0 0,0 0,0 0,1 0,-1 0,0 0,1 0,-1 0,1 0,-1 0,1 0,0-1,-1 1,1 0,0 0,-1 0,1-1,0 1,0-1,1 2,38 16,-35-17,0 1,-1-1,1 1,0 0,-1 1,0-1,1 1,4 3,-9-5,1 1,0-1,0 0,-1 1,1-1,-1 0,1 1,-1-1,0 1,1-1,-1 1,0-1,0 0,0 1,0-1,0 1,0-1,-1 1,1-1,0 1,-1-1,1 0,-1 1,0-1,1 0,-1 1,0-1,0 0,0 0,0 0,0 1,0-1,-1 1,-1 2,0-1,0 1,-1-1,1 1,-1-1,0 0,0-1,0 1,0-1,0 1,0-1,-1-1,1 1,-1 0,1-1,-1 0,-5 0,-6 1</inkml:trace>
</inkml:ink>
</file>

<file path=ppt/ink/ink18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4:27:25.898"/>
    </inkml:context>
    <inkml:brush xml:id="br0">
      <inkml:brushProperty name="width" value="0.05292" units="cm"/>
      <inkml:brushProperty name="height" value="0.05292" units="cm"/>
      <inkml:brushProperty name="color" value="#0070C0"/>
    </inkml:brush>
  </inkml:definitions>
  <inkml:trace contextRef="#ctx0" brushRef="#br0">5173 1720 0,'0'-13'15,"39"13"1,41 0 0,52 26-16,40-13 15,0 14-15,66 12 16,66 1-1,54-40-15,38 0 0,28 0 16,78 0 0,41 0-16,-1 0 15,27 0-15,13 0 16,-119 0-16,-66 0 16,-185 0-16,13 0 15,-133 0 1,-65 0-16</inkml:trace>
  <inkml:trace contextRef="#ctx0" brushRef="#br0" timeOffset="1191.08">5477 1852 0,'53'0'31,"0"27"-15,26-27-16,27 0 0,-13 13 15,52 0 1,27 40-16,26-40 16,27 14-16,80 12 15,-1 1-15,106 26 16,0-26-16,93-40 15,13 26-15,-53-26 16,-27 0-16,-39 0 16,-79 0-1,-67 0-15,-66 0 0,0 0 16,-158 0 0</inkml:trace>
  <inkml:trace contextRef="#ctx0" brushRef="#br0" timeOffset="15175.52">6284 3479 0,'-13'-13'78,"26"13"-62,40 0-1,13 0-15,27 13 16,39 0-16,0-13 16,14 0-16,12 14 15,41 25-15,-40-39 16,-14 14-16,40-14 15,106 0 1,-172 0-16,-13 0 16,40 0-1,-14 0-15,14 0 0,26 0 16,0 0-16,-27 0 16,1 0-16,-1 0 15,-39 0-15,-13 0 16,-14 0-16,-26 0 15,0 0-15,-14 0 16,1 0 0,0 0-16,-27 0 0,13 0 15,-12 0-15,-1 0 16,0 0 0,0 0-16,1 13 15,-1-13 532,13 0-531,27 0-16,106 0 15,-80 0 1,27 0-16,132 0 16,-132 0-1,-13 0-15,13 0 16,-27 0-1,27 0-15,0 0 16,-1 0-16,28 0 16,-27 0-16,13 0 15,-53 0-15,0 0 16,-26 0-16,13 0 16,-27 0-1,-13 0 1,14 0 62,26 0-62,-14 0-16,1 0 15,13 0-15,0 0 16,-14 0-16,1 0 15,-27 0 1,1 0 0,-1 0 46,0 0 16,0 0 63,14-13-125,-27-14-1,39-39 1,-39 40-16,0-1 0,14-13 15,12 1 1,-13-1-16,-13 0 0,0 14 16,0-1-16,0 14 15,0 0 1,0 0-16,0-14 16,0 14-16,0-13 15,0 12-15,0-12 16,0 13-1,0-14 1,0 14 0,0-13-1,0 12-15,0 1 16,0 0-16,0 0 16,0-1 171,-13 14-171,-13 0-1,-14 0 1,-13-26-16,-26 13 16,26 0-1,-13-14 1,-14 27-16,1-13 0,-67 0 15,54-1 1,26-12-16,0 26 16,13 0-1,13 0-15,-13 0 16,27 0-16,-14 0 0,0 0 16,27 0-1,-27 0-15,1 0 0,12 0 16,-13 0-16,1 0 15,-14 0-15,0 0 16,-13 0-16,-14 0 16,1 0-16,0 0 15,12 0 1,-12 0-16,0 0 16,-1 0-16,14 0 15,-93 0 1,80 0-1,-14 0-15,14 0 0,-14 0 16,27 0-16,-53 0 16,13 0-16,27 0 15,-53 0-15,52 0 16,-12 0-16,-14 0 16,13 0-16,14 0 15,-14 0-15,40 0 16,-26 0-1,-14-13-15,41 13 0,-1 0 16,0 0-16,-13 0 16,-14 0-1,-26 0-15,40 0 0,-40 0 16,14 0 0,-14 0-16,53 0 0,-26 0 15,26 0-15,13 0 16,27 0-1,-14 0-15,14 0 0,-27 0 16,14 0 0,0 0-16,12 0 15,-25 0-15,12 0 16,1 0-16,-14 0 16,0 0-16,14-14 15,-27 14-15,0 0 16,0 0-16,0 0 15,0 0-15,0 0 16,-26 0-16,39 0 16,-13 0-1,0 0-15,1 0 0,25 0 16,-26 0 0,40 0-16,-53-26 0,53 26 15,-1 0-15,-12 0 16,-1 0-1,-12 0-15,-1 0 0,14 0 16,-14 0-16,13 0 16,1 0-1,-27 0-15,13 0 0,1 0 16,25 0-16,-12 0 16,13 0-16,0 0 109,-1 0-93,1 13-16,0 0 31,0-13-16,13 14-15,-14-14 16,14 26 0,0-13-16,0 14 15,-13 13 1,13-27 0,0 0-1,0 0-15,0 0 0,0 1 16,0 12 15,0-13-31,0 14 0,0-14 16,0 27-1,0-1-15,0 1 0,0-27 16,0 27-16,0 0 16,0-1-1,0 1-15,0-13 16,0-1-16,0 14 15,0-14-15,0-13 16,0 14 0,0-14-1,0 0 32,13-13 109,27 0-140,26 0 0,14 0-1,25 0 1,-38 0 0</inkml:trace>
  <inkml:trace contextRef="#ctx0" brushRef="#br0" timeOffset="26307.53">16603 2461 0,'132'-14'0,"-92"14"0,-14 0 0,1 0 16,39 0-16,-40 0 16,14 0-16,-27 0 0,13 0 0,41 0 15,-54 0 1,27 0-16,-27 0 15,0 0-15,0 0 16</inkml:trace>
  <inkml:trace contextRef="#ctx0" brushRef="#br0" timeOffset="26560.94">17052 2289 0,'119'13'0,"-105"-13"0,39 26 16,-40-26-16,13 14 16,-12 12-16,25 14 15,-26-14-15,-13-13 0,0 14 0,0-14 16,0 14-16,0-1 15,-13-13-15,13 14 0,-13-1 0,0-13 0,0 1 16,-1 12-16</inkml:trace>
  <inkml:trace contextRef="#ctx0" brushRef="#br0" timeOffset="28534.05">1812 3334 0,'93'-27'0,"-80"27"0,14 0 0,-14 0 15,13-13-15,-12 13 0,12 0 16,-13 0-16,14-13 0,-14 13 0</inkml:trace>
  <inkml:trace contextRef="#ctx0" brushRef="#br0" timeOffset="28700.84">1998 3373 0,'39'-13'15,"1"0"1,-14 0-16,-12 13 0,12 0 16,-13-13-16,14 13 0</inkml:trace>
  <inkml:trace contextRef="#ctx0" brushRef="#br0" timeOffset="37783.23">12951 2686 0,'-13'0'0,"0"0"15,0-14-15,-1 28 16,1-14-16,0 0 16,-13 13-1,12 0-15,1 0 16,0 0-16,0-13 0,-14 53 16,27-39-1,-13-1-15,0 13 0,13-12 0,-14 12 16,1 14-16,0-14 0,13-13 15,0 14-15,0-1 0,0 40 16,0-52-16,0 12 16,0 1-16,0-1 0,13-13 15,-13 14-15,13-1 0,-13-13 0,14 14 16,-1-14-16,0 14 0,0-14 0,1 0 16,-1 13-16,27 1 15,-27-14-15,0 0 0,13 1 0,-12-1 16,12 0-16,1-13 0,-1 13 15,1-13-15,-14 13 0,40-13 16,-27 14-16,1-14 0,-1 0 0,0 0 16,1 13-16,-1-13 0,1 0 15,-1 0-15,1 13 0,12-13 16,-12 0-16,-1 13 0,-12-13 0,12 0 16,14 0-16,-14 14 0,1-14 0,-1 0 15,1 0-15,12 0 0,27 0 16,-26-14-16,53 14 15,-40-13-15,-14 13 0,1-13 0,0 13 16,-1-13-16,1 13 0,0-14 16,-14 14-16,40-13 15,-39 13-15,-1 0 0,1-13 0,-1 13 16,1 0-16,-1-13 0,1 13 0,-1 0 16,0 0-16,27-13 15,-26 13-15,-1 0 0,1-14 0,-14 14 16,13 0-16,1 0 0,-1 0 15,-12 0-15,12-13 0,-13 13 0,1 0 16,-1 0-16,0 0 0,13 0 0,-12 0 16,-1 0-16,0 0 15,0 0 1,1 0-16,-1 0 0,-13-13 31,-27 13-15,14 0-16,-13-13 0,-1 13 0</inkml:trace>
  <inkml:trace contextRef="#ctx0" brushRef="#br0" timeOffset="38890.48">1812 3823 0,'159'-13'16,"-106"13"-16,0 0 0,26-13 0,1 13 15,-1 0-15,0-13 0,14 13 16,0 0-16,-1-14 0,1 14 0,0 0 16,-1 0-16,14 0 0,-13-13 15,-1 13-15,1 0 0,-1 0 0,1 0 16,0 0-16,-14-13 0,14 13 0,-14 0 15,-26 0-15,13 0 0,-13 0 16,0 0-16,-13 0 0,-1 0 0,1 0 16,-14 0-16,-12 0 0,12 0 15,-13 0-15,14 0 0,-14-13 0,0 13 16,0 0-16,-39-14 31</inkml:trace>
  <inkml:trace contextRef="#ctx0" brushRef="#br0" timeOffset="39337.14">2103 4141 0,'27'13'0,"-14"-13"15,0 0-15,14 0 0,26 0 16,0 0-16,13-13 0,13 13 15,1-13-15,-1-1 0,14 1 0,-1 13 0,27-26 16,0 12-16,-26 1 16,-1 0-16,1 0 0,0-1 0,92 1 15,-106 0-15,1 0 0,-1 13 0,-13 0 16,0-13-16,-13 13 0,-13 0 16,13-14-16,-13 14 0,12 0 15,-25 0-15,-14 0 0,14 0 16,-14 0-16,13 0 0,-13 0 0,1 0 15,-1 0-15,0 0 16,0 14-16</inkml:trace>
  <inkml:trace contextRef="#ctx0" brushRef="#br0" timeOffset="47626.34">19024 661 0,'13'0'16,"0"14"-1,0-14 1,0 0-16,1 0 0,-1 13 0,0-13 16,14 0-16,-14 0 0,13 0 0,-12 0 15,12 0-15,27 0 16,-27-13-16,1 13 0,-1 0 0,1-14 16,-14 14-16,13-13 0,-12 13 15,12 0-15,-13-13 0,1 13 16,-1-13-16,13 0 0,-26-1 0,0 1 15,0 0 1,-13-14 0,0 27-16,0-13 15,-1 13 1,1 0-16,0 13 16,0 14-1,13-14-15,-14 0 0,14 14 0,-13 39 16,13-40-16,0 1 15,0-1-15,0 1 0,0 12 16,0-25-16,0 12 16,0-13-16,0 1 0,0 12 0,0-13 15,0 0-15,0 1 0,0-1 16,0 0-16,0 0 0,0 1 16</inkml:trace>
  <inkml:trace contextRef="#ctx0" brushRef="#br0" timeOffset="49185.14">19539 886 0,'0'53'16,"0"-40"-16,14-13 16,-1 0-1,13 0 1,-12 0-16,-1 0 16,13-13-1,-26 0-15,14 13 16,-1 0-1,0 26 1,0-12-16,0-1 0,14 80 16,-14-67-16,-13-13 15,13 14-15,-13-14 0,14 13 16,-14-12-16,0-1 0,0 0 0,0 14 16,-14-14-16,14 0 15,-13-13-15,0 13 0,0-13 16,-1 13-16,1-26 0,-13 13 15,13-13-15,-1 0 16,1 13-16,13-13 0</inkml:trace>
  <inkml:trace contextRef="#ctx0" brushRef="#br0" timeOffset="49618.31">19778 754 0,'13'27'0,"-13"-1"0,0-13 16,0 0-16,13 14 0,-13-1 16,0 1-16,0-1 0,13-13 0,-13 27 15,0-13-15,0-14 0,0 13 16,0-12-16,0-1 0,0 0 15,0 0-15,0 0 16,0-39 15,0 13-31,0 0 0,14-1 16,-14 1-16,13 0 0,-13 0 0,13-1 16,0 1-16,0 0 15,1 13-15,-1-13 0,0 26 31,-13 0-15,0 0-16,-13 1 16,0-1-16,-1 0 0,1 0 15,0-13 1,0 0 0</inkml:trace>
  <inkml:trace contextRef="#ctx0" brushRef="#br0" timeOffset="50346.03">19989 741 0,'13'26'31,"-13"-12"-31,14-1 16,-14 13-1,0-13-15,0 1 0,0-1 32,13-13-17,0 13 48,0 0-32,1-13-15,-1 0-1,0 14 1,0-14 0,1 0-1,-1 0 1,0-14-1,0 14-15,0-13 0,1 13 16,-14-13-16,0 0 16,13 13-1,-13-14-15,0 1 16,-27 26 15,27 1 0,0-1-15,14 0 0,-1-13-16,0 0 15,0 0-15,-13-13 0,14 13 0,-1 0 16,0 0-16,14-13 16,-14 13-1,0 13 1,0 0-1,-13 0 1,13 1-16,1-1 31</inkml:trace>
  <inkml:trace contextRef="#ctx0" brushRef="#br0" timeOffset="50809.24">20545 661 0,'13'53'16,"-13"-26"-16,0-14 15,0 14 1,-13-14 15,0 0-15,-1 0-16,1 0 0,0 1 31,0 12-15,39-13-1,-13-26 1,1 13-16,25-13 15,-25 13-15,-1 0 16,0-13-16</inkml:trace>
  <inkml:trace contextRef="#ctx0" brushRef="#br0" timeOffset="51030.33">21048 635 0,'26'-13'31,"-13"13"-31,1 0 16</inkml:trace>
  <inkml:trace contextRef="#ctx0" brushRef="#br0" timeOffset="51189.12">21021 728 0,'13'0'16,"14"0"-16,-14 0 0,0-14 15,1 14-15,-1-13 0,0 13 0,13-13 16,-12 13-16</inkml:trace>
  <inkml:trace contextRef="#ctx0" brushRef="#br0" timeOffset="52338.58">21788 437 0,'-52'13'0,"38"0"15,1-13-15,0 13 16,0 0-16,-1 1 0,14-1 15,0 0 17,27-26-32,-14 13 15,0 0-15,-13-13 0,14 13 16,-1 0-16,0-14 0,13 14 16,-12 14-1,-14 12 1,0-13-1,0 1-15,0-1 0,0 0 0,0 0 16,0 1-16,0-1 16,0 0-16,0 0 0,0 0 15</inkml:trace>
  <inkml:trace contextRef="#ctx0" brushRef="#br0" timeOffset="52635.07">22053 463 0,'-40'0'16,"27"13"-16,13 0 15,0 1 1,13 12-1,-13-13-15,0 1 0,0-1 0,0 0 16,0 0 0,14-13-16,-14 14 0,-14-1 15,14 0-15,-13 0 0,0 0 16,0-13 0</inkml:trace>
  <inkml:trace contextRef="#ctx0" brushRef="#br0" timeOffset="53511.25">22371 450 0,'13'26'15,"-13"1"1,-13-14-16,13 0 15,0 0-15,-14 14 16,1-27 0,13 13-1,27-26 17,-14 0-17,0 13-15,0-14 0,0 1 16,-13 0-16,14 13 0,-14-27 15,13 14 1,-13 0-16,0 0 0,0 0 16,-13-1-1,13 1-15,0 0 16,-14 13 0,-12 26-1,13-12 1,13-1-16,-13-13 0,13 13 15,0 0-15,-14 0 16,14 1 0,0-1-16,14 0 15,-14 0 1,13 1 0,-13-1-16,13 13 15,-13-12-15,0-1 16,0 0-16,13-13 0,-13 26 15,0-12 1,0-1-16,0 0 0,0 0 16,0 1-16,0-1 15,13-13 17,1 0-17,-1-13-15</inkml:trace>
  <inkml:trace contextRef="#ctx0" brushRef="#br0" timeOffset="53945.45">22609 476 0,'-14'0'16,"28"27"-1,-14-14 1,0 0-16,0 0 0,0 1 16,0-1-1,-14 0-15,14 0 0,-13 1 16,0-1 0,39-26 30,-26-1-46,27 1 16,-1 0 0,-26 0-16,27-14 15,-27 14-15,13 0 0,0-1 16,-13 1-16,0 0 16,13 13-16,-13-13 0,0 0 15,-13-1-15,0 1 31,0 13-31,0 0 16,-1 0-16</inkml:trace>
  <inkml:trace contextRef="#ctx0" brushRef="#br0" timeOffset="59746.77">19659 1640 0,'13'27'15,"-13"-14"-15,13 0 0,-13 1 0,0-1 16,0 0-16,0 13 0,13-12 16,-13-1-16,0 0 0,0 0 15,0 14-15,0-14 0,0 0 16,13-13-16,-13 14 0,0-1 16</inkml:trace>
  <inkml:trace contextRef="#ctx0" brushRef="#br0" timeOffset="60375.18">19685 1680 0,'40'-26'0,"-27"26"15,0 0-15,14 0 16,-14 0-1,-13 13-15,0 13 16,0-12-16,0-1 16,-13 0-16,13 0 15,0 0 1,13-13 0,-13 14-16,13-14 0,0 0 15,-13 13-15,27-13 16,-14 13-16,0 0 15,-13 1-15,0-1 16,0 0-16,-13 0 16,0 1-16,-14 12 15,14-13-15,0-13 0,13 13 16,-13-13-16</inkml:trace>
  <inkml:trace contextRef="#ctx0" brushRef="#br0" timeOffset="60515.39">19910 1812 0,'13'40'16,"-13"-27"-16,0 1 0,0-1 15</inkml:trace>
  <inkml:trace contextRef="#ctx0" brushRef="#br0" timeOffset="60671.21">19883 1640 0</inkml:trace>
  <inkml:trace contextRef="#ctx0" brushRef="#br0" timeOffset="60922.25">20055 1627 0,'14'53'15,"-14"-40"-15,0 1 0,13 25 16,-13-26-16,13 27 16,-13-27-16,13 27 15,-13-27 1,14 1-1</inkml:trace>
  <inkml:trace contextRef="#ctx0" brushRef="#br0" timeOffset="61542.26">20717 1958 0,'26'13'16,"-26"0"-16,14-13 0,-14 14 15,0-1-15,13-13 0,-13 13 16,13 0-1,0 1-15,0-14 0,1 0 16,-1 0 0,0 0-16,0-14 0,-13 1 15,14 13-15,-14-13 0,13-14 16,-13 1-16,0 13 16,13-14-16,-13 1 15,0 13 1,0-1-1</inkml:trace>
  <inkml:trace contextRef="#ctx0" brushRef="#br0" timeOffset="61718.9">21021 1892 0,'0'39'15,"0"-25"-15,13-1 0,-13 0 0,0 0 16,0 14-16,0-14 16,0 0-1</inkml:trace>
  <inkml:trace contextRef="#ctx0" brushRef="#br0" timeOffset="62058.27">21259 1759 0,'13'67'15,"-13"-54"-15,14 13 0,-14-12 16,0-1-16,13 0 0,-13 27 15,0-27-15,13 0 16,-13 0-16</inkml:trace>
  <inkml:trace contextRef="#ctx0" brushRef="#br0" timeOffset="62254.73">21259 2011 0,'-13'-13'15,"26"-1"17,14 1-17,-14 13 1,0-13-16,14 0 16,-1 13-16,1-14 15</inkml:trace>
  <inkml:trace contextRef="#ctx0" brushRef="#br0" timeOffset="65536.45">22701 291 0,'66'0'0,"-52"0"0,12 0 15,-13 0-15,14 0 16,-1 13-16,-13-13 16,1 0-16,-1 0 15,0 27-15,0-27 0,-13 13 16,14 0-16,-1 0 16,0 40-16,14-13 0,-14-14 15,13 54-15,1-27 16,-1-14-16,-13 14 0,14 0 0,-1 40 15,-12-40-15,-1-14 16,13 41-16,-26-40 0,13 12 0,1-12 16,-1 0-16,0 39 15,-13-39-15,13 39 0,1-26 16,-14 13 0,13-39-16,-13-1 0,0 54 15,13-54-15,-13 27 16,0-40-16,0 14 0,13-1 15,-13 1-15,0 12 16,0-25-16,0-1 16,13-13-16,-26 13 0,13 0 15,0 0-15,-13 1 0,0-1 16,0 0-16,-1 0 0,-52 1 16,-13 12-16,26-13 15,-212 27 1,93-40-16</inkml:trace>
  <inkml:trace contextRef="#ctx0" brushRef="#br0" timeOffset="66990.49">19447 291 0,'-251'79'15,"184"-52"-15,28-14 16,-14 14-16,26-14 16,-12 0-16,12 27 15,14-27-15,-14 40 16,14-27-16,13 1 0,0 52 16,0 14-16,0 13 15,27 13 1,-1 13-16,-13-66 0,40 119 15,-13-52 1,13-28-16,-27 1 16,-12-66-16,25 79 15,-25-66 1,-14-13-16,0-14 0,13 1 16,-13-14-16,0 13 0,0 14 15,0-14-15,0-12 16,0 12-16,13 0 15,0 1 1,14-14 0,-14 0-16,13 1 0,1-1 15,39 0 1,27 14-16,12-14 16,54 0-16,-40-13 15,-53 0-15,67 0 16,-1 0-16,-79 0 0,53 0 15,-40 0 1,-26 0-16,-1 0 16,1 0-16,-27 0 0,14 13 15,-1-13-15,-13 0 16,1 0 0,-1 0-16,0 0 15,0 0 1,0 0 15,-13 13-15,14-13-16,-1 0 31,-13 14 31,13-28 220,-26 1-267,13 0 1,0 0-16</inkml:trace>
  <inkml:trace contextRef="#ctx0" brushRef="#br0" timeOffset="73507.74">1733 2963 0,'0'-26'31,"-13"13"-16,0-40 1,-1 0-16,-12-13 16,-1 0-16,1 13 15,26 26 1,-13 1 0,39 39 15,-13 0-31,14 0 15,13 27-15,-14-27 16,14 14 0,-14-1-1,-13-13-15,-13 1 16,-13-1 0,0 0-16,-53 14 15,53-14 1,-14 0-16,-92 14 15,79-14 1,27-13-16,-13 13 16,12-13-16,28-40 31,39-26-31,-27 53 16,40-80-1,0 14-15,-26 26 16,-27 40-1,0-14-15,14 1 16,-27 52 31,-13 1-47,13-1 16,0 14-16,-14 13 15,14-27-15,-26 40 16,26-26-16,-13 13 15,13-40 1,0 27-16,-13 0 16,13-14-1,0-13 1,0 1 0</inkml:trace>
  <inkml:trace contextRef="#ctx0" brushRef="#br0" timeOffset="121242.86">19209 8996 0,'-13'53'0,"13"-40"0,0 40 15,0-40-15,0 14 0,0-1 0,0 1 16,-14-1-16,14-13 0,0 14 15,0-14-15,14 0 0,-14 0 16,0 1-16,0-1 0,0 0 16,13-26-1,-13 0 1,0-1-16,13-12 0,-13-1 0,0-12 16,13-1-16,0 14 0,-13-1 0,14-13 15,-14 14-15,13 13 16,0 0-16,0 13 15,1 13 1,-14 0-16,13 13 0,-13-12 16,13-1-16,-13 0 15,13 14-15,1-14 0,-1 0 16,0-13-16,0 13 16,14-13-16,-14 0 15,0 0 1,0 0-16,-13 14 0,14-14 0,-1 13 15,0 0 1,-13 0-16,13 0 16,-13 1-16,13-14 0,-13 13 15,14 0-15,-1-13 16,-13 13 0</inkml:trace>
  <inkml:trace contextRef="#ctx0" brushRef="#br0" timeOffset="121721.69">19791 9181 0,'-13'0'0,"-1"13"16,14 1-16,-13-14 16,0 13-16,13 0 15,-13 0-15,13 0 16,-14 14-16,14-14 16,0 0-1,14-13-15,12-13 16,-13 0-1,1 0 1,-1 13 0,0 0-16,0 13 31,1-13-15,-1 13-1,0 0 1,0-13-1,0 0 1,1-13 0,-1 13-1</inkml:trace>
  <inkml:trace contextRef="#ctx0" brushRef="#br0" timeOffset="122096.05">20016 9194 0,'0'40'31,"0"-27"-31,0 0 16,0 1-16,0-1 31,13-13-15,0 0 15,0 13-16,1-13 1,12 0 0,-13 0-16,1 0 15,-1 0-15,13 0 0</inkml:trace>
  <inkml:trace contextRef="#ctx0" brushRef="#br0" timeOffset="122636.63">20241 9208 0,'-14'26'31,"14"-13"-31,14-13 16,-1 13 0,13-13-16,-12-13 15,-1 13 1,0 13-16,0-13 15,0 14 1,1-14 0,12 0 15,1-14-15,-1-12-1</inkml:trace>
  <inkml:trace contextRef="#ctx0" brushRef="#br0" timeOffset="123031.72">20571 8983 0,'0'-14'16,"0"41"0,0-14-16,0-39 0,0 92 15,0 0-15,0-26 16,0-14-16,0 1 0,-13 12 15,0 41-15,-14-28 16,1-12 0,13-27-16,0-13 31,-1-13-31,14-13 0,14-14 16,-14 27-1,26-27-15,14 14 16,-27 12-16,0 14 0,0-13 15,1 13-15,12 0 16,-13 0 0,1 13-16,-1-13 15,0 14 1,0-1 0,0-26-1</inkml:trace>
  <inkml:trace contextRef="#ctx0" brushRef="#br0" timeOffset="124200.08">20942 9379 0,'66'-66'16,"-40"53"-16,27-13 0,-13-1 15,0 14-15,-14 0 16,1 0-16,-14 13 15,0-14-15</inkml:trace>
  <inkml:trace contextRef="#ctx0" brushRef="#br0" timeOffset="124414.19">20942 9446 0,'92'53'16,"-39"-40"-1,-13 0-15,0 0 16,-14-13-16,14 13 16,-27 1-16,13-14 15,-12 0-15,-1 13 0,0-13 16</inkml:trace>
  <inkml:trace contextRef="#ctx0" brushRef="#br0" timeOffset="125451.23">21630 8837 0,'-27'13'31,"27"1"-31,0-1 16,-13 0-16,13 27 0,0-27 16,0 13-16,0-12 0,0-1 15,0 0-15,0 0 0,0 14 16,0-1-16,0-13 0,0 1 15,-13-28 17,0 1-17,-1 0 1,1 13-16,0-13 16,26 0 15,0 13-31,1 0 15,-1 0-15,0 0 0,0 0 16,0 0-16,1-14 0,25 14 16,-12-13-16</inkml:trace>
  <inkml:trace contextRef="#ctx0" brushRef="#br0" timeOffset="125725.39">21855 8956 0,'-14'-13'16,"1"13"-16,40 13 15,-67-13-15,27 0 0,-1 13 16,14 1 0,0-1-1,0 0-15,14-13 16,-1 0 0,0 13-16,0-13 15,1 0 1,-1 14-1,0-14 1,-13 13-16,13-13 16,1 26-1,12 1-15</inkml:trace>
  <inkml:trace contextRef="#ctx0" brushRef="#br0" timeOffset="126504.98">21656 9710 0,'0'13'31,"0"1"-15,13-41 31,1 1-32,-14 13 1,0-1-16,13 14 15,0 0 17,0 14-32,14-14 31,-27-14-31,13 14 16,-13-13-16,13 0 0,0 0 15,-13-1 1,0 1-1,14 13-15,-14-13 16,13 13-16,0 13 16,0-13-16,1 0 15,-1 13 1,-13 1 0,13-14-16,0 13 15,1-13 1,-14 13 15,-14-39 32</inkml:trace>
  <inkml:trace contextRef="#ctx0" brushRef="#br0" timeOffset="126767.72">22000 9499 0,'13'26'31,"-13"-13"-31,27 53 16,-27-52-16,0-1 15,0 13 1,-13-12-16,13-1 15,13-40 32,26 1-31,-25 26-16,-1-13 0,13-1 16,1 14-16,-14-13 15,27 0-15</inkml:trace>
  <inkml:trace contextRef="#ctx0" brushRef="#br0" timeOffset="127730.77">21153 10014 0,'437'14'16,"-291"-28"0,-14-12-16,-66 13 15,0 0-15,0-1 0,-13-12 0,66-14 16,0 0-1,-26-12-15,-53 38 0,-14-12 16,27-1-16,-13-12 0,26-41 16,-13 1-16,0-14 15,-40 54-15,13-14 0,-26 0 16,14-13-16,-14 26 0,-27-132 16,1 119-16,-1 0 15,-79-53-15,40 53 0,-93-52 16,93 65-16,-26 0 15,-107-39-15,-12 26 16,-120-26 0,27 39-1,118 27-15,81 13 16,-253 39-16,239-12 16,13-1-16,1 14 0,-1 0 0,-106 39 15,40 14 1,93-40-16,-40 26 0,66-26 15,-27 39-15,-12 54 16,79-67-16,26 1 16,13-41-16,1 1 15,-1 0-15,54 26 16</inkml:trace>
  <inkml:trace contextRef="#ctx0" brushRef="#br0" timeOffset="128386.89">20439 10438 0,'-79'145'15,"65"-105"-15,-12 39 16,13-12-16,0-28 16,13 1-16,-14 13 0,14 0 15,14-27-15,-14 1 16,13-1-16,0-13 0,13 40 0,27-13 15,27-14 1,-27-12-16,0-1 16,13-13-16,-27 0 15,14 0-15,-39 0 16,12-13 0,14-1-16</inkml:trace>
  <inkml:trace contextRef="#ctx0" brushRef="#br0" timeOffset="128642.74">20783 10927 0,'53'14'0,"-27"-1"16,-12-13-16,39 39 15,-27-25-15,0 25 16,-12-12-16,-1-1 16,-13-13-16,-27 54 15,1-41-15,-27 27 16,27-40-16,-1 14 16,1-14-16,-27 27 0,26-27 15,14-13-15</inkml:trace>
  <inkml:trace contextRef="#ctx0" brushRef="#br0" timeOffset="133343.66">21577 10755 0,'-13'-13'0,"-14"13"0,1 13 32,12-13-32,-25 14 15,25-14-15,1 13 0,0 0 16,0 0-1,26 0-15,-13 1 16,26-1-16,-12 0 16,-1 0-16,0-13 0,0 14 15,1-1-15,-1-13 0,-13 13 0,13-13 0,0 13 16,-13 1-16,14-14 16,-14 13-16,0 0 15,-14-13-15,1 13 0,0 0 0,0-13 16,-1 14-16,1-14 0,0 13 15,-27 0-15,14 0 16,13-13-16,-1 0 0,1 0 0,0 0 16,0 0-1</inkml:trace>
  <inkml:trace contextRef="#ctx0" brushRef="#br0" timeOffset="133807.49">21616 10755 0,'0'27'31,"0"-14"-15,0 0-16,0 0 0,0 14 0,0-1 15,0 1-15,0-1 16,0 40-16,0-39 0,0-1 0,0 27 15,0-26-15,0-1 16,0-13-16,0 1 16,0-1-16,0 13 0,0-12 0,0-1 15,-13-40 17,13 14-32,-13-13 0,13 12 0,13-65 15,0 53 1,-13-1-16,14 14 0,-1-14 15,0 1-15,0 13 0,1 13 0,12-13 16,-13 13-16,1 0 16,-1 13-1,-13 0-15,-13 13 16,13-12 0,-14-14-16,1 13 0,0 0 0,0 0 15,-14 1-15,14-14 16,0 0-1</inkml:trace>
  <inkml:trace contextRef="#ctx0" brushRef="#br0" timeOffset="134407.92">22013 10861 0,'-39'13'0,"25"-13"16,14 14-16,-13-14 0,0 13 16,0 13-16,0-26 15,13 14-15,0-1 16,-14-13-16,14 26 15,14-13-15,-14 1 32,13-28-32,13 1 15,-13 13 1,-13-13-16,14 0 16,-1 13-1,0-13-15,0 26 31,1-13-15,-1 13 0,0-13-1,0 0 17,0 0-17,1-13 1,-1 13 15,0 13 0,0-13-31,1 0 32,12 0-17,1-13 1</inkml:trace>
  <inkml:trace contextRef="#ctx0" brushRef="#br0" timeOffset="134638.04">22516 10888 0,'0'-14'16,"26"14"0,-12-13-16,25 13 15,-25 0-15,-1 0 16,0 0 0,0-13-16</inkml:trace>
  <inkml:trace contextRef="#ctx0" brushRef="#br0" timeOffset="134876.46">22675 10716 0,'66'13'15,"-53"0"-15,53 40 16,-66-40-16,14 0 16,-28 1-16,1 25 15,0-25-15,-27 12 16,27-13-16,0 1 16,-1-14-16,1 13 0</inkml:trace>
  <inkml:trace contextRef="#ctx0" brushRef="#br0" timeOffset="137364.03">23244 10689 0,'-14'-13'15,"14"39"-15,0-12 16,0-1-16,0 0 16,0 0-16,0 1 0,-13-14 15,13 13-15,0 0 0,0 13 16,0-12-1,0-1-15,0-40 47,0 14-31,0 0-16,13-13 0,-13 12 16,0 1-16,14 13 15,-14-13-15,0 0 16,13 39 15,-13-13-31,13 1 16,-13-1-16,13 0 0,-13 0 15,14-13 1,-1 13-16,0-13 16,0-13-1,-13 0-15,13 0 16,-13 0-16,0-1 0,0 1 15,14-13-15,-14-1 16,0 14-16,0 0 16,0-1-1</inkml:trace>
  <inkml:trace contextRef="#ctx0" brushRef="#br0" timeOffset="137835.7">23429 10689 0,'13'27'16,"-39"-67"-16,65 80 16,-39-27-16,14 0 15,-1 0-15,-66-79 0,119 146 16,-53-67-16,0-13 16,1 0-1,-14-13-15,0-1 16,-14 1-16,14 0 15,-13 0 1,0-1 0,13 1-16,-13 13 0,26-13 47,13 13-32,-12 0-15,-1 13 16,0-13-16,14 13 0,-14 1 15,0-14-15,0 13 16,-13 0-16,14-13 16,-14 13-16,13-13 15,0-13 17,-13 0-17,0 0 1,13 13-16,-13-14 0,0 1 15,13 0 1,1 13-16</inkml:trace>
  <inkml:trace contextRef="#ctx0" brushRef="#br0" timeOffset="138507.79">23760 10676 0,'0'13'15,"0"14"-15,0-14 16,0 0 0,13 0-1,13-13 17,-13 0-1,1 0-31,-1 0 15,0 0 1,0 0-16,1 0 31,-1 0-15,0 0 0,0 14-1,1-14 1,-1 0 15,0 0-31,0 0 16,0-14-1,-13 28 32,0-1-16,0 0-15,14-26 0,-1 13-16,0-27 15,0 14 1,1-13-16,-1 12 0,-13-12 16,13 13-16,0-1 15,-13 1-15,0 26 47,0 14-47,0-14 16,0 0-16,0 14 15,0-1 1,0 1-16,-13-14 16,13 0-16</inkml:trace>
  <inkml:trace contextRef="#ctx0" brushRef="#br0" timeOffset="138719.98">23535 10941 0,'79'-27'16,"-13"14"-16,14 0 15,52-1 1,-92 14-16,-1 0 16,14-13-16,-40 13 0,27 0 15,-27 0-15</inkml:trace>
  <inkml:trace contextRef="#ctx0" brushRef="#br0" timeOffset="139135.81">21537 11311 0,'371'-27'16,"-292"14"-16,238-40 15</inkml:trace>
  <inkml:trace contextRef="#ctx0" brushRef="#br0" timeOffset="192159.57">1548 5239 0,'40'0'15,"-14"0"-15,0 0 16,54 0-16,-41 0 16,54-13-16,-53 13 0,-14 0 15,14 0-15,53 0 16,-80 0-16,13 0 0,1 0 16,-1 0-16,-13 0 0,14 0 0,-1 0 15,1-14-15,-1 14 0,1 0 16,12 0-16,-12 0 0</inkml:trace>
  <inkml:trace contextRef="#ctx0" brushRef="#br0" timeOffset="194123.5">2858 5239 0,'-14'-13'16,"28"39"-1,-1-26-15,-13 13 0,13-13 16,0 13-16,0-13 0,14 14 15,-1-1-15,14 0 16,-27-13-16,14 13 0,-1-13 16,-13 0-16,40 14 0,-13-14 15,-14 0-15,1 0 16,13-14-16,13 14 16,-40 0-16,13 0 0,-13-13 15,27 13-15,-27 0 0,14-13 16,-1 0-16,-13 13 15,1 0-15,-1-14 0,13 1 16,-12 13-16,-1-13 16,0 13-16,-13-13 15,13 13-15,-13-13 0,14 13 16,-14-14-16,13 14 0,0-13 16,-13 0-1,13 13-15,-13-13 16,13 13-16,1-14 15,-1 1 1,0 0 0,-13 0-16,13-1 15,-13 1 1,0 0 0,0 0-1,0 0 1,14-1-16,-14 1 15,0 0 1,0 0 0,0-1-16,0 1 15,0 0 1,0 0 0,-14-1-16,14 1 15,0 0 1,0 0-16,-13 0 15,13-14 1,-13 14 0,13 0-16,-13 13 15,13-14-15,-14 1 16,14 0-16,-13 0 0,0-1 16,0 1-1,-14 0-15,14 0 16,0 13-16,-14-13 15,14-1-15,0 14 16,0-13-16,-1 13 0,1 0 16,0-13-16,0 13 15,-27-13-15,14-1 16,12 14-16,1 0 16,-26 0-16,25-13 0,-25 13 15,-1 0 1,27 0-16,-1 0 15,-12-13-15,13 13 0,-14 0 16,1 0 0,13 13-16,-1-13 0,-12 0 15,13 0-15,-14 0 16,1 0-16,26 13 0,-13-13 16,-1 0-16,1 0 15,-13 14-15,-14-14 16,14 13-16,12-13 15,1 0-15,-27 13 16,14 0 0,13-13-16,-1 14 15,1-14-15,0 13 16,0-13-16,0 13 16,-1-13-16,1 13 15,13 0-15,-13-13 16,0 14-16,-1-1 15,1 0-15,0 0 16,0 1-16,13 12 16,-14-26-16,14 13 15,-13 1-15,13-1 16,-13 0-16,13 0 16,0 0-16,0 1 0,0-1 15,0 0-15,-13 0 16,26 27-1,-13-27 1,0 14-16,13-14 16,-13 0-16,0 0 0,13 1 15,-13-1-15,14-13 16,-14 13-16,0 0 0,13 1 0,0-1 16,14 0-1,-27 0-15,13 1 16,0-14-16,0 13 15,14 0-15,-14-13 16,-13 13-16,13-13 16,0 0-16,1 13 15,-1-13-15,0 0 16,-13 14-16,13-14 16,1 0 15,-28 0 63</inkml:trace>
  <inkml:trace contextRef="#ctx0" brushRef="#br0" timeOffset="197903.31">3916 8427 0,'-13'-13'15,"39"26"1,1 0 0,-1 14-16,14-1 0,13 1 0,-14-1 15,14 14-15,0-1 0,0 1 16,13 0-16,-13-1 0,13 1 0,53 53 15,-66-54-15,0 1 0,53 40 16,-66-41-16,13-12 16,-1 12-16,68 28 15,-94-41-15,14-13 0,-14 0 0,1 1 16,-14-1-16,0 0 0,0-13 16,1 0-16,-14 13 0,13-13 15,-13-13-15,0 0 16</inkml:trace>
  <inkml:trace contextRef="#ctx0" brushRef="#br0" timeOffset="199154.68">1865 8930 0,'0'13'15,"0"0"-15,14 14 16,-14-14-16,0 0 15,0 0-15,0 27 0,0 13 16,0-27-16,0-12 0,0 12 16,0-13-16,0 14 0,0-14 15,-14 0-15,28 0 0,-28 1 0,14-1 16,0 0-16,0 0 0,14 1 16,-14-41 15,0 14-31,0-14 0,0 14 15,13-13-15,-13-1 16,0 1-16,0-27 0,13 26 0,-13 1 16,0 0-16,13 12 0,-13 1 15,13-13-15,-13 12 16,14 1-16,-14 0 0,13 13 0,0-13 16,0 13-16,1 0 15,-14 13-15,13 0 0,0 0 16,0 14-16,1-14 0,-1 14 0,0-1 15,-13 0-15,13 1 0,-13-1 0,13-12 16,-13 12-16,14 1 16,-14-1-16,0-13 0,13 0 0,-13 1 0,0-1 15,13 0-15,-13 0 0,0 1 16,13-1-16,-13 0 16</inkml:trace>
  <inkml:trace contextRef="#ctx0" brushRef="#br0" timeOffset="199362.41">1892 9208 0,'-13'0'0,"65"0"16,-38 0 0,-1-14-16,0 14 15,14 0-15,-14 0 0,0 0 0,14 0 16,-14 0-16,0 0 0</inkml:trace>
  <inkml:trace contextRef="#ctx0" brushRef="#br0" timeOffset="200449.82">2408 9049 0,'-53'79'16,"40"-66"-16,13 14 0,0-14 15,0 14-15,0-1 0,0-13 16,0 27-16,13-14 0,-13-12 16,13-1-16,0 0 0,-13 0 15,13-13-15,1 13 0,-1-13 0,0 0 16,0 0-16,1 0 0,-1-13 15,0 0-15,0 0 0,1-14 16,12 1-16,-13-1 0,0 1 0,1-53 16,-1 39-16,-13 0 15,13 1-15,-13-1 0,0 13 0,13 1 16,-13-1-16,0 1 0,0 13 0,0-14 16,0 14-16,0 0 0,14 0 0,-14-1 15,0 1-15,0 0 16,-14 39 15,14 1-31,-13-14 0,13 14 16,0-1-16,0 0 0,13 14 0,-13-13 15,0-1-15,0 1 0,14-1 0,-14 0 16,0 1-16,13-14 0,-13 14 16,13-14-16,-13 13 0,13 1 15,-13-14-15,14 0 0,-14 0 16,13-13-16,-13 14 15,13-14-15,0 0 16,0 0-16,1-14 16,-1 14-16,0-26 15,-13 13 1,13 0-16,1-1 0,-14 1 16,0 0-16,13 0 15,-13-1-15,13 1 16,-13 40 15,0-14-15,13-13-16,-13 13 15,0 14 1,14-14-16,-1 0 0,0 0 16,13-13-1,1-13 1,-14 0-16,0 0 15,1-1-15,-14 1 0,13 0 16,-13 0-16,13 13 16,-13-14-16,13 28 31,0 12-15,1-13-16,-14 1 15,13-14-15,0 13 16,0-13-16,14 0 31,-14-13-15</inkml:trace>
  <inkml:trace contextRef="#ctx0" brushRef="#br0" timeOffset="200679.21">2566 9036 0,'27'-14'0,"-14"14"0,27-13 15,-27 13 1,0 0-16,14 0 0,12 0 15,14 0-15,-26 0 0</inkml:trace>
  <inkml:trace contextRef="#ctx0" brushRef="#br0" timeOffset="201352.38">3334 9088 0,'-13'-26'0,"-1"26"16,1 0-16,0 0 15,-14 13 1,27 0-16,-13-13 16,13 14-16,-13-1 15,13 0-15,0 0 16,0 1 0,0-1-16,13-13 15,0 0 1,1-13-16,-1 13 15,-13-14 1,13 14-16,0 14 16,1-1-1,-1-13 1,0 0-16,0 0 16,0 0-16,1-13 15,-1-1-15,40-52 16,-40 40-16,0-1 0,0 1 15,-13-14-15,14 14 0,-14-14 16,13 27-16,-13-14 0,0 1 16,13 13-16,-13-1 0,0 1 0,0 0 0,0 53 31,-13-27-31,13 13 16,-13 14-16,13 0 0,0-14 15,0 1-15,0 26 16,13-27-16,-13-13 0,13 14 0,0-14 15,1 13-15,-1-12 0,0-14 0,0 13 16,14 0-16,12-13 16,-25 0-16,25 0 15,-25-13-15,-1 13 0</inkml:trace>
  <inkml:trace contextRef="#ctx0" brushRef="#br0" timeOffset="202954.07">4683 7885 0,'-13'66'31,"13"-40"-31,-13 1 0,13-14 16,0 27-16,-14-14 0,14 14 0,-13-14 16,13 1-16,-13-1 0,13 1 0,-13 25 15,13-38-15,0-1 16,0 0-16,-13-13 0,13 13 15,0 1-15,0-1 0</inkml:trace>
  <inkml:trace contextRef="#ctx0" brushRef="#br0" timeOffset="204024.25">4630 7938 0,'40'-67'0,"-27"67"15,0-13-15,1 13 0,12-13 16,-13 13-16,0 0 0,1 13 15,-1-13-15,0 13 0,0 1 16,-13-1-16,0 0 0,0 0 16,-13 27-16,-13 0 15,12-27-15,1 13 0,-13-12 16,13-1-16,-14 13 0,14-26 0,-14 13 16,14 1-16,0-1 0,0-13 15,0 13-15,-1-13 0,1 13 16,0-13-1,13 14-15,13-1 16,14 0 0,-14-13-16,0 13 0,0-13 0,0 0 15,14 14 1,-14-14-16,0 0 0,-13 13 0,14-13 16,-1 0-16,13 0 15,-13 0-15</inkml:trace>
  <inkml:trace contextRef="#ctx0" brushRef="#br0" timeOffset="204370.76">4895 8189 0,'39'-40'0,"-39"27"0,14 13 16,-14-13-16,13-1 0,-13 1 15,0 0-15,0 0 16,0 0-16,-13-1 16,-14 28-1,14-14-15,13 13 16,-13-13-16,13 13 0,-13 0 15,13 0-15,-14 1 16,14-1-16,0 0 0,14 0 0,-14 1 16,13-1-16,-13 0 0,26 0 15,-13-13 1,1 0-16,-1 0 0,13 0 0,-12 0 16,-1 0-16</inkml:trace>
  <inkml:trace contextRef="#ctx0" brushRef="#br0" timeOffset="204688.41">5133 8070 0,'-27'26'16,"41"1"-16,-1-14 15,-13 0-15,13 0 0,0 1 0,1-1 16,-14 0-16,13 0 0,0 1 16,-13-1-16,13 13 15,-13-13-15,0 1 0,-13-1 16,-13 0 0,12 0-16,1-13 0,0 0 0,0 14 0,-1-14 15,-12 0-15,13 0 16,0 0-16,-1-14 15,-12 14 1</inkml:trace>
  <inkml:trace contextRef="#ctx0" brushRef="#br0" timeOffset="205448.38">5318 8162 0,'-13'14'31,"13"-1"-15,0 0-16,0 0 0,0 1 15,0-1 1,0 0-16,13 0 0,0-13 31,1 0-15,-1-13-16,0 13 0,-13-13 0,13 13 15,-13-13-15,27-1 16,-14 1-16,0 26 31,-13 1-15,13-1 0,-13 0-16,14 0 15,-1 0 1,27-26-1,-27 0-15,13-13 16,-13 12-16,-13 1 16,27-27-16,-27 14 0,13-14 15,0 14-15,-13-1 0,0 1 16,14 13-16,-14-14 0,0 14 0,13 0 16,-13-14-1,0 14-15,0 0 0,0 39 31,-13 27-15,-1-26-16,14 12 16,0-12-16,0-14 0,0 13 15,0 1-15,0-14 0,14 0 0,-14 14 16,13-14-16,-13 0 0,26 14 16,-12-27-16,-14 13 15,13-13-15,0 0 0,13 0 16,1-13-1,-14 0 1,0 13-16,-13-14 16</inkml:trace>
  <inkml:trace contextRef="#ctx0" brushRef="#br0" timeOffset="205850.88">5821 7871 0,'-13'40'16,"-1"-13"-16,14-14 0,-13 53 15,13-53 1,-13 14-16,13-14 0,0 40 16,0-40-16,0 0 0,0 14 0,13-14 15,-13 0-15,27 27 16,-27-27-16,13-13 15,-13 13-15,13-13 0,0 0 0,-13 13 16,14-13-16,-1 0 0,0 0 16,0 0-16,0-13 15,14 13 1,-27-13-16</inkml:trace>
  <inkml:trace contextRef="#ctx0" brushRef="#br0" timeOffset="206123.34">5741 8083 0,'40'0'16,"-27"0"-16,14-13 15,-1 13-15,-12 0 0,-1 0 0,26 0 16,-25-13 0,-1 13-16,0 0 0,0 0 0,14-14 15,-14 14-15,0 0 16,0 0 0</inkml:trace>
  <inkml:trace contextRef="#ctx0" brushRef="#br0" timeOffset="210039.25">7157 5080 0,'40'0'15,"-27"0"1,0 0-16,0 0 0,14 0 0,-1 0 16,40-13-1,-39 13-15,-1 0 0,-12 0 0,12-13 16,14 13-16,-27 0 16,27 0-1,-27 0-15</inkml:trace>
  <inkml:trace contextRef="#ctx0" brushRef="#br0" timeOffset="210355.41">7435 4961 0,'13'0'15,"0"13"-15,0-13 16,1 13-16,39 27 16,-40-27-16,13 1 0,-12-1 0,-1 0 15,0 0-15,0 14 16,0-14-16,1 0 0,-14 27 15,0-27-15,0 0 0,-14 1 16,-25 38 0,26-38-16,-27-1 0,27 0 0,-14 0 15,14-13-15,-14 14 0,14-14 16</inkml:trace>
  <inkml:trace contextRef="#ctx0" brushRef="#br0" timeOffset="211192.35">8401 4974 0,'-80'0'15,"67"0"-15,13 13 16,13 14 0,0-14-1,14 14-15,-14-14 0,0 0 16,1 0-16,12 0 0,-13 1 0,0-1 15,1 0-15,-14 0 16,0 1-16,0-1 0,0 0 0,-14 0 31,1 1-31,0-14 0,0 0 0,-14 0 32,14-14-17,13 1-15,0-13 16,13 12-16,14-25 15,-14 25-15,-13 1 16,26-13-16,-12 13 0,-14-1 16,13 14-16,-13-13 0,0 0 0,0 0 15,0-1 1,0 1-16,-27 0 16,14 13-16,0 0 0,0 0 15,-14 0 1,14 0-16,0 13 0,13 0 31</inkml:trace>
  <inkml:trace contextRef="#ctx0" brushRef="#br0" timeOffset="211523.47">8572 4921 0,'-13'27'0,"13"-14"15,-13-13-15,13 26 16,0-12-16,0-1 0,0 0 0,0 0 16,0 1-16,0-1 0,13 0 15,0 0-15,1 0 0,-1 1 0,27-1 16,-27-13-16,13 0 16,-12-13-16,12 13 0,-13 0 15,0-14-15,1 14 0,-1-13 16,0 0-16,-13 0 0,0 0 15,-26-14 1,12 27-16,-12-13 0,13 13 16,-14 0-16,14-13 0,0 13 15,0 0-15,-14 0 0,14 0 16,0 13-16,-1-13 0,1 0 0,0 0 16,13 13-16,-13-13 0</inkml:trace>
  <inkml:trace contextRef="#ctx0" brushRef="#br0" timeOffset="211715.47">8983 4868 0,'13'27'15,"-13"-14"-15,0 0 0,0 0 16,0 1-16,0 12 0,0-13 0,-13 54 15,13-54-15,0 13 16,0-13-16,0 1 0,-14-1 16,14 0-16,0 0 0,0 1 15</inkml:trace>
  <inkml:trace contextRef="#ctx0" brushRef="#br0" timeOffset="211874.42">8824 4987 0,'-13'0'15</inkml:trace>
  <inkml:trace contextRef="#ctx0" brushRef="#br0" timeOffset="212009.59">9128 5054 0,'0'13'0</inkml:trace>
  <inkml:trace contextRef="#ctx0" brushRef="#br0" timeOffset="213458.41">9684 4921 0,'-27'0'15,"14"0"-15,13 13 0,-13-13 0,-14 27 16,1-1-16,13-12 16,13-1-16,-14 0 0,14 0 15,0 1-15,0-1 0,0 0 0,0 0 16,0 0-16,14-13 15,-14 14-15,13-14 0,0 0 0,0 0 16,1-14-16,-1 14 16,0-13-16,0 13 0,1-13 0,-1 0 15,0 0-15,0-1 0,-13 1 16,0 0-16,13 0 0,-13-1 0,14 1 16,-14 0-16,-14 26 46,1 14-30,13-14-16,0 0 0,0 0 0,13 1 16,-13-1-16,14 0 15,-1-13-15,0 0 16,14 0-16,-14-13 0,0 0 16,0 13-16,14-14 0,-14 1 0,0 0 15,0 0-15,1 13 0,-1-14 0,0 1 16,0 0-16,1 0 15,-1 13-15,-13-14 16,13 14-16,-26 27 31,13-1-15,0-12-16,-13-14 16,13 13-16,0 0 0,0 0 15,13 1-15,-13-1 16,13 0-16,13-13 15,1 0 1,-14-13-16,0 13 16,1-13-16,-1 13 0,0-14 0,0 14 15,1-13-15,-14 0 0,13 13 16,0-13-16,0-1 0,0 1 16,-13 0-1,14 0 1,-14 39 31,0 1-32,0-14-15,0 0 0,13 0 16,13-13 0,-12 0-1,-1 0-15,0 0 0,0 0 16,1-13-16,-1 0 15,0 13-15,0-13 16,0-1-16,1 1 16,-14 40 31,0-14-32,0 0 1,13 0-16,0-13 15,0-13 1,1 13 0,-1-13-16,0 0 15,0 13-15,1 0 16,-14-14-16,13 28 31,0-14-15,0 13-16,0-13 15,1 0 1,-1 0-16,0 0 0,14 0 16</inkml:trace>
  <inkml:trace contextRef="#ctx0" brushRef="#br0" timeOffset="213979.55">10663 4776 0,'-14'0'16,"14"-14"-16,14 41 62,-14-14-46,0 0-16,13-13 0,-13 14 0,0 25 15,13-25 1,-13-1-16,0 13 0,13-13 0,-13 1 16,0-1-16,0 0 0,0 0 0,0 1 15,0-1-15,0 0 32,0 0-32,-13-26 31,13-13-16,0 12-15,0 1 16,27-13 0,-14 12-16,0 14 15,0-13-15,1 13 0,-1-13 0</inkml:trace>
  <inkml:trace contextRef="#ctx0" brushRef="#br0" timeOffset="-214682.79">10927 4842 0,'-26'13'0,"26"0"0,-27 1 16,27-1-1,-13-13-15,13 13 0,-13 0 0,13 0 16,0 1 0,0-1-1,13-13-15,0-13 16,1 13-1,12 0 1,-26 13-16,13-13 16,1 13-1,-1-13 1,0 0-16,0 0 16,0-13-16,27-14 15,-27 14-15,1 13 0,-14-13 16,13-13-16,0 12 0,0 1 15,0 0-15,-13 0 16,14-1-16,-1 28 31,-13 12-15,0-13-16,0 1 0,0-1 16,0 0-16,0 0 0,0 0 15,13 1-15,-26-1 16,13 0-16,-13 0 15,-1-26 17,1 13-17,26-13 17,1 0-17,-1-1 1,13 14-1,-12-13-15,-1 13 16,0 0-16,0 0 0,1 0 16,-1-13-1,0 13 1,0 0-16,-13-13 16,13 13-1,-13-13-15,0-1 16,-13 28 31,13-1-32,0 0-15,0 0 16,13 0-16,1-13 16,-1 14-16,0-14 0,0 0 0,1 0 15,-1 0-15,0 0 0,0 0 16,1 0-16,-1-14 15,0 14-15,0-13 0</inkml:trace>
  <inkml:trace contextRef="#ctx0" brushRef="#br0" timeOffset="-211352.39">2143 10557 0,'79'-13'15,"-26"13"-15,-13 0 0,145-14 16,-105 14-16,-14-13 15,0 13-15,0 0 0,-13-13 0,13 13 16,-13 0-16,-13 0 16,-1 0-16,-12-13 0,-1 13 0,1 0 0,-14 0 15,14 0-15,-1 0 16,-13 0-16,0 0 16,1 13-1</inkml:trace>
  <inkml:trace contextRef="#ctx0" brushRef="#br0" timeOffset="-209965.86">8797 8427 0,'-66'-40'15,"13"27"1,40 13-16,-66-13 15,52 13-15,1 13 0,-1-13 16,-12 13-16,-1-13 0,0 27 0,14-14 16,-14 0-16,14 14 0,-14-1 15,-13 27-15,40-27 16,-14 1-16,14-1 0,0 14 0,13-13 16,0-1-16,0-13 0,0 14 15,13 12-15,0-12 0,1 13 0,12-14 16,1 0-16,12 1 0,14 13 15,-13-27-15,13 13 0,13 1 0,53-1 16,-53 1-16,-13-14 16,66 0-16,-66-13 0,13 0 15,0 13-15,0-26 0,1 13 16,-1 0-16,-13-13 0,0 0 0,-1 13 0,1-14 16,-13 1-16,0 0 0,-1 0 15,1 0-15,0-14 0,-14 14 16,1 0-16,-1-1 0,1-12 0,-1 13 15,-13-14-15,14 14 0,-14-13 16,0 12-16,0-12 0,-13-1 0,14 1 16,-1 13-16,-13-14 0,0 1 0,0 13 15,-13-40-15,13 26 16,-14 14-16,1-27 0,0 27 0,0-13 16,-14-1-16,14 14 0,-13-14 15,-1 1-15,1 13 0,-40-14 16,39 1-16,-13 13 0,-12-1 0,12 1 15,-13 0-15,13 0 16,-13 13-16,0-14 0,14 14 0,-67 0 16,53 0-16,0 0 0,-13 14 0,0-1 15,-14 0-15,14 14 16,0-14-16,13 13 0,-13 1 0,13-1 16,0 1-16,0-1 0,14 1 0,12-1 15,-13 0-15,27-12 0,-13-1 16,26 0-16,-13 0 0</inkml:trace>
  <inkml:trace contextRef="#ctx0" brushRef="#br0" timeOffset="-205630.3">13772 9962 0,'26'0'16,"14"13"-1,-1-13-15,-12 0 0,13 0 0,-1 0 0,14 0 16,0 0-16,0 0 15,0 0-15,-13 0 0,13 0 0,66 0 16,-80-13-16,-12 13 16,-1 0-16,1 0 0,-14 0 0,13 0 15,-12 0-15,-14 13 0,13-13 16</inkml:trace>
  <inkml:trace contextRef="#ctx0" brushRef="#br0" timeOffset="-204935.03">12700 10623 0,'93'13'15,"-54"-13"-15,266 0 16,-742-13-16,940 39 0,-424-26 0,-13 0 15,-13 0-15,13 0 0,0 0 16,-13 0-16,13 0 0,-13 0 0,0 0 16,0 0-16,-13-13 0,-14 13 0,41 0 15,-54 0 1,13 0-16,-13 0 0,1 0 0,-1 0 16,13 0-16,-12 0 31,-1 13-16</inkml:trace>
  <inkml:trace contextRef="#ctx0" brushRef="#br0" timeOffset="-203374.09">12237 10028 0,'13'13'15,"0"-13"17,1 0 15</inkml:trace>
  <inkml:trace contextRef="#ctx0" brushRef="#br0" timeOffset="-203074.08">12726 10028 0,'-39'-14'0,"26"14"0,-1 0 0</inkml:trace>
  <inkml:trace contextRef="#ctx0" brushRef="#br0" timeOffset="-198082.14">6972 6244 0,'79'0'0,"-26"-13"0,-13 13 0,26 0 15,0-13-15,0 13 0,14 0 0,171-14 16,-172 14-16,14 0 16,-14-13-16,1 13 0,-1 0 15,-13 0-15,0 0 0,40 0 16,-53 0-16,0 0 0,-13 0 15,26 13 1,-53-13-16,13 0 0,-12 0 0,-1 0 16,0 0-16,0 0 15,14 0 1,-14 0-16,0 0 16,1 0 15,-1 0-31</inkml:trace>
  <inkml:trace contextRef="#ctx0" brushRef="#br0" timeOffset="-196761.07">12330 5583 0,'-14'13'15,"28"0"1,-14 14-16,0-14 0,13 27 0,0 79 16,0-80-1,-13 14-15,0-13 0,13 0 0,1 65 16,-14-78-1,0-1-15,0-12 0,13 12 0,-13-13 16,0 0-16,0 1 0,0-1 0,0 13 16</inkml:trace>
  <inkml:trace contextRef="#ctx0" brushRef="#br0" timeOffset="-194948.85">12290 5636 0,'40'-14'15,"-27"14"-15,53 0 16,27-13 0,-54 13-16,107 0 15,-107-13-15,14 13 16,-13 0-16,66 0 15,-53-13-15,0 13 0,0 0 0,0 0 16,13 0-16,-13-14 0,13 14 0,-13 0 16,13 0-16,-13 0 15,0-13-15,13 13 0,-13 0 0,0 0 16,13 0-16,-27 0 0,14 0 0,0-13 0,-13 13 16,-14 0-16,14 0 15,-13 0-15,-1 0 0,1 0 0,-1 0 16,0 0-16,1 0 0,-1 0 0,-12 0 15,-1 0-15,13-13 0,-12 13 16,12 0-16,-13 0 16,0 0-16,1 0 0,-1 0 15,0 0 1,0 0-16,-13-13 16,14 13-1,-1 0 1,0 0 140,-13 13-125,0 13-15,0-13-16,0 1 16,0-1-16,0 27 15,0-1-15,0 27 16,13-52-16,-13 12 15,0-13-15,0 14 0,13-14 16,-13 0-16,0 14 0,0-14 16,0 13-16,14-12 0,-14-1 0,0 0 15,0 0-15,0 1 0,0-1 16,13 0-16,-13 0 0,0 0 0,0 1 16,0-1-16,0 0 0,0 0 15,0 1-15,0-1 31,0 0-31,0 0 16,0 1 15,0-1-31,0 0 32,0 13-17,0-12 1,0-1-1,0 0-15,0 0 16,-13 1 0,13-1 15,-14-13-15,1 0-1,0 0-15,-27-13 16,27 13-1,0 0-15,-14 0 0,14 0 0,-13 0 16,13 0-16,-14 0 0,-13-14 16,14 14-16,-1 0 0,1 0 15,13 0-15,-14 0 0,1 0 16,-1-13-16,1 13 0,13 0 0,-14 0 16,1 0-16,-1 0 0,14 0 0,-13 0 15,-1 0-15,1-13 0,-40 13 16,26 0-16,-13 0 0,13 0 15,-13 0-15,14 0 0,-1 0 0,0-13 16,-26 13 0,40 0-16,-14 0 0,14 0 0,-14 0 0,13 0 15,1 0-15,-1 0 0,14 0 16,-13 0-16,-1 0 0,14 0 16,0 0-16,0 0 0,-1 0 0,1 0 15,0 0-15,0 0 0,0 0 0,-1 0 16,1 0-16,0 0 15,0 0-15,-1 0 0,1 0 16,0 0-16,0 0 0,-14 13 16,14-13-16,0 0 0,-14 0 15,14 0-15,0 0 16,0 0-16,-1 0 0,1 13 0,0-13 0,0 0 16,-1 0-16,1 0 0,0 0 15,-13 13-15,12-13 16,1 0-16,0 0 0,0 0 0,-1 0 0,1 0 15,0 0-15,0 0 16,-1 14-16,1-14 0,0 0 16,0 0-16,0 0 0,-1 13 0,1-13 15,0 0-15,0 0 16,-1 0-16,1 0 0,-13 13 16,12-13-1,1 0 1,0 0-1,0 0 1,13 13 0,-13-13 15,13-26 31</inkml:trace>
  <inkml:trace contextRef="#ctx0" brushRef="#br0" timeOffset="-192058.13">1707 11655 0,'158'-27'15,"-105"14"-15,0 13 0,13 0 0,-13 0 16,27-13-16,-14 13 0,79 0 15,-65-13-15,-14 13 0,-13 0 16,13-13-16,-13 13 0,0 0 16,0-14-16,-14 14 0,14-13 0,-13 13 15,13 0-15,-27-13 0,1 13 16,-1 0-16,1 0 0,-14 0 0,0 0 16,0-13-16,1 13 0,-1 0 15,0 0-15,13 0 16,-12 0-16,-1 0 15</inkml:trace>
  <inkml:trace contextRef="#ctx0" brushRef="#br0" timeOffset="-190293.33">9525 8057 0,'13'39'0,"-13"-26"16,13 1-16,-13-1 0,0 0 16,0 0-16</inkml:trace>
  <inkml:trace contextRef="#ctx0" brushRef="#br0" timeOffset="-190007.41">9419 8202 0,'13'-26'0,"1"12"16,-1 14-16,0 0 0,0-13 16,1 13-16,-14-13 0,13 13 0,0 0 15,0-13-15,0 13 0,1 0 16,-1 0-16,0-14 0</inkml:trace>
  <inkml:trace contextRef="#ctx0" brushRef="#br0" timeOffset="-189395.02">9723 8057 0,'14'0'15,"-1"13"-15,0-13 16,0 13-16,14 0 16,-27 0-16,13-13 15,0 14-15,0-14 16,-13 13-1,14-40 17,-14 14-17,0 0 1,13 13 0,13-13-1,-12 13 1,-14-13-16,13 13 0,0 0 0,0-14 15,1 14-15,-1-13 0,0 0 16,0 0-16,0-1 0,-13 1 16,14 13-16,-14-13 15,-27 13 17,14 26-17,13-12-15,-13-1 0,13 0 0,0 0 16,0 1-16,13-1 15,-13 0-15,26 13 16,1-12 0,-1-14-1</inkml:trace>
  <inkml:trace contextRef="#ctx0" brushRef="#br0" timeOffset="-186646.17">15200 5940 0,'40'-13'16,"-27"13"-16,0 0 0,1 0 15,12 0-15,1 0 0,-14 0 16,0 0-16,14 0 0,-14 0 0,0 0 16,0 0-16,0-14 0,1 14 15,-1 0-15,0 0 0</inkml:trace>
  <inkml:trace contextRef="#ctx0" brushRef="#br0" timeOffset="-186390.05">15438 5808 0,'27'0'0,"-1"0"16,-12 0 0,-1 13-16,0-13 0,0 13 0,1-13 15,-1 13-15,-13 1 0,13-1 16,-13 0-16,13 0 0,-13 0 0,-13 40 15,13-39-15,-13-1 16,13 0-16,-13 0 16,13 0-16,-14 1 0,14-1 0,0 0 0,-13-13 15,13 13-15</inkml:trace>
  <inkml:trace contextRef="#ctx0" brushRef="#br0" timeOffset="-185629.24">15822 5781 0,'13'27'31,"-13"-14"-31,0 0 0,0 0 0,0 14 15,14-1-15,-14 1 0,0-14 16,0 0-16,0 0 0,13 1 16,-13-1-16,0 0 0,0 0 15,0 0-15,0 1 0,0-1 16</inkml:trace>
  <inkml:trace contextRef="#ctx0" brushRef="#br0" timeOffset="-185389.84">15849 5794 0,'13'-26'15,"0"13"-15,13 13 0,-12-14 16,-1 14-16,0-13 0,40 13 16,-40-13-16,1 13 15,-1 0-15,0 13 0,0-13 16</inkml:trace>
  <inkml:trace contextRef="#ctx0" brushRef="#br0" timeOffset="-185221.13">15862 5913 0,'39'0'16,"-12"0"-16,-14 0 0,0 0 0,67-13 16,-14 0 15,-40 0-31</inkml:trace>
  <inkml:trace contextRef="#ctx0" brushRef="#br0" timeOffset="-184973.86">16417 5702 0,'-13'26'31,"13"14"-15,0-14-16,0-12 0,0-1 16,0 13-16,0 14 15,0-27-15,0 0 0,13 1 0,-13-1 16,0 0-16,0 0 0,14 1 16,-28-1-16,28-13 15,-14 13-15,13-13 0</inkml:trace>
  <inkml:trace contextRef="#ctx0" brushRef="#br0" timeOffset="-184609.7">16351 5675 0,'13'-26'0,"-13"13"15,14 13-15,-1 0 0,0-14 0,0 14 16,1 0-16,-1 0 0,13 14 15,-12-14-15,12 13 0,-13-13 0,14 13 16,-14 0-16,-13 1 0,13 12 16,-13-13-16,0 0 15,-13 1-15,0-1 0,-1 0 0,-12 0 16,13 1-16,-14-1 0,14 0 16,-13 0-16,12-13 0,1 14 0,0-14 15,0 0-15</inkml:trace>
  <inkml:trace contextRef="#ctx0" brushRef="#br0" timeOffset="-155649.06">7488 11536 0,'13'0'16,"0"0"-16,14 0 16,-1 0-16,1 0 15,12 0-15,54 0 0,13 0 16,-53 0-16,0 0 0,-1 0 0,1 0 16,-13 0-16,13 0 15,13 0-15,-39 0 0,39 0 16,-40 0-16,1 0 0,-14 0 15,13 0-15,-12 0 0,-1 0 16,0 0-16,0 0 0,0 0 16</inkml:trace>
  <inkml:trace contextRef="#ctx0" brushRef="#br0" timeOffset="-155315.91">7766 11761 0,'145'13'15,"-79"-13"-15,-26 0 0,13 0 0,0 0 16,-14 0-16,14 0 0,0 0 0,0 0 16,-13 0-16,52 13 15,-25-13-15,-41 0 16,0 0-16,27 13 0,-26-13 16,-1 0-16,1 0 15,-14 0-15,0 14 16,0-14-1,1 0 1</inkml:trace>
  <inkml:trace contextRef="#ctx0" brushRef="#br0" timeOffset="-72883.25">2500 5450 0,'27'0'78,"171"14"-63,-26-14 1,357 0 0,-171 0-16,475 0 15,-436 0 1,-106 0-16,-132 0 15,-40 0 1,-66 0-16</inkml:trace>
  <inkml:trace contextRef="#ctx0" brushRef="#br0" timeOffset="-70579.92">8255 9935 0,'0'-13'172,"-26"-40"-157,-14 0-15,27 27 16,-14 12-16,14-25 16,0 25-16,-1 1 15,1 0-15,-26-27 16,-1 40 0,-13-13-16,0-13 15,-40-1-15,14 27 16,-27-13-1,14-27-15,-14 27 0,-66-53 16,92 66 0,28 0-1,-15 0-15,14 0 0,1 0 16,-81 0 0,-12 53-1,12 26 1,67 14-1,40-14 1,13-26 0,13 66-1,0-66-15,0 0 16,26-13-16,1-1 16,-1 14-16,14-13 15,-14 0-15,14-14 16,-27 1-16,14-1 15,-1-13-15,0 14 16,27 12 0,-39-39-1,25 14-15,1-1 0,39 13 16,133-12 0,-106-14-1,39 0-15,-39 0 16,0 13-16,-40-13 15,0 0-15,-39 13 16,-14-13-16,13 0 16,1 0-1,105 0 1,-39 0 0,26 0-16,93 0 15,-120 0 1,14 0-1,-93 0-15,0 0 16,-13-13 0,27 0-16,-14-1 15,-13 1 1,27 0-16,-14 0 16,-13-1-1,0 1 16,0 0-15,-13-14-16,13 14 0,-40-66 16,27 52-1,-1-26 1,-25 14-16,-14-67 16,40 106-1,13-27-15,-27 1 16,14 13-1,0 13 1,13-13 0,-14-1-1,-25-25 1,26 39-16,-40-40 16,39 27-1,1-1-15,0 1 16,-14 0-1,14 13 1,-26-26 0,25 26-1,-12 0 1,13 0 0,-1 0-16,1-14 15</inkml:trace>
  <inkml:trace contextRef="#ctx0" brushRef="#br0" timeOffset="-42803.01">15822 8599 0,'13'0'94,"14"0"-79,12 0-15,107 0 32,-93 0-32,13 0 15,-13 0-15,-40 0 63,14 0-48,-1 40 1,-13 39 0,14 27-16,12 0 15,-25 26 1,-1 0-16,0 1 0,14 12 15,-14-26-15,0 66 16,0-66 0,14 27-16,-1-1 0,-26-39 15,13 0-15,27 0 16,-27 0-16,1-14 16,-1 14-16,-13-26 15,13-1 1,0 27-1,1 0 1,-1-1 0,-13-25-1,0-67-15,0 14 16,0-14 0,0 0 109,13 13-110,-13 1 1,13 26-1,14-27-15,-27 1 16,13-1 0,-13 1-16,13-14 15,-26 0 110,-66 53-109,26-26-16,0 0 16,-40-27-16,-13 40 15,-26-27-15,-14 14 16,-65 26-1,118-39-15,67-27 16,12 26-16</inkml:trace>
</inkml:ink>
</file>

<file path=ppt/ink/ink18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4:32:38.805"/>
    </inkml:context>
    <inkml:brush xml:id="br0">
      <inkml:brushProperty name="width" value="0.05292" units="cm"/>
      <inkml:brushProperty name="height" value="0.05292" units="cm"/>
      <inkml:brushProperty name="color" value="#0070C0"/>
    </inkml:brush>
  </inkml:definitions>
  <inkml:trace contextRef="#ctx0" brushRef="#br0">1244 8043 0,'13'0'16,"-13"-13"31,-13 0-31,-1 13-1,1-13 1,0 13-16,-27 0 15,27 0-15,0 0 16,-14 0-16,14 13 0,0-13 16,-14 0-16,14 13 0,0-13 0,0 13 15,-14-13-15,27 14 0,-13-1 16,0 0-16,-1-13 0,14 13 0,-13 0 16,13 1-16,0 12 0,0-13 0,0 14 15,0-14-15,13 14 0,-13-1 16,14 14-16,-1-14 0,13 54 15,-26-54-15,14 14 0,-1-1 0,0 1 16,14 39-16,-27-39 16,13 0-16,-13 13 0,0-14 15,0 1-15,0 53 0,-13-54 16,13 1-16,-14 0 0,1-1 16,0-12-16,0-1 0,-1 14 0,1-27 15,0 14-15,0-14 0,-1 0 0,-12 0 16,-14 1-16,27-1 15,-13-13-15,12 0 0,1 0 0,0 0 16,0 0-16,0-13 0,-14 13 16,27-14-16,-13 14 15,13-13-15,0 0 0,13 0 16,0 13 0,1 0-16,12 0 15,-13 13-15,0-13 0,1 13 16,-1 0-16,0 14 0,14 26 15,-14-27-15,0 14 0,0 39 16,0 1-16,-13 12 16,0-52-16,0 13 0,0-13 15,0 12-15,-13 1 0,13 0 16,0 80-16,-13-80 0,13 13 16,-13 0-16,13-13 0,-13 13 15,13 0-15,0 0 0,-14-13 16,14 13-16,-13-13 0,13-13 0,0 13 0,0 0 15,0-14-15,0 1 0,0 13 16,0-13-16,0-1 0,13-12 16,-13 39-16,14-53 0,-14 14 15,13 12-15,0-25 16,0-1-16,-13 0 0,27 0 16,-14-13-16,0 0 15,27 0-15,-27-13 0,14 0 16,12 0-16</inkml:trace>
  <inkml:trace contextRef="#ctx0" brushRef="#br0" timeOffset="1020.25">2342 10014 0,'13'-13'15,"13"0"-15,1 13 0,12-13 16,107-27-16,-80 27 16,66 0-16,-65-1 15,-1 1-15,53 0 0,0 13 16,-27-13-16,-39 13 16,-13 0-16,-14 0 0,1 0 15,-1 0-15,14 0 16,-27 0-16,0 13 0,1-13 0,-14 13 15</inkml:trace>
  <inkml:trace contextRef="#ctx0" brushRef="#br0" timeOffset="1292.17">2394 10134 0,'53'0'16,"-13"-14"-16,119-12 16,-14 13-1,-12-14-15,-54 14 16,-13 13-16,0-13 0,14-1 16,-14 14-16,-13-13 0,53 13 15,-54 0-15,41 0 16,-80 0-16,1 0 0,-1 0 15,13 0-15,-13 0 16</inkml:trace>
  <inkml:trace contextRef="#ctx0" brushRef="#br0" timeOffset="1871.01">3797 8665 0,'79'-26'15,"-52"26"-15,12-14 16,14 14-16,93-39 0,-80 25 0,-13 14 16,0-13-16,0 0 0,0 13 15,-14-13-15,41 0 16,-54 13-16,14 0 0,-14 0 16,-13 0-16,1 0 15</inkml:trace>
  <inkml:trace contextRef="#ctx0" brushRef="#br0" timeOffset="2151.28">3810 8824 0,'146'-27'15,"26"1"1,-106 13 0,0-1-16,66 1 0,-13-13 15,-66 26-15,-13-13 0,52-1 16,-65 14-16,-1 0 16,1-13-16,-1 13 0,-13 0 0,14 0 15,-14 0 1,0 0-1,-39 27 1</inkml:trace>
  <inkml:trace contextRef="#ctx0" brushRef="#br0" timeOffset="3478.68">3149 11324 0,'-40'0'16,"278"-66"15,-172 53-31,0 0 0,93-1 15,0-12-15,0 13 16,-1-1-16,-92 1 16,14 13-16,-27 0 0,0-13 15,39 13-15,-52-13 16,-14 13-16,-12 0 0,12 0 0,-13 0 16</inkml:trace>
  <inkml:trace contextRef="#ctx0" brushRef="#br0" timeOffset="3766.09">3122 11602 0,'291'-79'16,"53"-14"0,-172 53-16,-93 14 0,1 13 15,-1-14-15,199-26 16,-225 40-16,40 0 16,-67 13-1,0-13-15,27 13 0,-39 0 16,-14 13-16</inkml:trace>
  <inkml:trace contextRef="#ctx0" brushRef="#br0" timeOffset="9543.29">12938 4088 0,'-13'0'15,"53"0"1,-27 0-16,13 0 16,1 0-16,-1 0 0,14 0 15,-14 13-15,27-13 0,-13 0 0,13 0 16,0 0-16,-14-13 0,14 13 0,0 0 15,-13 0-15,0 0 0,26 0 16,-53 0-16,13-13 0,14 13 16,-13 0-16,12 0 15,-25 0 1,-1 0-16,0 0 16,0 0-16,0 0 31,1 0-31,-1 13 31</inkml:trace>
  <inkml:trace contextRef="#ctx0" brushRef="#br0" timeOffset="11113.26">17462 4101 0,'14'13'0,"-1"-13"16,0 0-16,0 0 0,14 0 15,-14 0-15,14 0 16,78 0-1,-65 0-15,0-13 0,66 13 16,-53 0-16,-1 0 0,1 0 16,0 0-16,13 0 0,-13 0 15,13 0-15,14 0 0,-14 0 0,13 0 16,1 0-16,-1 0 0,0 13 16,1-13-16,-1 0 0,-13 0 0,14 0 15,-1 0-15,-13 0 0,14 0 0,-14 0 16,0 0-16,0 0 0,-13 0 15,13 0-15,0 0 0,-13 0 0,13 0 16,-13 0-16,0 0 0,0 0 16,53 14-16,-66-28 15,-1 28-15,1-14 0,0 0 0,-14 0 0,14 0 16,-14 0-16,1 0 0,12 0 16,-12 0-16,-1 0 0,1 0 15,-1 0-15,27 0 0,-13 0 16,-14 0-16,1 0 0,-1 0 15,1 0-15,-1 0 0,14 0 16,-14 0-16,-12 0 0,12-14 16,0 28-16,-12-14 0,12 0 15,1 0-15,-1 0 0,-13 0 16,14 0-16,-1 0 0,1 0 0,26 0 16,-27 0-16,1 0 0,-1 0 15,0 0-15,1 0 0,39 0 16,-40 0-16,1 13 15,105-13-15,-92 0 16,-14 0-16,27 0 0,-13 13 16,13-13-16,40 0 0,-27 0 15,-27 0-15,14 13 16,-26-13-16,65 0 0,-39 0 16,-13 0-16,0 13 0,-1-13 0,1 0 15,13 0-15,-13 0 16,13 0-16,-14 14 0,-12-14 0,-1 0 15,1 0-15,-1 0 0,-13 0 16,27 0-16,-27 0 16,14 13-16,-14-13 0,13 0 15,-12 0-15,-41-13 47,-13-1-47</inkml:trace>
  <inkml:trace contextRef="#ctx0" brushRef="#br0" timeOffset="12102.35">873 5345 0,'66'0'16,"14"-14"0,-27 14-16,79-26 0,-66 26 15,13-13-15,-12-1 0,-1 1 16,0 13-16,0-13 0,-13 0 0,53 0 16,0-1-16,-27 14 15,-53-13-15,1 13 16,-1 0-16,1 0 0,-14 0 15,13 0-15,-12 0 0,-1 0 16,0 0-16,0 0 16,1 0-1,-14 13 17</inkml:trace>
  <inkml:trace contextRef="#ctx0" brushRef="#br0" timeOffset="13116.1">3096 4233 0,'-40'0'0,"-53"14"16,54-1-16,25-13 0,1 0 15,-13 0-15,13 13 0,-1-13 16,1 0-16,0 13 0,0-13 16,-14 27-16,27-14 15,-13-13-15,13 13 0,-13 0 16,13 1-16,0-1 0,0 0 16,0 0-16,0 1 0,0-1 0,0 13 15,13 27-15,0-13 16,0 26-16,1 13 15,12 1-15,-26-41 16,13 28-16,-13-28 16,14-12-16,-14 12 0,0-12 0,0-1 0,13 27 15,-13-40-15,0 14 16,0-14-16,0 14 0,0-14 0,0 13 16,0-12-16,0 12 15,0-13-15,0 14 16,13-27-16,-13 26 15,13-26-15,0 13 16,1-13-16,-1 14 0,13-1 16,1-13-16,-1 13 0,1-13 15,12 0-15,54 13 0,0-13 16,-54-13-16,14 13 16,0-13-16,53 0 0,79-27 15,-105 27-15</inkml:trace>
  <inkml:trace contextRef="#ctx0" brushRef="#br0" timeOffset="14934.33">23244 4273 0,'39'13'16,"-25"-13"-16,38 0 15,1 13-15,-39-13 16,12 0-16,-13 14 15,14-14-15,-14 0 16,0 0-16,0 13 16,1 0-1,-14 0 1,0 1-16,0-1 0,0 0 16,0 27-16,-14 13 15,14-40-15,0 106 16,0-93-1,0 27-15,0-26 0,14 52 16,-14-52-16,13 26 0,-13-14 16,13-12-16,-13-1 0,13 1 15,-13-14-15,14 40 16,-14-27-16,0-13 0,13 1 16,-13 12-16,0-13 15,0 14-15,0-14 16,-13-13-16,-27 13 15,13-13-15,1 14 0,-27-14 16,13 0-16,-26 0 0,-66 0 16,-27-14-16,-26-12 15</inkml:trace>
  <inkml:trace contextRef="#ctx0" brushRef="#br0" timeOffset="16383.68">13600 5186 0,'238'-13'15,"-185"13"-15,132-14 16,-13 14-1,-93-13-15,120 13 16,-107 0-16,107 0 0,-94 0 16,239 13-16,-105-13 15,-107 0-15,-26 14 16,238-1-16,-239-13 0,94 13 16,-106-13-16,105 13 15,0-13 1,1 14-16,92-14 15,-106 13-15,14-13 16,-1 0 0,106 0-16,-105 13 15,-1-13-15,-105 13 16,13-13-16,158 13 16,-184-13-16,92 14 15,-14-1-15,-78-13 16,131 13-16,-39-13 15,-106 0 1,-13 13-16,0-13 0,0 0 0,146 14 31,-160-14-31,-12 0 0,39 13 16,-53-13-16,0 0 0,14 0 16,-1 0-1,-12 0-15,-1 0 16,0 0-1,0 13-15,0-13 16,1 0 15</inkml:trace>
  <inkml:trace contextRef="#ctx0" brushRef="#br0" timeOffset="17373.04">19645 5940 0,'0'-13'16,"0"39"-16,0 40 15,-13 14 1,13-54-16,0 27 16,0-27-16,-13 27 0,13-26 15,0 13 1,-13-14-16,13-13 0,0 14 31,0-14-31,13 0 0</inkml:trace>
  <inkml:trace contextRef="#ctx0" brushRef="#br0" timeOffset="17796.25">19500 6297 0,'0'27'31,"13"25"-15,-13-25-16,13-14 15,0 27-15,-13-27 16,14 14-16,-1-14 0,13 13 16,-26-13-1,14-13-15,-1 14 16,13-28-16,-12 14 16,38-39-1,-38 26-15,12-14 16,1 14-1,-27 0-15,26-1 0,-13 1 16,27 0 0</inkml:trace>
  <inkml:trace contextRef="#ctx0" brushRef="#br0" timeOffset="27072.18">16404 8268 0,'13'0'16,"1"0"-1,-1 0-15,13 0 16,1 0-16,-14 0 15,27 0-15,-27 0 16,13 0-16,27 0 0,-39 0 16,12 0-16,0 0 0,1 0 0,-1 0 15,1 0-15,-1 0 0,-12-13 16,12 13-16,0 0 0,-12 0 0,12 0 16,1 0-16,-14 0 0,0 0 15,0 13 1,0-13-16,1 0 0,-1 0 15,0-13 17</inkml:trace>
  <inkml:trace contextRef="#ctx0" brushRef="#br0" timeOffset="27485.14">16867 8149 0,'27'13'31,"-14"-13"-31,13 14 16,1-1-16,12 0 16,-25-13-16,12 13 15,14 1-15,0 12 16,-27-26-16,13 26 0,-13-26 15,1 14-15,-1-14 0,-13 13 16,13 0-16,-13 0 0,-13 1 16,0 12-1,-1-26-15,1 13 0,0-13 16,13 14-16,-13-14 0,0 13 0,-1-13 16,1 0-16,0 13 0,0-13 15</inkml:trace>
  <inkml:trace contextRef="#ctx0" brushRef="#br0" timeOffset="28827.56">1085 5239 0,'13'-13'16,"0"13"-16,0-14 15,40 1-15,-13 0 0,53-14 16,-54 14-16,1 0 15,0 0-15,52-14 0,-52 14 16,0 0-16,-14 13 0,27-13 16,13-14-16,-53 27 15,1 0-15,-1 0 0</inkml:trace>
  <inkml:trace contextRef="#ctx0" brushRef="#br0" timeOffset="36697.26">18706 8374 0,'0'-13'0,"0"39"31,0-12-31,0 38 16,-13-38-16,13 12 15,0-13-15,0 1 0,0 25 16,0-26-16,0 1 0,0-1 16,0 0-16,0 14 0,13-14 15,-13 0-15,13-13 16</inkml:trace>
  <inkml:trace contextRef="#ctx0" brushRef="#br0" timeOffset="37036.36">18891 8453 0,'-13'27'31,"13"-1"-15,13-12-16,-13-1 0,13-13 15,1 13-15,-1 0 0,0 0 16,40 1-16,-40-14 15,1 0-15,-1 0 0,26 0 16,-25-14 0,-14 1-16,0 0 15,0 0-15,-14 0 0,1-1 16,-26-12 0,12 13-16,1-1 0,-1 1 15,14 13-15,-14-13 16,14 13-16</inkml:trace>
  <inkml:trace contextRef="#ctx0" brushRef="#br0" timeOffset="37313.28">19169 8506 0,'13'66'15,"-13"-52"-15,14-1 16,-1 0-16,0-13 0,0 13 0,27-13 16,-14 0-1,1 0-15,-14 0 0,14-13 16,-14-13 0,-13 12-16,0 1 0,0 0 0,0-13 15,-13 12-15,-14-12 16,1 13-16,12-1 0,-12 1 15,-14 0-15,27 13 0,-13 0 16,12 0-16,1 0 0,0 13 16,13 0-1,0 1-15</inkml:trace>
  <inkml:trace contextRef="#ctx0" brushRef="#br0" timeOffset="37655.85">20002 8520 0,'40'0'16,"13"0"0,-26 0-16,-14 0 0,0 0 15,13 0-15,-12 0 0,-1 0 16,0 0-16,0 0 0,1 0 15,12 0-15</inkml:trace>
  <inkml:trace contextRef="#ctx0" brushRef="#br0" timeOffset="37912.49">20267 8374 0,'172'106'16,"-159"-80"-16,-13-12 0,14-1 15,-1 13-15,-13 1 16,-13-14-16,-14 40 0,14-27 0,-14-12 15,1 12-15,-1 0 16,-12 1-16,12-14 16</inkml:trace>
  <inkml:trace contextRef="#ctx0" brushRef="#br0" timeOffset="43652.39">21127 8453 0,'40'14'16,"-27"-14"-16,0-14 15,0 14-15,1 0 16,-1 0-16,0 0 15,0 0 1,-13 14-16,13-14 16,-13 26-16,0-13 15,0 1-15,0-1 0,0 13 16,0-13-16,0 1 0,0-1 16,0 0-16,0 14 0,14-14 15,-14 0-15,0 0 16,0 1-16,0-1 15,13-13-15</inkml:trace>
  <inkml:trace contextRef="#ctx0" brushRef="#br0" timeOffset="43898.03">21140 8652 0,'13'0'16,"27"-27"0,-27 27-1,14 0-15,-14 0 0,0-13 0,27 13 31,-14 0-31,-12-13 16</inkml:trace>
  <inkml:trace contextRef="#ctx0" brushRef="#br0" timeOffset="44229.63">21484 8520 0,'-13'13'0,"0"0"31,13 0-31,0 0 0,0 14 16,0-14-16,13 0 15,0 1-15,0-14 0,27 13 16,-27-13-16,1 0 16,-1 0-16,0-13 15,0 13-15,0-14 0,-13 1 16,14 0-16,-28 0 15,14-1-15,-13 1 0,0 0 16,13 0-16,-13 0 0,0-1 0,-14 1 16,14 0-16,0 0 15,-1 13-15,1-14 16,0 14-16,0 14 16,13-1-1</inkml:trace>
  <inkml:trace contextRef="#ctx0" brushRef="#br0" timeOffset="45288.87">20201 9327 0,'53'-14'16,"-13"14"0,26 0-16,0 0 15,-40-13-15,27 13 16,40 0-1,-67-13-15,-12 13 0,12 0 16</inkml:trace>
  <inkml:trace contextRef="#ctx0" brushRef="#br0" timeOffset="45521.48">20611 9168 0,'119'13'16,"-92"0"-16,-14 1 0,13-14 15,27 39-15,-40-12 16,1-1-16,-14-13 16,13 1-16,-13-1 0,0 13 15,-13-13-15,13 14 16,0-14-16,0 0 0,13-13 31</inkml:trace>
  <inkml:trace contextRef="#ctx0" brushRef="#br0" timeOffset="45992.89">21418 9141 0,'0'-13'15,"26"26"1,-12 1-16,-14-1 16,13 0-1,-13 0 1,0 1 0,13-1-16,0 0 15,1-13-15,-1 13 16,0-13-16,-13 13 15,13-13-15,-13 14 16,0-1-16,0 0 16,-13-13-16,0 13 0,0 1 15,-1-14-15,14 13 16,-13-13-16,0 0 0,13-27 31</inkml:trace>
  <inkml:trace contextRef="#ctx0" brushRef="#br0" timeOffset="46241.89">21630 9208 0,'-14'26'0,"14"-13"16,14 0-16,-14 1 15,26-14-15,-13 0 16,1 0-16,-1 0 15,0-14-15,0 14 16,-13-13-16,0 0 16,0-13-16,-13 26 0,0-14 15,0 1-15,-1 13 16,1 0-16,0 0 0,0-13 16,-1 13-16,1 0 0,-13 13 15</inkml:trace>
  <inkml:trace contextRef="#ctx0" brushRef="#br0" timeOffset="47467">21286 8850 0,'66'14'15,"-40"-14"-15,-12 0 0,-1 0 16,13 0-16,14-14 0,-27 14 16,40-13-16,-40 13 15,14-13-15,12 0 16,1-14-16,-13 27 0,-1-13 15,-13 0-15,14-1 0,-14 1 16,0 0-16,14 0 0,-14-14 0,13-26 16,-12 27-1,-1-1-15,-13 14 16,0-26-16,-13-1 16,13 27-16,-27-27 15,27 27-15,-26-27 16,-14-13-16,14 27 15,-14-1-15,27 14 16,-1 0-16,-12 0 0,13-1 16,-14 1-16,-12 0 15,12 0-15,1-1 0,12 14 16,-25 0-16,-1-13 16,0 13-16,14 0 15,-1 0-15,1 13 0,13-13 16,-40 14-16,13-1 15,14-13-15,-27 13 0,13 14 16,0-1 0,27-26-16,-27 40 15,-12 13-15,12 0 16,27-27-16,-14 27 16,1-13-16,26-14 15,-14 14-15,1 13 16,13-14-16,0-12 15,0-14-15,0 13 0,13-12 0,1 25 16,12-12-16,-13-27 16,1 13-16,-1 0 0,27 1 15,-1-14-15,41-14 16,12 1 0,14-13-16</inkml:trace>
  <inkml:trace contextRef="#ctx0" brushRef="#br0" timeOffset="48045.36">21855 8467 0,'79'-40'15,"-39"27"1,26-14-16,26-12 16,-78 25-1,65-12-15,-26 13 16,-53-1 0,13 14-16,0-13 0,14 0 15,-14 13-15,0-13 16,-13 0 15</inkml:trace>
  <inkml:trace contextRef="#ctx0" brushRef="#br0" timeOffset="48380.52">22225 8162 0,'26'0'15,"-26"14"-15,27-14 0,-14 0 16,67 26-1,-54-13-15,0 14 16,-12-27-16,12 39 16,-26 1-1,0-27-15,-26 14 16,-1 13-16,-12-1 16,39-12-16,-27-1 15,14-26-15,13 13 16</inkml:trace>
  <inkml:trace contextRef="#ctx0" brushRef="#br0" timeOffset="49821.1">22635 7858 0,'-13'40'31,"13"-27"-31,0 0 16,0 1-16,13-14 15,-13 13-15,13 0 0,1 0 16,-1-13 0,0 0-16,0 0 0,0 0 15,1 0 1,-1 0-16,0 0 15,0 13 1,1-13 0,-1 0-1,0-13 1,0 13-16,1-13 0,-14 0 16,13 0-16,-13-14 15,0 1-15,0 12 16,0 1-1,0-13-15,-13 26 0,13-14 16,0 1-16,0 0 31,0 0-31</inkml:trace>
  <inkml:trace contextRef="#ctx0" brushRef="#br0" timeOffset="50137.56">22939 7686 0,'14'27'0,"-14"-1"15,0 1-15,0-14 16,0 13-16,0-13 0,0 1 16,0-1-16,13 0 15,-13 0-15,13-13 0,0 0 31,1 0-31,-1 0 16,-13-13-16,13 13 0,0 0 16,0 0-1,1 0-15,-1 0 16,0 0-16,0 13 16,1-13-16,-1 14 15,0-14-15,14 0 16,-14 0-16,0-14 15</inkml:trace>
  <inkml:trace contextRef="#ctx0" brushRef="#br0" timeOffset="50710">23363 7752 0,'-66'-13'16,"52"26"0,1 1-16,0-14 15,119-14-15,-212 41 0,93-27 16,13 13-16,0 0 16,0 0 15,13-13-16,-13 14-15,13-14 16,0 13 0,1-13-16,-1 0 15,0 0 1,0 0-16,0-13 16,1 13-16,-14-14 15,13 1-15,0 0 16,0-27-16,1 27 15,-1-27-15,-13 27 16,13 0-16,-13 0 16,13-1-1,-13 41 17,0-14-32,0 0 0,0 1 15,0 12-15,0-13 16,14 14-16,-1-1 15,0-13-15,13-13 16,-12 14-16,-1-14 16,27-14-1,-27 14 1</inkml:trace>
  <inkml:trace contextRef="#ctx0" brushRef="#br0" timeOffset="50907.11">23376 7646 0,'66'-13'16,"-53"13"-16,93 0 15,-79 0-15,12 0 16</inkml:trace>
  <inkml:trace contextRef="#ctx0" brushRef="#br0" timeOffset="51130.31">24011 7514 0,'-13'53'32,"13"-40"-32,-27 80 31,14-53-31,0-14 16,0 1-1,13-14 1</inkml:trace>
  <inkml:trace contextRef="#ctx0" brushRef="#br0" timeOffset="51272.86">23799 7594 0,'-13'-14'0,"26"28"15,-13-41-15</inkml:trace>
  <inkml:trace contextRef="#ctx0" brushRef="#br0" timeOffset="51430.13">24051 7620 0,'13'0'0,"-13"-13"16</inkml:trace>
  <inkml:trace contextRef="#ctx0" brushRef="#br0" timeOffset="52649.22">23045 8334 0,'0'-13'15,"-13"26"17,13 1-32,0-1 15,0 0 1,13 0-16,0 1 15,1-28 1,12 14-16,1-13 16,-14 13-16,-13-13 15,26 13-15,-26-13 16,14 13-16,-1 13 16,0 0-16,-13 0 15,13 1 1,0 12-16,1-13 31,-1-26-15,0-13-1,-13 12-15,0 1 16,13-13-16,-13 12 16,0 1-16,0 0 15,0 0 1,14 13-1</inkml:trace>
  <inkml:trace contextRef="#ctx0" brushRef="#br0" timeOffset="52934.03">23363 8295 0,'0'26'0,"0"14"31,0-27-31,13 14 15,0-14-15,-39-132 16,92 264-16,-53-145 16,27-13-1,-27 13-15,-13-13 16,13 0-16,-13-1 16,-13 1-16,13 0 15,0 0-15,-13-1 0,0-12 16,-14 13-1,14 13-15,0 0 16,-1 13 0,1 0-16</inkml:trace>
  <inkml:trace contextRef="#ctx0" brushRef="#br0" timeOffset="53352.24">23574 8281 0,'0'40'47,"0"-27"-32,0 1-15,0-1 16,0 0-16,14-13 15,-1 0-15,-40-93 16,80 186-16,-39-106 16,-1 13-16,-13-13 0,26-14 15,-13 14-15,-13 0 16,14 13-16,-14-14 16,13 14-16,-13 14 15,0-1 1,0 0-16,0 14 15,0-14-15,13 13 16,-13-12 0,13-1-1,1-13 1,12-13 0</inkml:trace>
  <inkml:trace contextRef="#ctx0" brushRef="#br0" timeOffset="53807.91">24051 8030 0,'13'-13'0,"-26"39"16,-1 14-1,1 0 1,13-27-16,-13 40 16,0 13-1,13-53-15,0 0 16,13 1-16,-13-1 16,40-291 15,-93 529-16,39-251 1,1 0-16,0 14 16,0-14-16,0 13 0,-14 0 15,14 0 1,0 1-16,13-1 16,0 0-1,13 0 1,0-13-1,0 0-15,14 0 16,-14 0 0,0-13-16,0 13 15</inkml:trace>
  <inkml:trace contextRef="#ctx0" brushRef="#br0" timeOffset="54121.18">23839 8070 0,'0'39'16,"0"-25"-16,-13 12 0,13 14 16,0 13-16,0-14 15,0-25-15,0 25 16</inkml:trace>
  <inkml:trace contextRef="#ctx0" brushRef="#br0" timeOffset="54921.03">23072 8916 0,'13'40'15,"-13"-27"-15,0 14 16,0 13-16,0-14 15,0-13-15,0 0 16,0 1 0,13-1-1,0-40 1,1 14-16,-1-26 16,13-28-1,-12 54-15,-1 0 0,26-53 31,-25 66-31,-14-13 16,26 26 0</inkml:trace>
  <inkml:trace contextRef="#ctx0" brushRef="#br0" timeOffset="55265.02">23349 9088 0,'27'-52'16,"-14"25"-16,-13 14 15,0 0 1,-13 26 15,0-13-15,13 13-16,0 0 15,0 14-15,0-14 16,0 0-16,13-13 16,0 13-1,14-13-15,-14 0 0,13 0 16,-12 0-16,-1 0 15</inkml:trace>
  <inkml:trace contextRef="#ctx0" brushRef="#br0" timeOffset="56150.07">23641 8983 0,'-14'0'16,"1"13"-1,0-13 1,0 13 0,13 0-16,-14-13 0,14 14 15,-13-1 1,0 0-16,13 0 15,13 0 1,0-26 0,1 13-1,-1-13 1,0 13 0,0 0-1,-13 13 1,0 0-1,14-13 1,12 0 0,-13 0-16,-13-13 15,13 13-15,1-13 0,12-27 16,1 14 0,-14-14-16,0 14 15,-13-1-15,26-52 16,-12 52-16,-14 14 0,0-13 15,13 12 1,-40 28 0,14-1-1,0 27-15,0-1 16,0-25-16,13 38 16,0-38-16,0-1 0,0 0 15,0 0-15,13 27 16,0-27-1,0 1-15,0-14 16,14-14-16,-1 1 16,-12 0-16,12-14 15,-13 1 1,-13 13-16,14-14 16,-1 14-16,0-40 15,0 13 1,-13 14-1,-13 39 1,13 0 0,-13 14-16,13 13 15,0-27-15,0 13 16,0 1-16,0-1 16,0-13-16,26 27 15,-13-40 1,1 13-16,-1-13 31,0 0-31</inkml:trace>
  <inkml:trace contextRef="#ctx0" brushRef="#br0" timeOffset="56657.16">24130 8890 0,'-13'13'16,"0"-13"0,13 27-16,0-14 15,0 0-15,0 0 16,0 1-1,26-28 1,-13 14-16,0-13 16,1 0-16,-1 13 15,0-13 1,0 13-16,1 13 16,-14 13-1,0 1 1,0-1-16,-14 1 15,1 12-15,13-25 16,-13-1-16,0 0 0,-1 0 16,1 1-1,0-279 1,53 477-16,-27-239 16,27-26-16,13 0 15,13 0-15,-13 14 16,0-1-1,-40 40-15,0 0 16</inkml:trace>
  <inkml:trace contextRef="#ctx0" brushRef="#br0" timeOffset="57202.37">23508 9485 0,'0'40'16,"0"-14"-1,0 1 1,13 13-16,-13-14 0,0 1 15,0 12 1,0-26-16,0 1 16,14-14-1,12-27 1,14 1 0,-27 13-1,0 13 1,14 0-1,-14 0-15,-13 13 16,13-13-16,14 13 16,-1 0-1,-13-13-15,1 0 16</inkml:trace>
  <inkml:trace contextRef="#ctx0" brushRef="#br0" timeOffset="58226.86">23932 9591 0,'-40'-13'15,"13"26"1,14 14 0,0-27-16,0 26 0,13-13 15,0 1 1,0-1-1,0 0-15,13-13 16,0 0-16,14-13 16,-14 0-1,0 13 1,-13-14-16,13 14 0,1-13 16,-1 13 15,0 13-31,-39-79 15,65 146-15,-26-67 16,-13 0-16,14 0 16,-1-13-1,0 13 1,0-13-16,1-13 16,-1 0-1,0 0-15,-13-14 16,13 14-1,-13 0-15,14 13 16,-14-13-16,13 26 47,0-13-31,-13 13-16,0 0 15,0 1-15,0-1 16,13-13-1,-13 13-15,27-13 32,-14-13-32,0 13 15,0-13-15,1-1 16,-1 1 0,13 0-1,-12 0 1,-14-1-16,13 1 0,0 0 15,-13 0 1,0-1 0,13 14-16,-39 0 62,13 14-46,13-1-1,13-13 1,0 0 0,-13-13-1,13 13-15,14-27 16,-14 27 0,-13-13-1,-13 39 16,13-12-15,13-14 0,13 13-16,14-26 15,-13 13-15,25-14 16,-12 14-16,0 0 16,-27 14-16</inkml:trace>
  <inkml:trace contextRef="#ctx0" brushRef="#br0" timeOffset="59345.67">23733 10147 0,'-26'39'16,"26"-25"-16,-27 25 15,14-12 1,0-1 0,13-12-16,39 38 31,-12-52-15,-14-13-16,14 0 15,-1 13 1,-13-13-16,14 26 15,-14 0 1,0 14 0,0-14-16,14 0 15,-1 0 1,-12-13-16,25-13 16,-26-13-1,-13 12 1,0-12-16,-13 26 15,13-26-15,-13 26 16,13-14-16,-66 28 31,53-1-15,26 13 0,0-26-1,27 0 1,-27 0-16,40-26 15,-40 26 1,0 0-16,27-27 16,-27 27-1,14 0 1,-14 14 15,0-1-31,0 0 16,1 0-16,-1 0 15,0-13 17,0 0-32,40-39 31,-39 26-15,-1 13-1,0 0 1,-13 13-1,13 0 1,-13 0 0,0 0-1,-13-13-15</inkml:trace>
  <inkml:trace contextRef="#ctx0" brushRef="#br0" timeOffset="59485.46">24328 10120 0,'-13'-13'15</inkml:trace>
  <inkml:trace contextRef="#ctx0" brushRef="#br0" timeOffset="59913.07">24461 10041 0,'0'26'16,"0"1"-1,0-1-15,0 1 16,0-14-16,0 27 16,0-14-1,0-13-15,0 1 16,0-1-16,0 0 16,-133-172-1,253 318 1,-120-146-1,-14-13-15,41-251 0,-67 502 16,27-237-16,0-1 16,13 0 15,0 0-15,13-13-16,0 0 0,27 0 31,-27 0-31,13 0 0,-12-13 15,-1 13-15,0 13 16</inkml:trace>
  <inkml:trace contextRef="#ctx0" brushRef="#br0" timeOffset="60324.9">23958 10623 0,'93'-13'15,"-67"0"-15,40-1 16,27 1-16,-53 0 15,-1 0-15,94-14 16,-81 27-16,-25-13 0,13 13 16,-27 0-16,13-13 15,-13 13 1</inkml:trace>
  <inkml:trace contextRef="#ctx0" brushRef="#br0" timeOffset="60560.26">24077 10649 0,'132'14'31,"-39"-28"-31,-27 14 16,-26-13-16,-14 13 15,-12 0-15,12 0 0,14-13 16,-27 13 0,0 0-16</inkml:trace>
  <inkml:trace contextRef="#ctx0" brushRef="#br0" timeOffset="61227.86">23945 9895 0,'53'-13'0,"-14"0"16,1 0 0,39-14-16,-39 14 15,-27 13-15,27-13 16,-27 13 0,1 0-16</inkml:trace>
  <inkml:trace contextRef="#ctx0" brushRef="#br0" timeOffset="61374.77">24090 9948 0</inkml:trace>
  <inkml:trace contextRef="#ctx0" brushRef="#br0" timeOffset="61925.39">23508 9313 0,'80'-13'16,"-67"13"-16,27-13 0,-14 13 15,53-13-15,-65 13 16,25-14-16,-12 14 16,-14 0-16</inkml:trace>
  <inkml:trace contextRef="#ctx0" brushRef="#br0" timeOffset="62101.78">23521 9340 0,'40'0'16,"-27"0"-1,40-13-15,0-1 16,-26 1-16,-1 13 16,1-13-16</inkml:trace>
  <inkml:trace contextRef="#ctx0" brushRef="#br0" timeOffset="62522.58">23574 8559 0,'40'-13'0,"39"0"31,-198 39-31,265-52 0,-106 26 15,-14 0-15,-13 0 0</inkml:trace>
  <inkml:trace contextRef="#ctx0" brushRef="#br0" timeOffset="62693.92">23508 8612 0,'27'0'16,"-14"0"-16,13 0 0,1-13 16,-14 13-16,40-13 15,-40-1-15</inkml:trace>
  <inkml:trace contextRef="#ctx0" brushRef="#br0" timeOffset="63108.05">23429 7885 0,'40'-14'16,"65"1"0,-250 40-16,304-54 15</inkml:trace>
  <inkml:trace contextRef="#ctx0" brushRef="#br0" timeOffset="63286.11">23495 7990 0,'106'-13'16</inkml:trace>
  <inkml:trace contextRef="#ctx0" brushRef="#br0" timeOffset="64399.65">21127 7263 0,'0'26'15,"0"-13"1,0 14-16,0-1 0,0 1 15,0-1-15,0 14 0,13 39 16,0 133 0,1-146-1,-1-53-15,-13 27 16,13 26-16,-13-52 16,0-1-1,0 0-15,0 0 16,-13-13 15</inkml:trace>
  <inkml:trace contextRef="#ctx0" brushRef="#br0" timeOffset="64733.03">21021 7832 0,'0'26'16,"13"1"-1,-13-14-15,14 0 16,-14 0-16,26 14 0,-26-14 16,13 13-16,27 1 15,-27-14-15,0 14 0,1-27 16,25 26-1,-25-26-15,-1 0 0,0-13 16,0 13-16,0-13 16,40-27-16,-39 27 15,12-14 1,-13 27-16,1-13 16,-14 0-16,13 13 15</inkml:trace>
  <inkml:trace contextRef="#ctx0" brushRef="#br0" timeOffset="65843.28">21021 6681 0,'0'-13'16,"13"39"-16,-13 0 15,0 1-15,14-1 16,-14-12-16,0-1 0,0 26 16,13-25-1,-13 12-15,13-13 16,0 1 0</inkml:trace>
  <inkml:trace contextRef="#ctx0" brushRef="#br0" timeOffset="66193.14">21167 6694 0,'-14'26'15,"14"1"1,14-1-16,-1-12 15,0 12 1,27-13-16,-27 0 16,0-13-1,0 0-15,1 0 0,12-13 16,-13 0-16,-13 0 0,14 0 16,-14-1-16,0 1 15,0 0-15,-14-14 0,14 14 16,-13 0-16,0 0 15,-14 0-15,14 13 16,-13 0 0,13 0-16</inkml:trace>
  <inkml:trace contextRef="#ctx0" brushRef="#br0" timeOffset="66502.73">21378 6628 0,'0'13'16,"0"14"-16,0-14 15,14 13-15,-1 14 16,13-27 0,1 0-1,-1-13-15,1 0 16,-14 0-16,13 0 15,-26-13-15,14 0 16,-14 0-16,-14-14 16,1 14-16,13 0 15,-13 13-15,0-13 16,-120-27-16,239 66 0,-119-26 16,0 0-16,-14 0 15,14 14 1</inkml:trace>
  <inkml:trace contextRef="#ctx0" brushRef="#br0" timeOffset="66736.67">21841 6482 0,'14'0'0,"-14"14"15,0 12-15,-14 0 16,14-12-16,-13 12 16,13-13-16,0 1 15,-13-1-15,0 40 0,-1-27 16,14-13 0,0 1-16,-13-1 0,13 0 15</inkml:trace>
  <inkml:trace contextRef="#ctx0" brushRef="#br0" timeOffset="66886.08">21643 6641 0,'-13'0'0,"13"-13"16,211-133-1,-409 305 16</inkml:trace>
  <inkml:trace contextRef="#ctx0" brushRef="#br0" timeOffset="67029.08">21974 6681 0,'13'0'15,"-13"-13"-15,13 13 16</inkml:trace>
  <inkml:trace contextRef="#ctx0" brushRef="#br0" timeOffset="68572.33">22410 6390 0,'-66'39'15,"53"-25"1,13-1-16,-13 0 16,13 0-16,-14 14 15,14-14-15,14 0 0,-14 0 16,13-13 0,0 14-1,14-28-15,-14 1 16,13 0-16,-26 0 15,13 0-15,-13-1 16,0 1 0,0 0-16,14-14 15,-28 67 32,14-27-31,14-13-16,-14 14 0,13-14 15,-13 13 1,26-13 0,1-13-16,12-1 15,-25 1 1,-1 0-16,0 0 16,0-1-16,1 1 31,-28 26 0,14 1-31,0-1 16,-13 0-1,13 0-15,13 1 16,-13-1 0,14-13-16,-1 0 15,0 0-15,14-13 16,-14 13-1,0-14-15,0 1 16,-13 0-16,13 0 16,1-1-1,-28 41 48,14-14-63,0 0 15,14-13 1,-14 14-16,13-14 0,0 0 16,14 0-1,-14 0 1,-13-14-16,26 1 16,-26 0-16,14 13 15,-1-13 1,0 26 31,0 0-32,0-13 17,1-13-17,-1 13 1,0 0-1,0 0-15,1 0 16,-14 13 15,26-13 32,-26-13-63,13 0 15,1-1 1,-1 1-16,0 13 16,-13-13-16,13 13 15</inkml:trace>
  <inkml:trace contextRef="#ctx0" brushRef="#br0" timeOffset="69394.16">23204 6337 0,'-13'13'16,"0"0"-16,13 0 16,-14 1-1,14-1-15,14 0 31,-1-13-15,0-13-16,13 13 31,-12 0-15,-1 0 0,-13 13-16,13-13 15,14-13 16,-14 13-31,0-13 0,0-1 16,-13 1-16,13-13 0,14-14 16,-27 27-16,13-14 15,0-12-15,-13 25 0,14-12 16,-14 13-16,13 0 16,-13-1-1,-13 41 1,13-14-1,-14 27-15,14-27 16,0 0-16,0 14 16,14-14-1,-14 0 1,13-13-16,0 0 16,0 13-1,14-13 1</inkml:trace>
  <inkml:trace contextRef="#ctx0" brushRef="#br0" timeOffset="69567.72">23257 6231 0,'40'-13'16,"65"-14"31</inkml:trace>
  <inkml:trace contextRef="#ctx0" brushRef="#br0" timeOffset="70411.1">22238 6985 0,'0'-26'16,"13"26"15,1 13-31,-1 0 16,13 27-1,1-1 1,-14-25-16,0-1 0,1 13 15,-14-12-15,0-1 16,0 0-16,0 0 16,-14 0-1,-12-26 1,26 0 0,0 0-16,13 13 15,-13-27-15,27-12 16,-14 25-16,0-12 15,0 13-15,-13-14 16,13 14-16,-13 0 16,-13-14-1,13 14-15,-13 13 16,0-13-16,0 13 16,-14 0-1,14 0-15,-14 0 16,27 13-16,14 0 31</inkml:trace>
  <inkml:trace contextRef="#ctx0" brushRef="#br0" timeOffset="70729.78">22516 6932 0,'-13'13'16,"0"40"-1,13-40 1,0 1-16,13-1 16,-13 0-16,13-13 0,0 13 15,14 1-15,-1-14 16,-13 0-16,1 0 0,-1-14 16,0 14-1,0 0-15,1-26 16,-160-80-16,292 199 0,-146-107 15,0 1-15,-14 0 16,1 0-16,0 13 16,0 0-1,-14 0-15,14 13 16,0-13 0</inkml:trace>
  <inkml:trace contextRef="#ctx0" brushRef="#br0" timeOffset="70910.11">22794 6853 0,'13'13'15,"-26"66"1,13-52-1,-13-14-15,13 0 0,0 0 16,0 1-16</inkml:trace>
  <inkml:trace contextRef="#ctx0" brushRef="#br0" timeOffset="71090.12">22754 6919 0,'0'-13'16</inkml:trace>
  <inkml:trace contextRef="#ctx0" brushRef="#br0" timeOffset="71351.34">22953 7011 0,'-14'0'16</inkml:trace>
  <inkml:trace contextRef="#ctx0" brushRef="#br0" timeOffset="71917.94">23151 6853 0,'0'-14'16,"27"28"15,-27-1-15,0 13 0,13-12-16,-13-1 15,0 0-15,13 14 16,-13-14-16,0 0 15,13-13 1</inkml:trace>
  <inkml:trace contextRef="#ctx0" brushRef="#br0" timeOffset="72413.37">23310 6826 0,'13'27'16,"-13"-14"-1,0 0 1,0 0-16,13 14 15,0-14 1</inkml:trace>
  <inkml:trace contextRef="#ctx0" brushRef="#br0" timeOffset="72785.03">23032 6919 0,'-13'-13'16,"39"13"-1,-13 0 1</inkml:trace>
  <inkml:trace contextRef="#ctx0" brushRef="#br0" timeOffset="73029.87">23601 6826 0,'53'-13'0</inkml:trace>
  <inkml:trace contextRef="#ctx0" brushRef="#br0" timeOffset="78026.28">5067 7699 0,'13'-13'0,"0"13"0,0 0 16,14 0-16,-14 0 15,0 0-15,1 13 16,-1-13-16,0 0 15,0 14-15,1 12 16,-14-13-16,0 14 16,0-1-16,0 27 15,0 27 1,0-41-16,0 54 16,13-40-16,0 39 0,13 67 15,-12-119 1,-1-1-16,0 14 0,14 53 15,-14-79-15,0-1 16,0 27-16,1-13 16,-14-1-16,-14-25 15,1 12 1,0-13-16,-67 27 16,1-14-16,39-26 15,-52 14-15,52-1 16,-66 0-16,67 0 0,-14-13 0,0 14 15,-119-1 1</inkml:trace>
  <inkml:trace contextRef="#ctx0" brushRef="#br0" timeOffset="78940.03">1799 7792 0,'-40'13'0,"1"-13"16,26 0-16,-1 0 0,1 0 0,-13 13 15,-1-13 1,14 0-16,0 14 0,0-14 16,-14 13-16,14-13 15,13 13-15,-27 27 16,27-27-16,0 53 16,0-26-16,14 79 15,-1-40-15,0-26 16,-13-13-16,13 0 0,1 92 15,-14-40 1,0 1-16,-14-27 16,14-39-16,0 26 15,-13-14-15,13-12 16,0-1-16,0 1 16,-13-14-16,13 0 15,13 0-15,-13 1 16,13-14-16,14 13 15,-14-13-15,80 0 16,-41 0 0,28 0-16,12-13 15,-39 13-15</inkml:trace>
  <inkml:trace contextRef="#ctx0" brushRef="#br0" timeOffset="79956.11">2103 9234 0,'-79'-26'16,"26"26"0,40 0-16,-40 0 0,40 13 15,-53-13 1,39 0-16,14 13 0,-14-13 16,1 0-16,0 13 15,26 0-15,-14-13 16,1 67-16,13-15 15,0-25-15,0 13 16,0 13-16,0-14 0,0 1 16,0 13-16,13 79 15,-26-26-15,13-66 0,0-1 16,-13 80 0,13-52-16,-13-28 15,26-26-15,-13 27 16,13-27-1,40 1-15,-27-14 16,27 0-16,0 0 16,238-53-1,-225 26-15,93-12 0,-79 25 0,-14 1 16</inkml:trace>
  <inkml:trace contextRef="#ctx0" brushRef="#br0" timeOffset="80658.81">5120 9128 0,'39'0'16,"54"0"0,-67 0-16,-12 0 0,12 13 15,1-13-15,-1 14 0,-13-14 0,27 26 16,26 40-1,-39-13-15,-1 13 16,-13-26-16,14 26 16,-1 13-16,1 41 15,-14-81-15,0 1 16,0 66 0,1-14-16,-14-78 15,0 12-15,0 14 16,-14-14-16,1 1 15,0-14-15,-14 0 0,-65 27 16,39-27-16</inkml:trace>
  <inkml:trace contextRef="#ctx0" brushRef="#br0" timeOffset="81441.17">1799 10411 0,'-92'27'16,"78"-27"-16,1 0 16,0 13-1,13 0-15,0 27 16,0-27-16,0 14 15,13 12-15,-13 54 0,0-40 16,13 92-16,-13-92 16,0-13-16,0 13 0,0 39 15,14-12-15,-1-1 16,0-26-16,0-13 16,14 0-1,-14-14-15,13 0 16,27 1-16,-39-14 15,12-13-15,14 0 0,26 0 16,79-26 0,-79 12-16,-13 1 0,14-13 15,-1 13-15</inkml:trace>
  <inkml:trace contextRef="#ctx0" brushRef="#br0" timeOffset="82165.3">5226 10292 0,'172'-26'15,"-120"26"1,1 13-16,0 27 31,-40-27-31,-13 0 0,14 0 16,-1 14-16,0 13 16,14 52-16,-1-26 15,-13 14-15,27 26 16,-27-67-1,27 54-15,-14-1 16,-12-65 0,-14 65-1,0-65-15,-14 13 16,-25 26-16,-1-27 16,14-25-1,12-1-15,-25 13 16,-1-12-16,13-14 15,1 13-15,13-13 16,0 0-16</inkml:trace>
  <inkml:trace contextRef="#ctx0" brushRef="#br0" timeOffset="83722.89">5781 7607 0,'146'-53'0,"-120"53"0,14 13 16,-27 0-16,13 1 0,14 52 16,-13-27-16,-14 14 15,0 133-15,-13-120 16,0 13-16,-13 14 0,13-14 15,-13 186 1,13-186-16,0 93 0,13-93 0,0-13 16,0 1-16,1-1 0,25 40 15,14-14-15,0-39 16,0-13-16,-40-27 16,27-13-1,-14-13-15,54-27 16,-41 0-16,1-12 15,-27 25-15,-13 1 16,14 12-16,-1-39 16,0 93-1,0 40 1,1 39-16,-1 13 16,26 13-16,-12-78 15,13 104-15,12-25 16,15 79-1,-14-80-15,-40-78 16,26 131-16,-25-79 16,-14 27-1,-14-54-15,-12-12 16,13-41 0,0 1-16,-1-14 0</inkml:trace>
  <inkml:trace contextRef="#ctx0" brushRef="#br0" timeOffset="-77647.54">20611 5358 0,'-13'0'0,"13"-13"31,26 13 32,-12 13-63,12-13 15,14 0 1,-27 13-16,13-13 0,54 13 15,12 1 1,27-1 0,-92-13-16,39 0 15,40 13-15,-80-13 16,1 13-16,79-13 16,-80 0-16,0 0 0,67 0 15,-14-13 1,-26 13-1,-13 0-15,13 0 0,13-13 16,14 0 0,-67 13-16,79-27 31,-78 27-31,65-26 16,-39 12-1,-1 1-15,27 0 16,1-14-1,-14 14-15,-40 13 16,53-26 0,-53 26-16,53-27 15,-26 14-15,-27 0 16,14 0-16,-14-1 16,13 1-16,27-13 15,-26 12-15,-1 1 16,1-13-1,12 13 1,-25-14-16,12 14 16,0 0-16,1-14 15,13 1 1,-27 12-16,13-12 16,1 0-1,12-14 1,-25 27-1,12-14-15,1-13 16,-1-12 0,-26 38-16,13-12 15,1-1-15,-1 1 16,-13 13-16,0 0 16,13-14-16,-13 1 15,0-1 1,0 1-16,0 12 0,-13-12 15,13 13-15,0 0 0,-13 13 16,13-27-16,-14 1 16,14 12-16,-13 14 0,13-26 15,-13 13 1,0-14 0,-1 27-16,1-13 0,13 0 15,-13 13-15,0-13 16,-1 13-16,1-14 15,0 1 1,0 13-16,-14-13 16,1 13-1,13 0-15,-1 0 16,14-13-16,-26 13 16,13 0-16,-14 0 15,1-14-15,13 14 16,-1 0-16,1 0 15,0 0-15,-14-13 16,14 13-16,0 0 0,0 0 16,-1 0-16,-25 0 15,12 0-15,1 0 16,-1-13 0,14 13-16,-13 0 15,-1 0-15,14 0 16,-13 0-1,12 0-15,-12 0 16,-14 0 0,27 0-1,0 0 1,-14 0-16,1 0 31,13 0-31,-14 0 16,1 0-1,12 0 1,1 0-16,0 0 0,-13-13 16,-1 13-1,14 0-15,-27 0 32,40-13-32,-40 13 15,14-14-15,13 14 16,-14 0-1,14-13 1,0 13-16,-14 0 16,14-13-1,0 13 1,0 0 0,0-13-1</inkml:trace>
  <inkml:trace contextRef="#ctx0" brushRef="#br0" timeOffset="-76208.61">13031 6165 0,'-13'13'16,"39"0"-16,0-13 16,-12 0-16,39-13 0,-27 13 15,0-13-15,1 0 0,39-14 16,-13 1-16,-40 12 16,14 1-16,-14-13 15,0 12-15,-13-12 0,0 13 0,0 0 16,-13-14-1,0 14-15,-1 13 16,1 13-16,-13 27 16,-1 13-16,14-14 15,0 41-15,0-41 16,13 41-16,0-1 16,0-26-16,0-26 15,0 39-15,13-53 16,-13 0-16,0 14 15,13-1 1</inkml:trace>
  <inkml:trace contextRef="#ctx0" brushRef="#br0" timeOffset="-75761.55">13547 6271 0,'-27'105'15,"14"-105"-15,13 53 16,0-39-16,-13-1 0,13 0 15,0-39 17,0-27-17,0 13-15,13-39 16,0 39-16,0 0 0,1-13 16,-1 40-16,13-27 15,-12 40-15,12 0 16,-13 0-16,0 14 15,-13-1-15,0 13 16,0-12-16,-26 25 16,26-12-16,-26-14 15,26 0-15,-14 14 16,-12-1 0,-1 1-16,27-14 15,-13 0-15</inkml:trace>
  <inkml:trace contextRef="#ctx0" brushRef="#br0" timeOffset="-75166.67">12991 6906 0,'93'0'0,"-67"0"0,-145 0 15,331-14-15,-159 14 0,145-39 16,-39-27 0,-53 26-1,-14-13-15,-26 0 16,-13 0-1,13-53-15,-52 67 16,-1-1-16,0 0 0,0-105 16,-13 52-16,0 27 15,-26-53-15,-14 0 16,-13 26 0,14 54-16,-67-41 0,-13 27 15,53 27-15,-1-1 0,-12 14 16,0 13-16,-67 0 15,1 27-15,-93 65 16,92 14-16,80-53 16,-40 79-16,40 0 15,39-65-15,-26 144 16,53-65 0,0-67-16,14 54 0,-1-67 15,27 53-15,26-27 16,0 1-16,-26-67 15,26 41-15,26-15 16,-25-25 0,-15-14-1,-38-13-15,-1 0 16</inkml:trace>
  <inkml:trace contextRef="#ctx0" brushRef="#br0" timeOffset="-71312.4">2037 6324 0,'0'13'31,"-13"-53"-16,13 27-15,-13-14 16,13 1-16,0 13 0,-13-27 16,13 27-1,0 0-15,0-1 16,13 14-16,0 0 16,0 14-16,1-14 0,12 13 15,-13 0-15,0 0 16,1-13-16,12 13 0,-26 1 0,27-14 15,-27 13-15,13-13 16,0 0 0,0 0-16,-13-13 15,0-1-15,0 1 0,-13 0 16,13 0-16,-13-14 16,13 14-16,-13 0 0,13 0 15,-14-1-15,14 1 0,-13 0 16,13 0-16,-13-1 15,13 1 1,13 0 0,14 26 15,-27 0-31,13-13 0,0 27 16,0-14-16,0 14 15,1-14-15,-1 0 0,0 14 0,14-1 16,-14-13-16,0-13 15,14 13-15,-14 1 0,0-14 0,0 0 16,0 0-16,1 0 0,-1 0 16,0 0-16,-13-14 0,13 14 15,-13-26-15,-13 26 16,13-13-16,-13-14 0,0 14 0,-1 0 16,1 13-16,0-13 15,-13-1-15,-1 1 0,14 13 16,0 0-16,-1-13 0,1 13 15,0 0-15,0 13 16,13 14-16,26-1 16,-13-13-1</inkml:trace>
  <inkml:trace contextRef="#ctx0" brushRef="#br0" timeOffset="-70987.18">3413 6059 0,'40'0'15,"-1"0"1,14 0-16,-26-13 0,-1 13 16,67-14-16,-53 14 0,13-13 15,-14 0-15,1 13 0,39-13 16,-52 0-16,39-1 16,-53 14-16,0 0 15,-13-13 1</inkml:trace>
  <inkml:trace contextRef="#ctx0" brushRef="#br0" timeOffset="-70665.5">3797 5821 0,'119'0'16,"-93"0"0,14 13-16,39 0 15,-39 1-15,0-1 0,-14 0 0,14 0 16,0 14-16,-27-14 0,0 13 16,0-12-16,0-1 0,1 26 15,-14 1-15,-14 13 16,1-26-16,0-1 0,0 14 15,-14-14-15,-12 14 16,12-14-16,-12-12 16,12-1-16,27 0 0,-13-13 15,0 0-15,-1 13 16</inkml:trace>
  <inkml:trace contextRef="#ctx0" brushRef="#br0" timeOffset="-67583.74">12753 7938 0,'40'13'16,"-27"0"0,13-13-16,27 0 15,0 0-15,27-26 0,25-14 32,-65 13-32,-14 14 0,41-40 15,-41-13-15,-13 40 0,1 12 16,-14 1-16,0-13 0,-14-1 15,-12 1-15,13 13 16,-1 13-16,-12 0 0,13 13 0,-14 0 16,-26 27-16,27-14 15,-27 54-15,40-41 0,-14 41 16,14-41-16,13 1 0,-13 0 16,0 39-16,13-39 15,0-14-15,0 1 0,0-1 0,13-13 16,-13 14-16,13 12 0,0-25 15,1-1-15,-1-13 16,0 0 0</inkml:trace>
  <inkml:trace contextRef="#ctx0" brushRef="#br0" timeOffset="-67076.74">13388 8281 0,'-27'-26'15,"27"13"-15,0-14 16,0 14-16,0 0 0,0 0 16,0-14-16,0 1 0,0 12 15,0 1-15,0 0 16,14 0 0,-1 26-16,0-13 15,0 13-15,-13 0 0,27 1 16,-14-14-16,0 13 15,1 0-15,-1-13 16,0 0-16,13 0 0,-12-13 16,-14 0-16,13-14 15,0 14-15,-13-13 0,0-1 16,0-13-16,0 14 16,0 0-16,0-1 0,0 14 15,0-14-15,0 14 0,0 0 16,0 0-16,0 52 31,-13-12-31,13-1 16,-13-12-16</inkml:trace>
  <inkml:trace contextRef="#ctx0" brushRef="#br0" timeOffset="-65459.51">13070 8440 0,'14'13'0,"-1"-13"16,-13 14-16,13-14 0,0 0 16,1 13-16,-1-13 0,40 0 15,-27 0-15,27 0 16,0 0-16,-13-13 0,304-120 31,-305 107-31,14-1 16,-13 1-16,0 0 0,-14-1 15,27-39-15,-27 39 0,14-65 16,-27 52-16,1-13 0,-1 14 16,-13-54-16,-27-26 15,1 66-15,-14 13 0,1-13 16,-54-13-16,40 40 15,-13-1-15,0 14 0,-14 0 0,1 13 16,0 0-16,-14 26 0,-13-12 16,0 25-16,14 1 0,-14 13 0,13 0 0,1 13 15,12 0-15,1 0 16,13 14-16,0-1 0,26 14 0,0-14 16,14-13-16,13 0 0,13 14 0,0-27 15,13 13-15,13 0 16,54 40-16,-41-53 0,27-1 0,-13-12 15,14 0-15,-15 0 0,15-14 16,-14 0-16,-1 1 0</inkml:trace>
  <inkml:trace contextRef="#ctx0" brushRef="#br0" timeOffset="73422.85">1376 4075 0,'26'0'125,"93"0"-109,27 0 0,-14 0-16,14 0 15,12 0-15,14 0 16,-13 0 0,225 0-1,-173 0-15,54 0 0,-14 0 16,1 0-1,-27 0-15,-40 0 16,13 0-16,-39 0 16,13 0-16,159 0 15,-172 0 1,13 0-16,-27-27 16,-52 27-16,12 0 15,-52-13-15,-39 13 16,12 0-16</inkml:trace>
  <inkml:trace contextRef="#ctx0" brushRef="#br0" timeOffset="80541.08">13309 5054 0,'26'0'125,"14"0"-125,66 0 16,-1 0 0,54 0-1,0 0 1,0 0 0,39 0-1,14 0 1,-106 0-1,26 0-15,-26 0 16,-27 0-16,53 0 16,-66 0-1,40 0-15,53 0 16,-66 0-16,-40 0 16,0 0-16,-1 0 15,1 0-15,-13 0 16,0 0-1,52 0 1,-39 0-16,0 0 0,0 0 16,40 0-1,-14 0 1,14 0 0,-1 0-1,-26 0 1,-26 0-1,0 0 1,-1 0-16,1 0 16,-13 0 15,-14 0-31,0 0 0,40 0 16,-13 0-1,26 0 1,-13 0-16,0 0 15,0 0-15,39 0 16,-26 0-16,14 0 16,-14 0-16,132 0 15,-92 0 1,13 0-16,-26 0 16,26-14-16,-27 1 15,14 13 1,-26-26-16,-1 12 0,-26 14 15,0-13-15,-13 13 16,-14-13-16,0 13 16,1 0-1,-14 0-15,0-13 16,1 13 0,-1 0-1,13 0 1,-12 0-16,52 0 15,-27 0 1,1 0-16,0 0 16,13 0-16,-27 0 15,27 0-15,40 0 16,-54 0 0,14 0-16,0 0 15,0 0-15,53 0 16,-53 0-1,0 0-15,13 0 16,-13 0-16,-14 0 16,41 0-1,-54 0-15,27 0 16,27 0 0,-41 0-1,-12 0-15,12 0 0,-12 0 16,13 0-16,-14 0 15,0 0 1,14 0-16,0 0 16,-27 0-16,27 0 15,-27 0-15,40 0 16,-13 0-16,13 0 16,26 0-16,-26 0 15,26 0-15,-26 0 16,27-14-16,-28 14 15,1 0-15,27 0 16,-14 0-16,-13 0 16,79 0-1,-92 0-15,-1 0 16,1 0-16,0 0 16,-27 0-16,40 0 15,-27 0-15,14 0 16,0 0-16,-1 0 15,1 0 1,-13 0-16,-1 0 0,14 0 31,-1 0-31,-12 0 0,-1 0 16,27 0 0,40 0-1,-27 0-15,-13 0 16,-27-13-16,1 13 15,-14 0-15,0 0 141</inkml:trace>
</inkml:ink>
</file>

<file path=ppt/ink/ink18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4:34:19.969"/>
    </inkml:context>
    <inkml:brush xml:id="br0">
      <inkml:brushProperty name="width" value="0.05292" units="cm"/>
      <inkml:brushProperty name="height" value="0.05292" units="cm"/>
      <inkml:brushProperty name="color" value="#0070C0"/>
    </inkml:brush>
  </inkml:definitions>
  <inkml:trace contextRef="#ctx0" brushRef="#br0">6297 1786 0,'-26'0'0,"26"13"0,0 0 16,-14 14-1,14 13-15,0-27 16,14 0-16,-14 13 0,0 41 16,26 65-16,-13-13 15,-13-53-15,0 13 16,14 1-16,-14-1 0,0 120 15,13-107-15,-26 1 0,13 132 16,0-119-16,-14 13 16,1 185-16,0-53 15,0-171-15,13-1 16,0-13-16,-14 80 16,14-80-16,-13 0 0,13-13 0,0-13 15,0 13-15,0-14 0,-13 1 16,13 52-16,0-65 15,0-14-15,-13 53 16,13-52-16</inkml:trace>
  <inkml:trace contextRef="#ctx0" brushRef="#br0" timeOffset="2874.04">6257 1693 0,'40'-13'15,"-13"0"-15,-14 13 0,0 0 16,40 0-16,-27 0 0,1 0 16,-1 0-16,27 0 15,0 0-15,40-13 0,13 13 16,-54 0-16,81 0 0,-54 0 16,133-14-1,-1 28-15,-52-14 16,-79 0-16,-14 13 15,13-13-15,67 13 16,264 0 0,-357-13-16,0 0 15,66 0-15,-80-13 16,14 13-16,13 0 0,-26 0 16,13 0-16,-40 0 15,14 0-15,-14 0 0,27-13 16,-27 13-16,0 0 0,14 0 31,-14 0-31,0 0 16,0 0-1,0 0 1,1 13 0,-14 0-1,13-13-15,-13 14 16,13 12-16,-13 0 15,13-12-15,-13 25 0,14 1 16,-14-13-16,13-14 0,-13 93 16,0-80-1,0 1-15,0 39 16,0-40-16,0 14 0,0-14 16,0 14-16,-13 26 15,13-26-15,0 39 0,0-52 16,-14 39-16,14 0 15,0-26-15,0-14 0,-13 40 16,13 0-16,0-39 16,0 39-16,0-26 0,-13 13 15,13 26 1,0-53-16,0 41 16,-13 12-1,13-53-15,-14 67 0,14-67 16,-13 1-16,13 26 15,-26 53 1,26-27 0,0-53-16,-13 1 0,13 52 15,0-52-15,-14 92 16,14-93 0,0 67-1,-13-27-15,13-13 16,0 0-1,0-13-15,0 12 16,0 15 0,0 12-16,-13-26 15,13 26 1,0-52-16,0 52 16,0-52-16,0-1 0,0 67 31,13-27-31,-13-53 15,0 27-15,13-14 16,-13 40 0,14 0-1,-14-39-15,0-14 16,0 14-16,0-1 16,13 1-16,-13-1 15,-13 14-15,13-14 16,13 1-1,-13-1-15,0 1 16,0-14-16,0 0 0,0 0 16,0 0-16,0 1 15,0-1 1,0 0-16,0 0 16,-13 1-1,-1-14 1,1 13-16,0-13 15,0 13 1,-1-13-16,-12 0 0,-14 0 16,27 0-16,0 0 15,-14 13-15,1-13 0,-1 0 16,1 0-16,-40 0 0,26 13 16,-79-13-1,53 0-15,0 0 16,0 0-16,13 14 15,13-14-15,14 0 0,-1 0 16,-39 0-16,-40 13 16,27-13-1,39 0-15,-26 13 16,39-13-16,1 0 0,-27 0 16,-13 13-16,39-13 15,-12 0-15,12 0 16,-26 0-16,-39 0 15,26 0 1,-27-13-16,53 13 16,-26 0-16,-13 0 15,52 0-15,-52-13 16,39 13-16,-39 0 31,13 0-31,13-13 16,40 13-16,-27 0 15,27 0-15,-14 0 16,-12 0-16,12 0 16,14 0-1,0 0-15,-1 0 16,-12 0-16,13-14 16,0 14-1,-14 0-15,1 0 16,-1-13-1,14 13-15,0 0 16,-14 0-16,14-13 16,0 13-16,-40-13 15,40 0 1,-1 13-16,1 0 0,0-14 0,-14 14 16,14 0-16,-26-13 15,25 0-15,1 13 16,13-13-16,-13 13 0,0-14 15,13 1-15,-14-13 16,14-1 0,-13 27-16,13-26 15,0-1-15,0 1 16,-13-1 0,13 1-1,0 13-15,0-14 0,0-39 16,0 13-1,13-13 1,-13 26 0,13 14-1,-13 13-15,0-1 16,14 1-16,-14-13 0,13-1 16,0 1-16,-13 13 0,0-1 15,13 1-15,-13 0 16,0 0-16,14-14 15,-14 14 1,13 0 0,-13 0-1,13-1 17,-26 1 14,13 0-46,-13 13 16,13-13-16</inkml:trace>
  <inkml:trace contextRef="#ctx0" brushRef="#br0" timeOffset="5941.89">7726 1283 0,'13'27'16,"-13"12"-16,0 1 15,0-13 1,0 12-16,13-26 0,-13 1 16,0 12-16,0 1 15,0-14-15,0 13 16,-13-12-16,13-1 16</inkml:trace>
  <inkml:trace contextRef="#ctx0" brushRef="#br0" timeOffset="6370.75">7739 1323 0,'0'-13'0,"40"-14"16,-27 14-1,27 0-15,-14 0 16,-13 13-1,1 0-15,-1 0 16</inkml:trace>
  <inkml:trace contextRef="#ctx0" brushRef="#br0" timeOffset="6609.84">7792 1442 0,'26'13'16,"-12"-13"-16,12 0 16,-13 0-1,14-13-15,-1 13 16,1 0-1,-14 0-15</inkml:trace>
  <inkml:trace contextRef="#ctx0" brushRef="#br0" timeOffset="7064.96">7990 1296 0,'-13'14'0,"26"-1"15,1 0 1,-14 0-16,26 1 15,-13-14-15,1 0 16,12 0 0,-13-14-16,0 1 15,-13 0-15,14 13 16,-14-13 0,13-1-16,-26 54 31,13-13-16,-14 12-15,1 1 16,13-14-16,-13 14 16,0 0-1,13-27-15,-13 14 0,13-14 16,0 0 0,13-13-16</inkml:trace>
  <inkml:trace contextRef="#ctx0" brushRef="#br0" timeOffset="7808.19">8229 1349 0,'52'-13'15,"-12"0"-15,-27 13 16,1-13-16,12-1 0,-13 14 16,1-26-1,-14 13 17,-14 26-1,1 27-31,13-14 15,0 40 1,13-39 0,-13-14-16,0 53 15,0-53-15,0 1 0,-13-1 16,0 27 0,0-40-16,13 13 0,-14-13 15,1 13-15,0-13 16,13 13-1,26-13 17,41-26-17,-41 13 1,14-1-16,-1 1 16</inkml:trace>
  <inkml:trace contextRef="#ctx0" brushRef="#br0" timeOffset="7956.87">8877 1482 0,'-13'-14'31</inkml:trace>
  <inkml:trace contextRef="#ctx0" brushRef="#br0" timeOffset="10388.64">6218 2897 0,'0'-13'16,"-27"-13"0,14 12-16,0 1 0,0 0 0,-14 0 15,1-14-15,-14 1 0,-92-54 16,26 14-1,53 40-15,-40-27 0,40 13 16,-52 0-16,65 14 16,0-1-16,-39-12 0,26 12 15,26 14-15,14 13 16,-13-13-16,-1 0 0,14 13 16,13-14-16,-26 1 0,12 13 15,14-13 1,-13 13-16,0 0 15,0 0 17</inkml:trace>
  <inkml:trace contextRef="#ctx0" brushRef="#br0" timeOffset="12324.78">7488 3519 0,'26'26'15,"14"-12"-15,-27-1 16,14-13-16,-1 13 0,0-13 0,41 13 15,-1 1 1,26-28-16,-52 14 0,0 0 16,39-26-16,-39 13 15,39-14-15,-26-13 16,-26 14-16,-1 13 0,0 0 0,-12-1 16,-1-12-16,0 13 0,0-1 15,1-25-15,-14-1 16,0 27-16,0-14 0,0-12 15,-14 25-15,14-12 0,-13 0 16,0-1-16,-14-39 0,14 39 16,-13 1-16,-40-67 15,13 41-15,26 25 16,-39-13-16,26 27 16,-26-13-16,-40 12 15,27 14-15,26 14 16,0-1-16,-53 27 15,53-14-15,-132 93 16,159-79 0,-14-14-16,14 1 0,-1-1 0,-39 54 15,40-41 1,26 1-16,0-27 16,13 14-16,0 12 15</inkml:trace>
  <inkml:trace contextRef="#ctx0" brushRef="#br0" timeOffset="13393.09">7422 3598 0,'-106'-13'15,"66"26"-15,27-13 0,-53 40 16,39-14 0,1 27-16,13-26 15,-1-14-15,14 14 0,-13 52 16,13-39-16,13 26 16,14 13-16,-1-26 15,1-13-15,39 13 16,0 0-1,-26-40-15,26 26 0,-27-25 16,94 39-16,-41-40 16,-39-13-16,53 13 15,40-13 1,-54 0-16,-52-13 0,13 13 16,-13-13-16,39-14 15,0 1-15,-52 12 0,26 1 16,-27 0-16,14-13 15,-14-1-15,14-26 16,-27 27 0,0-1-16,-13 1 15,0-14-15,0 27 16,0-27-16,-13 27 0,13-13 16,-13 12-16,-14-39 15,-39 0 1,27 27-1,-1 0-15,-13-1 16,-13-13-16,39 27 0,-78-13 16,65 12-16,0 14 15,1-13-15,-41 13 16,14 0-16,0-13 16,0 13-16,26 0 15,14 0-15,-1 0 0,-13 0 0,14 0 16,0 13-16,-67 0 15,27 14-15,26-14 16,14 0-16,-27 27 16,39-27-16,-38 27 15</inkml:trace>
  <inkml:trace contextRef="#ctx0" brushRef="#br0" timeOffset="23130.6">6972 4908 0</inkml:trace>
  <inkml:trace contextRef="#ctx0" brushRef="#br0" timeOffset="24549.8">7541 3585 0,'0'-13'16,"0"0"0,-14-1-1,14 1 1,-13 0-16,0 0 16,13-1-16,-13 1 0,-1 0 0,1 0 15,0 0-15,-53-54 16,39 54-16,1-13 15,-27-14-15,27 27 0,-14-14 16,27 14-16,-14 0 16,14 0-16,-13-14 0,12 14 15,1 0-15,0 13 16,13-13-16</inkml:trace>
  <inkml:trace contextRef="#ctx0" brushRef="#br0" timeOffset="31137.68">3321 2474 0,'0'66'0,"0"-53"16,0 0-16,0 1 0,0-1 16,0 13-16,13 14 15,-13-13-15,0-14 16,0 0-16,0 0 16,0-52 15,0 12-31,0-13 15,0 27-15,13-27 16,-13 27-16,0 0 0,0 0 16,0 0-16,13-1 0,14 1 15,-14 13 1,0 13-16,27 27 16,-27-14-16,0-12 15,14 25-15,-14 1 16,0-13-16,0 25 15,1-38-15,-14 12 16,13-13 0</inkml:trace>
  <inkml:trace contextRef="#ctx0" brushRef="#br0" timeOffset="31337.7">3334 2699 0,'26'-13'16,"-13"13"-16,1-14 16,-1 14-16,0 0 15,0-13-15,40 0 0,-26 13 16,-1-13-16</inkml:trace>
  <inkml:trace contextRef="#ctx0" brushRef="#br0" timeOffset="32289.34">3823 2527 0,'-13'53'16,"13"-40"-16,26 106 15,-12-106 1,-14 0-16,13 1 0,0-1 0,14 0 16,-1 0-1,-13-26-15,1 13 0,-1 0 16,0-26-16,0 12 16,14-25-16,-27 12 0,13 14 0,-13-13 15,0-1-15,13-39 16,-13 53-16,0 0 0,0-14 15,0 14-15,0 0 0,0-1 16,0 1-16,0 0 0,-13 0 16,13 39 15,13-13-15,-13 27-16,0-27 0,13 27 15,1-14-15,-1 1 16,-13-1-16,26 1 15,-26-14-15,14 0 0,-1-13 16,0 14-16,0-14 16,0 0-16,1 0 0,-14-14 15,26-12-15,-13 13 16,-13-1 0,14 14-16,-14-13 0,13 0 15,0 26 16,-13 0-31,13 14 16,-13-14 15,13-13-31,1 0 16,-1-13 0,0 0-1,0 13-15,1 13 16,-1-13-1,0 13-15,0-13 16,-13 13-16,14-13 16,-14 14-1,13-28 1</inkml:trace>
  <inkml:trace contextRef="#ctx0" brushRef="#br0" timeOffset="32470.47">3982 2553 0,'26'0'16,"-12"-13"-1,-1 13-15,13 0 0,-12 0 16,12-13-16,14 13 0</inkml:trace>
  <inkml:trace contextRef="#ctx0" brushRef="#br0" timeOffset="33122.64">4524 2580 0,'-26'0'16,"26"13"-16,-13-13 16,13 13-1,-14 0-15,14 1 16,0-1 0,14-13-1,-1-13 1,0 13-1,0 0 1,1 0 0,-1 0-1,0 0 1,0 0 0,1-14-16,-1 1 15,13 0-15,-26 0 0,13-14 16,-13 14-16,14-13 15,-14-1-15,0 14 0,13 0 16,-13-1-16,0 1 0,0 0 0,0 0 31,-13 52-15,13-25-16,13 25 16,-13-12-16,0-14 0,13 0 15,0 14-15,-13-14 0,27 13 16,-14-26-16,0 0 0,0 14 15,1-14-15,12 0 16</inkml:trace>
  <inkml:trace contextRef="#ctx0" brushRef="#br0" timeOffset="33637.89">5384 1667 0,'0'-13'16,"0"52"15,0-25-31,27 38 16,-27-25-16,13-1 0,0 14 15,0 0-15,1-14 16,-1 1-16,-13-14 16,0 0-16,13 0 0</inkml:trace>
  <inkml:trace contextRef="#ctx0" brushRef="#br0" timeOffset="33961.94">5318 1680 0,'13'-40'0,"1"27"0,-1 0 16,0 13-16,0 0 0,1 0 15,-1 0-15,0 13 16,0-13-16,0 13 0,1 1 16,-14-1-16,13 0 0,-13 0 15,0 14-15,0-14 16,0 13-16,0 1 16,-13-14-16,13 0 15,-14-13-15,14 14 0</inkml:trace>
  <inkml:trace contextRef="#ctx0" brushRef="#br0" timeOffset="34261.19">5569 1720 0,'14'92'16,"-1"-65"-16,-13-14 16,0 0-1,0 1-15,0-54 32,0 27-17,0-1-15,0 1 0,13-13 16,-13-1-16,0 1 15,13 13-15,-13-1 16,14 14 0</inkml:trace>
  <inkml:trace contextRef="#ctx0" brushRef="#br0" timeOffset="35021.65">5741 1773 0,'-13'-53'0,"13"40"15,0-1 1,0 1-16,0 0 16,0 0 15,27 26 16,-14-26-32,40-27 1,-40 27-16,0 0 16,14-27-1,-27 27-15,0-1 16,-13 28 15,-1-1-31,14 0 16,0 0-16,0 1 15,0 12 1,14-26-16,-1 26 16,0-26-1,0-13 1,0 0-16,1 0 15,-14 0-15,0-1 16,0 1-16,0 0 0,0 0 0,0-67 16,-14 41-1,14 25-15,0 1 16,0 0-16,0 0 0,-13-1 16,13 1-16,-13 26 31,13 1-31,0-1 0,0 0 15,0 0-15,0 1 0,0-1 16,13 13-16,-13-13 16,13 1-16,1 12 15,-1-26-15,0 0 16,0 0-16,1-13 16,-1 13-16,0 0 15,0 0-15,0 0 16,1 13-1,-1-13-15,0 13 0,0 1 16,1-1 0</inkml:trace>
  <inkml:trace contextRef="#ctx0" brushRef="#br0" timeOffset="35141.54">6085 1455 0,'-13'0'15</inkml:trace>
  <inkml:trace contextRef="#ctx0" brushRef="#br0" timeOffset="35727.67">6204 1376 0,'0'26'16,"-13"-12"0,26 25-1,1-26 1,25 1-1,-25-28 1,-1 14-16,0-13 0,-13 0 0,13 13 16,1-26-1,-1-27 1,0 26-16,-13 14 0,0-14 0,0 14 16,0 0-16,0-13 0,0 12 15,0 1-15,13 0 16,-13 53 15,0-27-31,13 0 0,-13 0 0,14 14 16,-14-14-16,13 0 15,-13 14-15,13-14 16,-13 13-16,13-12 16,-13-1-16,14-13 15,-14 13-15,0-39 78,13 26-62,0-14 0,0 14-16,1-13 15,-1 13 1,0-13-16</inkml:trace>
  <inkml:trace contextRef="#ctx0" brushRef="#br0" timeOffset="36143.98">6628 1283 0,'-13'-13'16,"-1"13"0,1 0 109,13 13-125,-13-13 15,13 13-15,-13 1 16,13-1-16,-14 27 16,14-14-1,14-13 1,-14 1-16,26-1 31,-13-13-15,1 0-1</inkml:trace>
  <inkml:trace contextRef="#ctx0" brushRef="#br0" timeOffset="36549.19">6747 1336 0,'-13'13'15,"13"1"-15,-14 12 32,28-26-32,-14 13 15,26-52 16,-13 39-31,-13-14 0,14-12 16,-14 13-16,0-1 0,0-12 16,13-14-16,-13 27 15,0 0-15,0 0 0,13-1 0,-13 1 16,0 0-16,0 0 16,0 39-1,0-13 1,0 1-16,0-1 0,13 0 15,-13 0-15,0 1 0,0-1 0,0 0 16,13 0-16,-13 27 16,0-27-1,0 0-15,0 1 16</inkml:trace>
  <inkml:trace contextRef="#ctx0" brushRef="#br0" timeOffset="36880.62">6337 1310 0,'53'-27'0,"-40"14"0,0 13 16,0-13-16,1 13 16,-1-13-16</inkml:trace>
  <inkml:trace contextRef="#ctx0" brushRef="#br0" timeOffset="40407.85">7131 3135 0</inkml:trace>
  <inkml:trace contextRef="#ctx0" brushRef="#br0" timeOffset="41573.78">12885 2619 0,'40'0'15,"-14"-13"1,14 13-16,-13 0 16,-1-13-16,-13 13 0,40 0 15,-13-13-15,-14 13 16,-13 0-16,1 0 0,12 0 16,-13 0-16,1 0 15</inkml:trace>
  <inkml:trace contextRef="#ctx0" brushRef="#br0" timeOffset="41837.51">12951 2725 0,'27'0'0,"13"0"15,-27 0-15,13 0 16,-13-13-16,27 13 0,0 0 16,-27 0-16,0-13 0,0 13 15,1 0-15,-1 0 0,13 0 16,-12 0-16,-1 0 16,0 0-16</inkml:trace>
  <inkml:trace contextRef="#ctx0" brushRef="#br0" timeOffset="108621.42">6125 7183 0,'-13'14'15,"53"-14"48,-1 0-63,27 26 15,146-13 1,-66-13-16,237 0 16,-145 0-1,-26 0-15,53 0 16,-54 0-16,-52 0 16,0 0-1,-40 0-15,-40 0 0,-26 0 16,-40 0-16,1 0 15,-14-13 189,0-13-126</inkml:trace>
  <inkml:trace contextRef="#ctx0" brushRef="#br0" timeOffset="110865.41">5927 6562 0,'0'-27'15,"-14"27"-15,14-13 0,0 39 31,14 1-15,-1 92 0,-13-53-16,0 0 0,13 0 15,-13 1-15,0-1 0,0 0 0,0 0 16,0 106-16,0-132 16,0-1-16,0 1 0,0-14 15,0 1-15,0-14 0,0 14 0,0-1 16,0-13-1</inkml:trace>
  <inkml:trace contextRef="#ctx0" brushRef="#br0" timeOffset="111859.4">5861 6588 0,'0'-13'0,"13"0"16,13-1-16,-13 14 0,1 0 15,12-13-15,14 13 0,-1-13 0,54 0 16,-40 13-16,53-13 16,-27 13-16,-13-14 0,80 14 15,-1-13-15,-52 0 16,-14 0-16,14 13 0,-14-14 16,14 14-16,-14-13 0,1 13 15,-14-13-15,79 0 0,-78 13 16,-1-14-16,-13 14 0,-14-13 0,14 13 15,-13 0-15,0 0 0,13-13 16,-14 13-16,1 0 16,-27 0-16,14 0 15,-14-13-15,13 13 16,-13 0 0,1 0-1,-14 13 48,0 0-32,0 14-15,0-14-1,13 0-15,-13 0 0,0 14 16,0-14-16,0 0 0,13 27 15,-13-27-15,13 14 16,-13-14-16,0 13 0,14 27 16,-1-13-16,0 26 15,0-39-15,-13-1 0,14 0 16,-14 1-16,13 13 16,0 13-16,0-27 0,0-13 15,1 27-15,-14-27 16,13 0-16,-13 14 0,13-14 0,-13 0 15,0 1-15,13-1 16,-13 0 0,14 0-16,-14 0 15,0 1 17,-14-14-17,14 13 1,-39-13-1,25 0-15,1 13 16,-13-13-16,-67 13 16,40-13-16,0 14 0,-13-14 15,-79 26-15,79-13 0,-173 27 16,147-27-16,12 0 16,1 14-16,-80-1 15,80 1-15,0-14 0,12 0 0,-52 27 16,27-14-16,52-12 15,0-1-15,14-13 16</inkml:trace>
  <inkml:trace contextRef="#ctx0" brushRef="#br0" timeOffset="113019.61">20360 6204 0,'13'27'32,"0"13"-32,-13-27 15,0 13-15,0-12 0,0-1 0,0 13 16,0 14-1,0-27-15,0 14 0,0-14 16,0 0-16,0 0 16,13-13-16,-13 14 15</inkml:trace>
  <inkml:trace contextRef="#ctx0" brushRef="#br0" timeOffset="113366.41">20624 6257 0,'-13'-13'15,"0"26"-15,0 1 16,13-1-16,13 53 16,-13-53-16,13 0 15,0-13-15,1 14 0,12-1 16,-13-13-16,14 0 15,-14 0-15,0 0 16,0 0-16,1-27 16,-14 14-16,0-13 15,0 13-15,-14-1 0,14 1 16,-13-13-16,-13-1 16,-1 14-16,14 13 15,0 0 1,0 13-16,-1-13 15</inkml:trace>
  <inkml:trace contextRef="#ctx0" brushRef="#br0" timeOffset="113681.21">20836 6191 0,'13'40'16,"-13"-14"-1,0 1-15,0-1 16,0-12-16,13-1 16,14 26-1,26-25-15,-14-14 16,-25-14 0,25 1-16,-12-13 15,-27 13-15,-13-27 16,13 27-1,-40-27-15,27 27 16,-27-1 0,27 1-16,0 13 0,-27 13 15,40 1 1,-13-14-16,-1 13 16</inkml:trace>
  <inkml:trace contextRef="#ctx0" brushRef="#br0" timeOffset="114213.28">21339 6165 0,'-40'13'16,"13"0"0,14 14-16,0 12 15,13-12 1,13-14 0,0 0-16,1-13 0,12 14 15,-13-14-15,40-14 16,-39-12-1,-1-1 1,-13 1-16,-13-14 16,-1 14-16,1-1 15,0 27-15,0-26 16,-14 13 0,14 13-16,0 13 15</inkml:trace>
  <inkml:trace contextRef="#ctx0" brushRef="#br0" timeOffset="114501.46">21788 6165 0,'-13'0'16,"106"-13"0,-80 13-16,40-14 15,-27 14-15,-12-13 16,12 13-16,-13 0 0,14-13 15,-14 13-15,0 0 16,-13-13-16</inkml:trace>
  <inkml:trace contextRef="#ctx0" brushRef="#br0" timeOffset="114748.3">22013 5993 0,'80'13'15,"-54"13"-15,1-12 0,-1 12 16,-13-13-16,14 14 16,-14-1-16,-13-12 15,-13 38-15,13-38 16,-27 12-16,-12 14 15,39-27 1,-14-13-16,1 13 0</inkml:trace>
  <inkml:trace contextRef="#ctx0" brushRef="#br0" timeOffset="115526.14">22807 5887 0,'0'26'16,"0"1"-16,0-1 15,0 1-15,0-14 0,0 13 0,0 14 16,0-27-1,0 1-15,0-1 0,0 0 0,0 0 16,13-13-16,-13 14 16,14-14-1</inkml:trace>
  <inkml:trace contextRef="#ctx0" brushRef="#br0" timeOffset="115884.41">23072 5913 0,'-14'0'0,"-12"14"16,13 12 0,0-13-16,13 1 0,0-1 15,-14 0-15,14 0 0,14 14 16,-14-14-1,13 0-15,0 0 0,13 1 16,-12-14-16,12 0 16,1 0-16,-14 0 0,-13-14 15,26-12 1,-12 13-16,-14-1 0,-14-12 16,14 13-16,-13-14 15,0 14-15,13 0 16,-13 13-16,-1-13 0,-12 13 15,13 0 1</inkml:trace>
  <inkml:trace contextRef="#ctx0" brushRef="#br0" timeOffset="116247.32">23323 5847 0,'53'-13'16,"-13"13"-16,-27 0 15,0 13 1,0-13-16,-13 14 0,14-1 16,-1 13-16,-13-13 15,13 27 1,-13-13-16,13-14 16,-13 0-16,0 13 0,0-12 15,0-1-15,13 0 16,-13 0-16,0 1 15,14-14-15</inkml:trace>
  <inkml:trace contextRef="#ctx0" brushRef="#br0" timeOffset="116423.45">23389 6046 0,'27'-14'16,"-14"14"-16,27-13 16,-14 13-1,-13 0-15,0-13 16,1 13-16,-1 0 16</inkml:trace>
  <inkml:trace contextRef="#ctx0" brushRef="#br0" timeOffset="117120.55">22450 5027 0,'0'0'0,"26"27"32,-12-14-32,-1 0 0,0 0 15,13-13 1,1 13-16,-14-13 0,40-13 16,-40 0-1,1 13-15,-1-13 0,0 13 0,0-13 0,0-1 16,1-12-16,-1 13 15,0-14 1,-13 14-16,-13 39 31,-14 1-15,27-1-16,-13-12 0,0 12 16,-13 27-16,-14 26 15,13-39 1,27-27-16,0 0 15,14 1 1,-1-14 0</inkml:trace>
  <inkml:trace contextRef="#ctx0" brushRef="#br0" timeOffset="117457.75">22847 5265 0,'39'-39'31,"-25"-1"-15,-14 27-16,0-1 15,0-12 1,-14 13-1,-12 26-15,13 0 16,-14 14 0,27-14-16,0 0 15,0 0 1,0 1-16,14-14 0,12 0 16,27 0-1,13-14-15</inkml:trace>
  <inkml:trace contextRef="#ctx0" brushRef="#br0" timeOffset="117703.42">23164 5093 0,'-39'-13'16,"25"13"0,1 0-1,13 13-15,13 14 16,-13-14-16,27 13 15,-27-12-15,26 12 16,-26 1-16,0-14 16,0 0-16,-13 0 15,0 0 1,0-13-16,52-185 0,-92 384 16,40-199-16,0 0 15,0 0-15,-1 13 16</inkml:trace>
  <inkml:trace contextRef="#ctx0" brushRef="#br0" timeOffset="124277.53">22807 5675 0,'-66'-13'16,"53"26"-16,-1-13 0,1 14 0,0-14 16,-13 13-16,12 0 0,-12 13 15,-27 14-15,26 0 0,14-14 16,-13 1-16,13 12 0,-1-12 15,-12 52-15,26-39 0,-13 0 16,13-14-16,0 14 0,0-14 16,0 14-16,13 0 0,0-1 0,14-12 15,-1 26-15,0-27 0,1 14 0,13 0 16,39 26-16,14-13 16,-40-27-16,66 14 15,-66-27-15,13 0 0,40 0 16,-54-13-16,1 0 0,0 0 15,66-13-15,-26 0 16,-40 0-16,-13 0 0,12-1 16,15-25-16,-1-1 15,0 0-15,-53 14 16,14-1-16,-1 1 0,-13-1 16,14-26-16,-27 27 0,13 0 0,-13-1 15,0-26-15,0 27 0,-13-1 16,13 1-16,-14-14 15,1 14-15,0-1 0,-13-13 0,12 14 16,-12 0-16,-14-27 0,0 26 16,14 1-16,0-1 0,-1 1 0,-39-27 15,40 26-15,-14 14 16,0-13-16,14 13 0,-80-27 16,66 27-16,0 13 15,-118-27 1,118 14-16,14 13 15,-41 0-15,54 0 0,-13 13 16,-1-13-16,-12 13 16,12 14-16,14-14 0,0 0 15,-1 1-15,14-1 0</inkml:trace>
  <inkml:trace contextRef="#ctx0" brushRef="#br0" timeOffset="124820.28">23111 6892 0,'0'-26'15,"0"52"16,0-12-31,0 12 0,0-13 0,0 14 0,0-1 16,0 14-16,0-14 16,0-12-16,0 12 0,0 1 15,0-14-15,0 0 0,0 13 0,0-12 16,14 12-16,-28-13 0,14 1 16,0-1-16,0 0 15</inkml:trace>
  <inkml:trace contextRef="#ctx0" brushRef="#br0" timeOffset="125177.36">23006 7170 0,'0'-26'15,"-14"52"1,14-13-16,0 1 0,0 25 16,0-12-16,0-14 0,14 13 15,-14 1-15,13 13 16,0-14-16,0-13 0,0 1 16,1-1-16,-14 0 0,13-13 15,0 0-15,0 0 0,27 0 16,-27-13-16,1 0 15,-1-1-15,13 1 0,-13 0 16,1 0-16,12-14 16,-26 14-16,27-14 0,-14 14 15,-13 0-15,13 13 16</inkml:trace>
  <inkml:trace contextRef="#ctx0" brushRef="#br0" timeOffset="125916.49">22675 7779 0,'-13'66'15,"13"-53"-15,-14 40 16,14-26-16,-13-14 0,13 0 15,0 13-15,13-12 0,-13-1 16,14 0-16,-1 0 16,0-13-16,0 0 15,0-13-15,1 13 0,12-13 16,-13 0-16,1 13 16,-1 0-16,-13-14 15,13 14-15,0 14 16,1-1-16,-14 0 15,0 0 1,13 1-16,-13-1 16,0 0-16,13-13 15,-13 13-15,13-13 16</inkml:trace>
  <inkml:trace contextRef="#ctx0" brushRef="#br0" timeOffset="126144.38">22992 7977 0,'14'13'16,"-1"14"-1,0-14 1,-13 0 0</inkml:trace>
  <inkml:trace contextRef="#ctx0" brushRef="#br0" timeOffset="126573.23">22900 7871 0,'0'-13'16</inkml:trace>
  <inkml:trace contextRef="#ctx0" brushRef="#br0" timeOffset="126864.23">23045 7779 0,'0'53'31,"0"-40"-31,0 0 0,0 27 16,0-27-16,0 0 16,0 1-16,0 12 0,0 14 15,0-27-15,-13-13 16,13 13-16,0 0 0,0 1 15,-13-14-15,13 13 16</inkml:trace>
  <inkml:trace contextRef="#ctx0" brushRef="#br0" timeOffset="127169.72">23257 7885 0,'-13'-14'16,"-1"14"-16,1 14 16,0-14-16,0 13 15,0-13-15,-1 13 0,1 0 16,0-13-16,0 14 0,13-1 0,-14-13 16,14 13-16,-13-13 15,13 13-15,0 0 0,0 1 16,0-1-16,13-13 15,1 13 1,12-13 0,-13 0-16,1 0 15,-1 0-15,0-13 0,0 13 16,27 0-16</inkml:trace>
  <inkml:trace contextRef="#ctx0" brushRef="#br0" timeOffset="128029.58">23336 8043 0,'27'-13'31,"-14"13"-31,-13-13 16,13 0-16,0 13 0,-13-14 15,14 14-15,-14-13 16,13 0 0,-40 26 15,27 0-15,-13-13-16,13 14 0,0-1 15,0 0 1,13-13-16,1 13 15,12-13 1,-13-13-16,1 13 0,-1 0 0,-13-13 16,13 13-16,0-13 0,14-1 15,-1-25-15,-13 26 16,1-14-16,-1 14 0,-13 0 0,13-14 16,-13 14-16,0 0 0,13-14 15,-13 14-15,0 0 16,-13 0-1,0 26 1,13 0-16,-13-13 16,13 13-16,-14 0 0,14 1 0,0-1 15,0 0-15,0 0 0,0 1 16,0-1-16,14 0 16,-14 0-1,13-13-15,0 14 16,0-14-16,1 0 15,-1 0 1,13 0 0,-13 0-16,1 0 15,-1 0 1,0 0-16,0 0 16,1 0-1,-1 0 1,0 13-16,-13 0 0,13-13 15,-13 13-15,0 0 0,0 1 16,0-1-16,0 0 0,0 0 16,0 1-16,-26 12 0,26-13 15,-13 0-15,-1-13 0,14 14 16,-13-14-16,13 13 0,-13-13 16,0-13-1,26-14 1,0 14-16,-13 0 15,13 13-15,-13-13 0,27-1 16,-14 1-16,0 13 0,0-13 0,1 0 16,-1 13-16,27 0 15,-27-14-15,0 14 0,14 0 16</inkml:trace>
  <inkml:trace contextRef="#ctx0" brushRef="#br0" timeOffset="128575.44">24223 7699 0,'-14'40'31,"14"-13"-15,0-14-16,-13 0 0,13 0 15,0 0-15,0 14 0,0-14 16,0 0-16,-13 14 16,13-1-16,0-12 15</inkml:trace>
  <inkml:trace contextRef="#ctx0" brushRef="#br0" timeOffset="128982.18">24156 7898 0,'14'-13'16,"-14"-1"-16,13 14 0,0 0 15,0-13-15,1 13 0,-1 0 16,0-13-16,0 13 0,1 0 16,-1 0-16,0-13 0,0 13 15,0 0-15,1 0 0,-1 0 0,0 0 16,0 13 0,1 0-1,-14 0-15,13-13 16,-13 14-16,13-1 0,0-13 15,-13 13-15,14-13 16,-1 0-16,0 0 16,0-13-16,-13 0 15,0-14 1,0 14 0,-13 0-16,0 13 15,13-14-15,-27 28 31,14-14-31,0 13 0,0-13 0,13 13 0</inkml:trace>
  <inkml:trace contextRef="#ctx0" brushRef="#br0" timeOffset="129925.4">23125 8427 0,'0'40'16,"0"-27"-16,0 0 0,0 14 0,0-1 16,13 0-16,-13-12 0,0 12 15,0 14-15,0-27 0,0 40 31,0-40-31,0 0 16,13-39 15,0 0-15,1 12-16,-1 1 0,0 0 16,0 13-16,0-13 0,27-1 15,-27 14-15,1 14 16,-1-14-16,-13 13 15,13 0 1,-13 0-16,-13 1 0,13-1 16,-13-13-16,-1 13 0,14 0 15,-13 0-15,0 1 0,0-14 0,-1 13 16,1 0-16,0 0 16,26-13 15,0 0-31,1 0 0,-1 0 0,13-13 15,-12 13-15,-1-13 16,0 13-16,13-13 0,-12-1 0,-1 1 16,0 13-16,0-13 0,-13 0 0,14 0 15,-1-1-15,-13 1 16,-13 26 31,-1 1-32,14-1-15,14 0 0,-14 0 16,13 0-16,13 1 31,-12-14-31,-1 0 0,13-14 0,14 14 16,-27 0 0</inkml:trace>
  <inkml:trace contextRef="#ctx0" brushRef="#br0" timeOffset="131131.44">23826 8599 0,'-40'-13'0,"27"26"16,-14 0-1,14 0-15,-13 14 16,12-14 0,14 0-1,0 1 1,40-28-1,-27 14-15,1-13 0,12 0 32,-13 13-32,-13-13 15,13 26 1,-13 0 0,0 0-1,0 1-15,14-14 0,-1 0 16,13 0-1,-12 0 1,-1-14-16,0 1 0,0 0 0,1 0 16,-14-14-16,13 14 0,0-14 15,-13-12-15,13 12 0,0 1 0,-13-1 16,0 1-16,14 13 0,-14 0 16,0-1-16,0 1 0,0 0 15,0 0-15,13 13 0,-13-14 16,-27 41-1,27-14 1,0 0-16,-13 1 0,13-1 16,-13 26-16,13-25 0,0-1 0,0 0 15,0 14-15,0-14 0,0 0 16,0 0-16,0 14 0,13-14 16,-13 0-16,13-13 0,1 13 15,-14 1-15,13-14 0,0 13 0,14 0 16,-14-13-1,0 0-15,14-13 0,-14 13 16,0 0-16,0-13 0,0-1 16,1 14-16,-14-13 0,13 0 15,0 0-15,-13-1 16,0 1 0,0 0-16,-13 13 15,13-13 1,-13 13-1,-1 13 1,1 13 0,13-12-1,0-1-15,0 0 16,0 0 0,0 1-16,0-1 0,13 0 15,1-13 1,-1-13-1,0 13 1,14-27 0,-14 27-1,-13-13-15,13 13 16,-13-13 0,13 13-16,14 0 15,-14 13 1,0-13-16,0 13 15,1 1-15,-1 12 16,-13-13 0,13-13-1,0-13 17,1 0-32,-14 0 31,13-1-31,-13 1 15,13 13-15,0 0 16,1 0 0,-1 0-16</inkml:trace>
  <inkml:trace contextRef="#ctx0" brushRef="#br0" timeOffset="131632.54">24553 8559 0,'-13'0'16,"0"0"-16,0 0 15,13 13 1,-14 1 0,28-1-1,-14 0-15,0 0 16,0 1-16,0-1 0,13-13 0,-13 13 15,0 0-15,0 1 0,0-1 16,-13 0-16,13 0 0,0 0 16,-14-13-16,14 14 0,-13-1 15,13 0 1,13-26 15,1 0-31,-1-1 16,0 1-16,0 13 0,1-13 15,-1 0-15,0 0 0,0-1 0,0 14 16,1-13-16,-1 13 0,-13-13 0,26 0 31,-12 13-31,-1 13 32,-26 13-17,13-12-15,0-1 16,-14 0-16,14 0 15</inkml:trace>
  <inkml:trace contextRef="#ctx0" brushRef="#br0" timeOffset="131755.73">24725 8480 0,'-13'-13'16</inkml:trace>
  <inkml:trace contextRef="#ctx0" brushRef="#br0" timeOffset="131996.51">24791 8572 0,'-13'14'0,"26"-28"0,-26 41 16,13-14-16,-13-13 0,13 13 0,0 1 15,0-1-15,13 0 16,0-13 0,-13 13-16,14-13 0,-1 0 15,0 0-15,0 0 16,1 0-16,-1 0 15,0 0-15,0-13 16</inkml:trace>
  <inkml:trace contextRef="#ctx0" brushRef="#br0" timeOffset="133267.16">22767 5622 0,'-13'0'0,"40"0"62,-14 0-62,0-13 0,0 13 16,14 0-16,-14-13 16,0 13-16,0 0 0,1 0 0,-1 0 15</inkml:trace>
  <inkml:trace contextRef="#ctx0" brushRef="#br0" timeOffset="134015.51">22794 5649 0,'40'0'0,"-27"0"16,0 0-16,27-13 16,-27 13-16,0 0 15</inkml:trace>
  <inkml:trace contextRef="#ctx0" brushRef="#br0" timeOffset="136091.75">22648 7633 0,'-53'0'0,"40"0"0,-13 0 15,12 13-15,-12 1 16,13-14 0,0 13-16,-1 0 0,1-13 15,13 13-15,-13 14 16,0-14-16,13 14 16,-14-1-16,14-13 0,0 80 15,-13-1 1,13-52-16,-13 0 0,0 145 15,0-132 1,13 13-16,-14-13 0,14 0 16,0 0-16,-13 0 0,13-14 0,0 14 0,0-13 15,0 13-15,0-13 0,0-1 16,0-12-16,13-1 0,-13 1 0,0-1 16,0-13-16,14 1 0,-14-1 0,13 0 15,-13 0-15,39-13 16,-12 0-16,-14-13 15</inkml:trace>
  <inkml:trace contextRef="#ctx0" brushRef="#br0" timeOffset="137165.41">24553 7527 0,'93'0'0,"-80"0"16,27 14-1,-14-14-15,-12 0 16,-1 13 0,0 0-16,-13 0 15,13 14 1,-13-14-16,0 0 0,0 40 15,0-40-15,0 14 16,0 26 0,0-27-16,0 1 0,0-14 0,13 13 15,-13 1-15,14 39 16,-14-40-16,13-12 0,0 12 16,-13 1-16,13-14 15,-13 0-15,0 13 0,14-12 0,-14 12 0,13 27 16,0-40-1,-13 1-15,0 12 0,0-13 0,13 0 16,-13 27-16,0-27 16,14 1-16,-14-1 0,13 27 15,-13-27-15,0 0 16,0 0-16,13 0 0,-13 1 0,0-1 16,0 0-1,0 0-15,13 1 0,-13-1 0,0 0 16,0 0-16,0 0 0,13 1 15,-13-1 1,0 13-16,14-12 16,-14-1-16,0 0 0,13-13 0,-13 13 15,13 14 1,-13-14-16,13-13 0,1 26 16,-14-12-16,13-1 15,-13 0 1,0 0-16,-13 1 15,-1-1-15,-12 0 0,-133 66 32,-13 1-32,-39-1 15,131-52 1,-65 26-16</inkml:trace>
  <inkml:trace contextRef="#ctx0" brushRef="#br0" timeOffset="141252.7">11417 7858 0,'-106'27'0,"93"-14"0,-1 13 15,1-12-15,0 12 0,0 0 0,-14 80 16,14-66-1,13 79-15,0-79 16,0-1-16,13 1 0,-13 0 0,14-14 16,-1 1-16,26 39 15,-25-53-15,12 13 0,-13 1 0,14-14 16,-1 0-16,1 1 0,-1-14 0,1 13 16,-1-13-16,1 0 15,-1 0-15,1 0 0,-1 0 0,53-27 16,-52 14-16,-1-13 15,1 12-15,-14-12 0,13 0 16,1-41-16,-14 15 16,-13 25-16,0 1 0,0-67 15,-13 53-15,-53-145 16,39 132-16,1 27 16,-1-1-16,14 1 0,-13-1 0,-1 1 15,-26-1-15,40 27 16,-13-13-16,-41 13 15,54 0-15,0 0 0,0 0 16,0 13-16,-1-13 0</inkml:trace>
  <inkml:trace contextRef="#ctx0" brushRef="#br0" timeOffset="142253.46">12211 7871 0,'-67'27'16,"41"-14"-16,13 0 0,-1 1 0,1 12 15,0-13-15,-27 80 16,27-54-16,0-12 0,13 13 15,-13-1-15,13 14 0,0-13 0,0 0 16,13-1-16,13 67 16,27-13-1,-40-54-15,14-12 0,39 39 16,-39-53-16,39 27 16,-40-27-16,1-13 15,-1 13-15,0-13 0,1 14 0,-1-14 16,1 0-16,-14 0 0,27-14 0,-14 14 15,1 0-15,-14-13 0,13 0 16,1 13-16,-1-13 0,27-27 16,-26 27-16,-14 0 0,0-1 15,14 1-15,-14 0 0,0-14 16,0 14-16,14-27 0,-1-12 16,-13 25-16,-13 14 15,27-40 1,-27 27-16,0 12 0,0-12 15,0 13-15,0-14 0,-27-39 16,27 26-16,-26 14 0,-27-93 16,40 92-16,-14-12 15,1 12-15,13 1 0,-14-1 0,14 14 16,0 0-16,0-14 0,-14 14 16,-26-13-16,40 12 15,-14 1-15,14 13 0,-13-13 0,13 0 16,-14 13-16,14 0 0,-14 0 15,14 0-15,-27 0 16,14 0-16,0 13 0,-1-13 0,1 13 16</inkml:trace>
  <inkml:trace contextRef="#ctx0" brushRef="#br0" timeOffset="143573.37">14724 8599 0,'27'0'16,"12"0"-16,-12 0 16,-14 0-16,27 0 0,-14 0 0,0 0 15,1 0-15,13 0 0,-14 0 0,1 0 16,-1 0-16,14 0 16,13 0-1,-40 0-15</inkml:trace>
  <inkml:trace contextRef="#ctx0" brushRef="#br0" timeOffset="143811.39">14671 8744 0,'27'0'15,"-1"0"1,-13 0-16,40 0 15,-26 0-15,12 0 0,-12 0 0,12 0 16,14 0-16,14-13 16,38 13-16,-78 0 15,-1 0-15,1 0 0,26 0 16,-40 0-16,0 0 16,0 0-16,1 0 0</inkml:trace>
  <inkml:trace contextRef="#ctx0" brushRef="#br0" timeOffset="155044.15">12211 4339 0,'-93'-13'0,"14"0"15,52 13-15,-52 13 16,26-13-16,0 13 0,13 0 15,-13 1-15,-105 52 16,118-40-16,-13 1 0,-13 39 16,39-40-16,14 1 0,0 12 15,-14 54 1,27-53-16,14-14 0,-1 14 0,0 0 16,27 39-16,-1-39 15,1-14-15,13 14 0,0-14 0,106 40 16,-93-39-16,0-14 15,40 14-15,-53-27 16,0 0-16,0 0 0,0 0 0,-1-14 16,-12 14-16,53-39 0,-40 25 15,-14 1-15,1-13 0,53-40 16,-67 39-16,1 1 16,-14-1-16,26-39 15,-39 26-15,14 14 0,-14-14 16,-40-79-16,27 93 15,-67-54-15,54 54 16,-14-1-16,1 14 0,-120-13 16,106 26-16,-13 0 15,-14 0-15,27 0 0,-13 13 0,13-13 16,0 0-16,1 0 0</inkml:trace>
  <inkml:trace contextRef="#ctx0" brushRef="#br0" timeOffset="156404.84">12039 9141 0,'158'-92'31,"-65"52"-15,-80 40-16,0-13 0,1 0 15,-1 13 1</inkml:trace>
  <inkml:trace contextRef="#ctx0" brushRef="#br0" timeOffset="156674.93">12184 8890 0,'40'0'16,"-14"13"-1,-13-13-15,1 13 0,12 14 16,-26-14-16,13 0 0,1 1 0,-14 25 16,0-25-1,0 12-15,-14-13 16,14 0-16,-13 1 0,13-1 0,-13 0 16</inkml:trace>
  <inkml:trace contextRef="#ctx0" brushRef="#br0" timeOffset="157675.24">11443 7818 0,'-53'27'0,"27"-1"0,-14 1 0,14-14 16</inkml:trace>
  <inkml:trace contextRef="#ctx0" brushRef="#br0" timeOffset="160563.29">10504 8480 0,'26'0'0,"14"0"15,-13-13-15,25 13 16,-25-14-16,118 1 16,-118 0-16,13 13 15,-14-13-15,-13 13 0,27 0 16,-14-13-16,-12 13 0,25-14 16</inkml:trace>
  <inkml:trace contextRef="#ctx0" brushRef="#br0" timeOffset="160832.54">10769 8308 0,'39'13'0,"-26"-13"0,14 27 15,-1-14 1,-12 27 0,-14-27-16,0 0 0,-14 0 15,-65 93 1</inkml:trace>
  <inkml:trace contextRef="#ctx0" brushRef="#br0" timeOffset="166856.06">17899 8401 0,'13'39'0,"-13"-26"15,0 1-15,0-1 0,0 0 0,0 0 0,14 14 16,-14-1 0,0-13-16,0 1 0,0-1 0,0 0 15,0 0-15,0 1 0,0-1 0,0 0 16,-14-13-16,28 13 15,-14 1-15</inkml:trace>
  <inkml:trace contextRef="#ctx0" brushRef="#br0" timeOffset="167200.68">18150 8506 0,'-26'27'31,"26"-14"-31,0 0 16,0 0-16,0 1 0,0-1 15,0 0-15,13-13 0,0 13 16,-13 1-16,14-14 0,-1 13 16,13-13-16,-12 0 0,-1 0 0,0 0 0,0 0 15,0 0-15,1-13 16,-1 13-16,0-14 0,0 1 0,-13 0 15,0 0-15,-13-1 16,13 1-16,-13 0 0,0 0 16,-1 13-16,-25-27 15,26 14-15,-1 13 0,14-13 0,-13 13 16,0 0-16,0 0 0,-1 0 31</inkml:trace>
  <inkml:trace contextRef="#ctx0" brushRef="#br0" timeOffset="167496.01">18402 8414 0,'39'-27'0,"-25"27"16,-1 0-16,0 0 0,27 14 15,-27-14-15,0 0 16,1 13-16,-1 0 0,0-13 16,0 13-16,0 0 0,-13 1 0,14-1 0,-14 0 15,0 14-15,13-14 0,-13 0 16,0 0-16,0 14 0,0-14 16,0 13-16,0-12 0,0-1 15,13 0-15,-13 0 16,0 1-16,13-1 15</inkml:trace>
  <inkml:trace contextRef="#ctx0" brushRef="#br0" timeOffset="167704.37">18468 8586 0,'13'-14'15,"0"14"1,14 0-16,-14 0 0,27 0 16,-1 0-1,-12 0-15,-14 0 0,14-13 0,-14 13 16,0 0-16,13 0 0,1 0 16,-14 0-16,0 0 15,1-13-15,-1 13 16</inkml:trace>
  <inkml:trace contextRef="#ctx0" brushRef="#br0" timeOffset="168631.17">17529 8281 0,'-14'0'0,"41"0"15,-1 0 1,-12 0-16,91-13 16,-52 13-16,0 0 15,0 0-15,27 0 0,78 0 16,-78-13-16,-1 13 0,-13 0 0,14 0 15,-28 0-15,15 0 0,-14-13 0,-1 13 16,1 0-16,0 0 0,0 0 16,-13 0-16,-14 0 0,1 0 15,12 0-15,-12 0 0,-14 0 0,14 0 16,-14 0-16,13 0 0,-12 0 16,-1 0-16,0 0 0,0 0 0,0 0 15,1 0-15,-1 0 16,0 0-1,0 0 1,1 0-16,-1 0 16</inkml:trace>
  <inkml:trace contextRef="#ctx0" brushRef="#br0" timeOffset="170901.12">18283 7779 0,'-14'-13'16,"1"-1"-16,-13 14 15,-14 14 1,27-14-16,0 0 0,-1 0 16,14 13-16,-26 0 15,13-13-15,13 13 0,0 0 16,0 1 0,13-1-16,27 27 15,-27-27-15,0 0 0,14 0 0,-14 1 16,13-1-16,-13 0 15,1 0-15,-1 0 0,0 1 0,-13-1 16,0 0-16,0 0 0,0 1 16,-13-14-16,0 13 0,-1 0 0,1-13 15,-26 13-15,25-13 16,1 13-16,0-13 0,0-13 16,-1 13-16,1 0 0,0-13 0,13 0 31,13 0-31,0-1 15,14-12-15,-14 13 0,14 13 16,-14-14-16,13 1 0,27-26 16,-40 25-16,1 1 0,-1 0 15,0 0-15,0-1 0,-13 1 0,14 0 16,-14 0-16,0-1 0,0 1 16,0 0-16,-14 0 0,14 0 0,-13-1 15,0 1-15,0 0 0,-1 0 16,1-1-16,0 1 0,0 13 0,-1-13 15,1 13-15,0-13 0,0 13 16,0 0-16,-1 0 16,1 13-16,26 0 15,-13 0-15</inkml:trace>
  <inkml:trace contextRef="#ctx0" brushRef="#br0" timeOffset="171475.24">19381 8109 0,'26'-13'0,"-13"13"16,27 0 0,-27 0-16,1 0 0,-1 0 15,0 0-15,40 0 16,-40 0-16,14 0 15</inkml:trace>
  <inkml:trace contextRef="#ctx0" brushRef="#br0" timeOffset="171648.47">19460 8242 0,'0'0'0,"27"0"31,-14 0-16,26-13 1,-12 13-16,13 0 16,-14-14-16,14 14 0,-14 0 0,1-13 15,-1 13-15</inkml:trace>
  <inkml:trace contextRef="#ctx0" brushRef="#br0" timeOffset="172120.06">20241 8004 0,'13'-14'15,"0"14"-15,0-13 0,14 13 16,-14 0-1,40 0-15,-40 0 16,0 0-16,14 27 16,-14-27-16,-13 13 0,13 0 15,-13 0-15,0 1 16,0-1-16,0 0 0,0 0 0,0 0 16,0 1-16,0-1 0,0 0 15,0 0-15,0 1 0,0-1 0,0 0 16,14 0-16,-14 1 0,0-1 15,0 0 1,13 0-16</inkml:trace>
  <inkml:trace contextRef="#ctx0" brushRef="#br0" timeOffset="172328.37">20214 8189 0,'27'0'16,"-14"0"-16,0 0 0,14 0 15,12-13-15,-12 13 16,-1 0-16,14 0 0,-14 0 16,1 0-16,-1 0 0,1-14 0,-1 14 15,1 0-15,-1-13 0,1 13 16</inkml:trace>
  <inkml:trace contextRef="#ctx0" brushRef="#br0" timeOffset="172520.06">20902 8043 0,'-13'27'16,"13"-14"-1,-13 0-15,13 0 0,-14 1 0,14-1 16,-13 0-16,0 14 0,13-14 15,-40 40 1,27-27-16,13-13 0,-13 1 16</inkml:trace>
  <inkml:trace contextRef="#ctx0" brushRef="#br0" timeOffset="172675.2">20638 8083 0,'-14'-13'0,"41"39"32</inkml:trace>
  <inkml:trace contextRef="#ctx0" brushRef="#br0" timeOffset="172844.22">21061 8295 0,'13'0'15,"-13"13"-15,13-26 63,-13-1-48</inkml:trace>
  <inkml:trace contextRef="#ctx0" brushRef="#br0" timeOffset="175929.52">9684 10041 0,'79'0'32,"14"-13"-17,-40 13-15,26 0 16,-26 0-16,53 0 15,0 13-15,-53-13 0,-1 0 16,1 0-16,-13 0 0,39 13 16,-12-13-1,-15 13-15,-25-13 0,-1 0 16,1 0-16,-14 0 0,0 0 16,1 0-16,-1 0 0,0-13 15,0 13-15,0 0 16,1 0-16,-1-13 0,0 13 15,-13-13 1,13-1-16,1 14 0,-14-13 16,13 13-1,0-13-15,0 0 16,1 0 0,-14-1-16,13 1 15,0 13-15,-13-13 16,13 0-16,-13-1 0,0 1 15,13 0-15,-13 0 0,0-14 16,14 14-16,-14 0 16,0-14-16,13 14 0,-13 0 15,0-27-15,13 27 0,-13 0 16,0-14-16,0 14 0,13 0 0,-13-14 16,0 14-16,0 0 0,0 0 15,0-1-15,0 1 0,0 0 0,0 0 16,0-14-16,0 14 0,0 0 15,-13 0-15,13-1 16,-13 1-16,13 0 16,-13 0-16,-1-1 0,1 14 15,0-13-15,0 0 16,0 0-16,-14 0 16,14 13-16,-40-27 15,40 27 1,-14-13-16,14 13 0,-40-13 15,27 13-15,-27-14 0,26 14 16,1-13-16,-14 13 0,14 0 16,-40 0-16,39 0 15,-39-13-15,39 13 0,-52 0 16,53 0-16,-14 0 16,-26 0-16,39 0 0,-12 0 15,-1 13-15,-26-13 0,39 0 16,-26 13-16,27-13 15,-1 0-15,1 0 0,-14 14 16,27-14-16,0 0 0,0 0 16,-1 0-1,1 0-15,0 0 16,0 0-16,0 0 16,-1 0-1,1 0 32,0 13-31,0-13 15,13 13-31,0 0 0,-14 14 16,14-14-16,0 0 0,0 14 15,0-1-15,0 1 0,-13-1 16,13 14-16,0-1 0,0 41 15,-13-1-15,13-52 16,0-1-16,0 14 0,0-14 16,0 1-16,0-1 0,0 14 15,0-14-15,0-12 0,13 12 0,-13-13 16,13 27-16,1-40 16,-1 13-16,0 0 0</inkml:trace>
  <inkml:trace contextRef="#ctx0" brushRef="#br0" timeOffset="176378.46">10107 10372 0,'0'26'0,"0"-13"15,0 1-15,0 12 0,-13 1 16,13-14-16,0 13 0,0 1 15,-13-1-15,13-13 16,13 1-16,-13-1 16</inkml:trace>
  <inkml:trace contextRef="#ctx0" brushRef="#br0" timeOffset="176703.29">10226 10491 0,'-13'39'32,"13"-12"-17,13-14-15,-13 0 0,0 1 16,40 12-16,-14-13 16,1-13-16,-14 0 15,0 0-15,0 0 0,14-13 16,-14 0-16,-13-14 15,0 14-15,-13 0 16,13 0-16,-13-1 0,-1 1 16,1 0-16,0 0 0,-13 0 15,-1-1-15,14 14 16,0 0-16,-1 0 16,1 0-16,0 14 15</inkml:trace>
  <inkml:trace contextRef="#ctx0" brushRef="#br0" timeOffset="176996.35">10530 10345 0,'67'0'15,"-54"0"-15,40 93 16,-53-80-16,13 14 16,-13 12-16,0-26 15,0 1-15,13-1 0,-13 13 16,0-12-16,0-1 15,13 0 1</inkml:trace>
  <inkml:trace contextRef="#ctx0" brushRef="#br0" timeOffset="177211.08">10570 10557 0,'-13'0'15,"39"0"-15,1-13 0,-1 13 0,-13 0 16,14 0-16,13-14 16,13 14-16,-27-13 0,0 13 15,1 0-15,-1-13 0,41 0 16</inkml:trace>
  <inkml:trace contextRef="#ctx0" brushRef="#br0" timeOffset="177999.98">13944 9856 0,'92'-14'31,"27"14"-31,-66 0 0,0 0 16,0 0-16,0 0 0,0 0 0,13 0 16,-13 0-16,0-13 15,0 13-15,0 0 0,-14 0 0,-12 0 16,39 0-16,-26 0 16,-27 0-16,13 0 15,1 0-15,-14 0 0,0 0 16,-53 0 15</inkml:trace>
  <inkml:trace contextRef="#ctx0" brushRef="#br0" timeOffset="182315.27">14592 10239 0,'39'-13'31,"-12"13"-15,-14 0-16,14 0 16,-1 13-16,-13-13 15,1 14-15,-14-1 16,13 27-16,-13-14 15,0-13 1,0 0-16,0 14 16,0-1-16,0 1 15,0-1 1,0-12 0,0-1-16,13 0 15</inkml:trace>
  <inkml:trace contextRef="#ctx0" brushRef="#br0" timeOffset="182881.59">14658 10398 0,'66'0'16,"-53"0"-1,14-13-15,12 13 16,-25 0 0,-1 0-16</inkml:trace>
  <inkml:trace contextRef="#ctx0" brushRef="#br0" timeOffset="183121.67">15002 10398 0,'13'13'31</inkml:trace>
  <inkml:trace contextRef="#ctx0" brushRef="#br0" timeOffset="183597.43">15306 10279 0,'-13'0'16,"13"13"-1,13 1-15,-13-1 16,13 0-16,1 0 15,-14 14-15,0-1 16,-14-13-16,14 1 0,-26 12 16,-14 1-1,27-14 1,-13-13-16,26-13 16,13-1-1,0 1 1,13 0-16,-12 0 0,12-1 15,-13 1-15,1-13 16,-1 12-16,0 1 16,-13-13-16,-13-1 15,0 14 1,-1 0-16,-12 0 16,13 13-1,-27 0-15,27 13 16,0 0-1</inkml:trace>
  <inkml:trace contextRef="#ctx0" brushRef="#br0" timeOffset="184056.4">15002 10398 0,'13'13'0,"14"-13"31,-14 14-31,13-28 16,-13 14-16,14 0 15,-14 0 17,0-13-32</inkml:trace>
  <inkml:trace contextRef="#ctx0" brushRef="#br0" timeOffset="184920.54">15624 10332 0,'0'26'31,"0"-12"-31,0-1 16,0 0-16,-14 14 0,14 12 15,0-25-15,14 25 16,-14 1-16,0 0 16,0-27-16,0 0 0,0 0 15,0 0-15,0 1 16,0-1-16,-14-40 47,28 14-47,-14-26 0,0 12 15,13 1-15,0-14 16,0 0-16,1 14 16,-14 13-16,13-1 0,0 1 15,0 13-15,0 0 16,1 0-16,-14 13 15,0 1-15,0-1 16,-14 0-16,1 14 16,0-14-16,0 0 15,0 0-15,-1 0 0,1 1 16</inkml:trace>
  <inkml:trace contextRef="#ctx0" brushRef="#br0" timeOffset="185340.23">15809 10385 0,'0'26'16,"0"-12"-16,0-1 15,0 0-15,0 14 16,0-14-16,0 0 0,0 13 0,0-12 15,0-1-15,0 13 16,0-12-16,-13-1 0,13 0 16,0 0-16,0 0 15,13-39 1,0 13 0,-13-14-16,13 14 15,-13 0-15,14-14 0,12-12 16,-13 26-16,0-1 15,1 14-15,-1 0 16,-13 14 0,-13 25-1,-1 1 1,1-27-16,-13 14 31,13-27-15</inkml:trace>
  <inkml:trace contextRef="#ctx0" brushRef="#br0" timeOffset="185534.21">16060 10279 0,'13'13'16,"-13"14"-16,-13-1 15,13-13-15,0 1 0,0-1 16,0 0-16,-13 0 0,13 1 16,0 12-16,0 1 15,-13-1-15</inkml:trace>
  <inkml:trace contextRef="#ctx0" brushRef="#br0" timeOffset="187460.09">14936 10702 0,'106'27'16,"-80"-14"-16,14-13 0,13 13 15,-14-13-15,1 14 0,106-1 16,-1 0 0,-79-13-16,-13 13 0,0-13 15,0-13-15,0 13 0,0 0 16,53-13-16,-27 13 0,-39-13 15,-14 13-15,40-14 16,-26 1-16,-27 13 16,0-13-16,1 13 0,-1-13 15,0 13-15,0-14 0,14 1 16,-14 13-16,0-26 16,14 12-16,-27 1 15,13 13-15,-13-13 0,13 0 0,0 0 16,-13-1-16,14 14 0,-14-13 15,13-13-15,-13 12 16,0 1-16,13-13 16,-13-27-1,0 0-15,0 40 16,0-1-16,0 1 0,0 0 16,0 0-16,0-14 0,0 14 15,-13-13 1,0 12-1,13 1-15,-14 13 0,14-13 16,-13 13-16,0 0 0,0 0 16,-1 0-16,1-13 0,-13 13 15,-1 0-15,14 0 0,-27-14 16,27 14-16,-13-13 0,-1 13 16,14 0-16,-13-13 0,12 13 15,-39-13-15,27 13 0,0-13 16,-1 13-16,1-14 0,-1 14 15,-26-13-15,27 13 0,-14-13 16,-13 13-16,13 0 0,14-13 16,-14 13-16,14 0 0,-1 0 15,-78 0-15,78 0 16,-39 0-16,26 0 16,14 0-16,-40 0 15,-53 0 1,66 13-16,13-26 15,14 13-15,-14 0 16,13 0-16,14 0 0,-13 0 0,12 0 0,-12 0 16,13 0-16,-14 0 0,14 0 15,-13 0-15,12 0 0,-12 0 16,-14 0-16,14 0 16,-14 0-16,27 0 15,-14 0-15,1 0 0,0 0 16,12 0-16,1 13 15,0-13-15,0 0 0,-14 0 16,14 0-16,13 13 16,-13-13-16,-1 0 15,14 13-15,-13-13 16,0 14 0,0-14-1,13 13-15,-13-13 16,-1 13-1,1 0 1,13 0 0,0 1-16,13-1 15,-13 0-15,0 0 0,14 1 16,-14-1-16,26 27 16,-13 12-16,14 15 15,-1-1-15,-13-40 16,1 1-16,12 39 15,-13-27-15,1-12 16,-1 13-16,0-27 0,-13 0 16,13 14-16,-13-14 15,13 0 1,-13 0 0,0 0-1,14-13-15,-1 0 16,0 0-1,14 0-15,-14 0 16,13-13-16,40 13 0,-26-13 16,-13 13-16,-1 0 15,0 0-15,27 0 0,0 0 16,-39 0-16,25 0 16,-26 0-16,14 0 0,-14 0 15,0 0-15,14 0 0,-1 0 16</inkml:trace>
  <inkml:trace contextRef="#ctx0" brushRef="#br0" timeOffset="188139.35">16550 10491 0,'39'0'16,"-25"13"-16,-1-13 0,27 0 16,-14 0-16,0 0 15,-12 0-15,-1 0 0,27 13 16,-14-13-16,1 0 15,-1 0-15,-13-13 16,0 13-16,1 0 16</inkml:trace>
  <inkml:trace contextRef="#ctx0" brushRef="#br0" timeOffset="188423.38">16814 10372 0,'27'13'0,"-14"-13"16,0 13-16,27 14 15,0-1-15,-1 14 16,-26-27-16,1 27 15,-14-27 1,0 0-16,-14 27 16,-12-27-16,0 13 0,-14-12 15,27-1-15,-1-13 16,-38 26 0</inkml:trace>
  <inkml:trace contextRef="#ctx0" brushRef="#br0" timeOffset="189909.14">17873 10292 0,'-119'53'16,"92"-40"-16,-13 14 15,27-14 1,13 0-16,0 1 15,13-14 1,1 0-16,-1 0 0,0-14 16,0 14-16,1-13 0,25 0 15,-26 0-15,14 13 16,-27-14-16,13 14 0,0 14 16,-13-1-1,0 0-15,0 0 16,0 1-16,0 12 0,0-13 15,0 1-15,0 12 0,0-13 16,-13 0-16,13 14 16,13-27-16,-13 13 15,14-13 1</inkml:trace>
  <inkml:trace contextRef="#ctx0" brushRef="#br0" timeOffset="190255.96">18124 10332 0,'-13'0'0,"-14"0"0,14 0 16,0 13-16,0-13 0,-14 13 0,14-13 16,13 14-16,-13-14 15,13 13-15,-14 0 0,28 14 16,-1-27-16,0 0 15,0 0-15,14 0 16,13 0 0,-27-14-16,0 14 15,0 14-15,0-14 16,-13 13 0,0 0-16,-13 0 15,13 1-15,0-1 16,0 0-16,-13-13 15,26 13-15,-13 0 16,13-13 0</inkml:trace>
  <inkml:trace contextRef="#ctx0" brushRef="#br0" timeOffset="192655.14">19791 9895 0,'106'27'15,"-67"-27"-15,41 13 0,-27-13 0,0 0 16,-1 0-16,94 13 16,-67-13-16,1 0 0,-14 0 15,0 0-15,53 0 0,-40 0 16,-26 0-16,14-13 0,-15 13 15,1 0-15,40 0 0,-67 0 16,41 0-16,-28-13 0,-26 13 16,1 0-16,-1 0 15,0 0-15</inkml:trace>
  <inkml:trace contextRef="#ctx0" brushRef="#br0" timeOffset="193789.95">19698 9313 0,'27'0'15,"12"0"1,1 0-16,53 0 16,-27 0-16,13 0 0,80 0 15,-66 0-15,-14 0 0,14 0 16,-14 14-16,14-14 0,-1 0 15,-13 0-15,107 0 0,-28 13 16,-91-13-16,-1 0 0,-13 0 16,52 13-16,-25-13 15,-40 0-15,12 0 0,-25 0 16,-14 0-16,14 0 16,-1 0-16,-13 0 0,14 0 15,-14 0 1,0 0-16,0 0 15,1 0 1,-14 13-16,0 0 16,13-13-16,-13 14 0,0 12 15,-13 14-15,13-27 0,0 14 16,0-1-16,0 14 0,-14-14 16,14 1-16,0-1 0,0 1 0,0-1 15,0 0-15,0 1 0,0-1 16,0 1-16,0-14 0,0 13 0,0-12 15,14-1-15,-14 0 0,0 0 16,-14 1-16,14-1 0,0 0 16,-13 0-16,0-13 15,0 0-15,0 0 0,-14 0 16,1 14-16,-1-14 0</inkml:trace>
  <inkml:trace contextRef="#ctx0" brushRef="#br0" timeOffset="194331.93">18534 10438 0,'132'-13'16,"-118"13"-16,12 0 15,14 0-15,-14 0 0,14 0 16,-27 0-16,0 0 0,1 0 16,-1 0-1</inkml:trace>
  <inkml:trace contextRef="#ctx0" brushRef="#br0" timeOffset="194649.19">18561 10319 0,'-40'13'16,"80"-26"-16,-107 39 0,54-26 15,-13 27-15,12-14 0,1-13 16,0 13-16,0 0 0,13 1 16,-13-14-16,13 13 0,-14 0 0,14 0 15,14 1-15,-14-1 0,13-13 16,0 13-16,0 0 0,14 0 15,-1-13-15,27 14 16,-26-14-16,-1 0 0,0 0 0,1 0 16,13 0-16,-14 0 0,14 0 15,-1 0-15</inkml:trace>
  <inkml:trace contextRef="#ctx0" brushRef="#br0" timeOffset="196281.68">17978 10689 0,'80'13'16,"-54"-13"-16,14 14 0,0-14 15,-1 13-15,67 0 0,0 0 16,-66-13-16,13 14 0,0-14 16,-1 0-16,-12 0 15,13 0-15,40-14 0,-40 1 0,-14 13 16,54-26-16,-53 26 15,-1-14-15,1 1 0,0 0 0,-14 0 16,40-27-16,-26 14 16,-14-1-16,1 14 0,-14-14 15,0 14-15,14-26 16,-27 25-16,13-25 0,-13 25 0,0 1 16,-13-13-16,0-14 15,-14 14-15,14-1 0,-14 14 16,-12-14-16,12 1 0,-12-1 0,-14 1 15,13 0-15,-13 12 0,0-12 16,13 13-16,-52-27 0,-14 0 16,0 1-16,53 25 15,-13 1-15,13 0 0,0 13 16,0-13-16,-119 13 16,119 0-16,-79 0 15,66 0-15,-53 13 16,66 0-16,0-13 0,0 13 0,0-13 0,0 14 15,14-1-15,-14 0 0,13 0 16,-39 27-16,39-27 16,0 0-16,14 14 0,-1-1 15,1 1-15,-1 12 0,14-12 16,13-1-16,0 1 0,40 65 16,-14-52-16,41 26 15,-15-39-15,-12 12 0,26-12 16,119 39-1,-52-26-15,-67-27 16,0 0-16,40 0 0,-53-13 16,0 14-16,39-14 0,-26 0 15,1 0-15,-54 0 16</inkml:trace>
  <inkml:trace contextRef="#ctx0" brushRef="#br0" timeOffset="199905.25">3532 11337 0,'199'0'16,"-146"0"-16,-14 0 15,14 0-15,0 0 0,0 0 0,13 0 16,93 0-16,-106 0 15,0 0-15,-14 0 0,14 0 16,-13 0-16,66 0 16,-80 0-16,27 0 15,-26 0 1,-1 0-16,1 0 16,-14 0-16,0 0 15,0-13-15,0 13 0,1 0 0,-1 0 16,13 0-16,-12 0 15,-1-13-15,0 13 16,0 0-16,1 0 16,12-13-16,-13 13 15,0 0 1,1 0-16,-1 0 0,0 0 16,0-14-1,1 14 1,12 0-16,-13 0 0,1 0 15,-1 0-15,13 14 16,1-14-16,-1 0 0,-13 0 16,27 0-16,-13 0 15,-1 0-15,-13 0 0,14 0 0,-1-14 16,14 14-16,-14 0 16,-12-13-16,38 13 0,-38-13 15,25 0-15,-25 13 16,12-13-16,-13 13 0,14-14 15,-14 14-15,13-13 16,-12 13 0,-14-13-16,13 13 0,0-13 15,0 13-15,1-14 16,-1 14-16,0-13 16,0 0-1,0 13-15,-13-13 16,27-1-16,-14 1 15,0 0-15,-13 0 0,14 0 16,12-1-16,-13-12 16,1-1-16,-1 14 15,-13-13-15,13 13 0,-13-1 16,13-12-16,-26 13 0,13-27 16,-26 13-1,12 14-15,1 0 0,0 0 16,0 0-16,-40-1 15,-27-12-15,41 26 0,-14-13 16,0 13-16,0 0 0,0-14 16,-79 14-16,-1-13 15,67 13-15,0 0 0,0-13 0,-119 0 16,132 13 0,0 0-16,0-14 0,-53 14 15,66 0-15,1-13 0,-41 13 16,41 13-16,-14-13 0,13 0 15,-52 14-15,52-1 0,0 0 16,0 0-16,1 1 0,-41 12 16,-12 27-1,12-13-15</inkml:trace>
  <inkml:trace contextRef="#ctx0" brushRef="#br0" timeOffset="200680.91">873 11615 0,'106'-39'16,"-80"25"-1,-12 14-15,52-26 16,-53 26-16,0 0 0,0 0 0,1 0 16,-1 0-16,0 0 15,-13 13-15,13-13 0,1 13 0,25 27 16,-39-27-16,14 0 15,-14 14-15,13-14 0,0 27 16,0-27-16,0 14 0,-13-14 16,14 0-16,-14 0 0,13 14 15,0-14-15,0 0 0,-13 0 16,27 1-16</inkml:trace>
  <inkml:trace contextRef="#ctx0" brushRef="#br0" timeOffset="201041.15">1111 11959 0,'27'-26'15,"-14"12"-15,0 14 0,14-13 16,39-26-16,-27 25 0,1-12 15,0 13-15,52-40 0,-39 26 0,-13 1 16,0-1-16,13 1 16,-27-1-16,14 14 0,-1-13 0,-12-1 0,13 1 15,-14 13-15,-13-1 16,1 1-16,-1 13 16,-13-13-16,13 13 0,-13 13 31,0 0-31,0 1 15,0 12-15,0 14 16,0-14-16,0-13 16,0 14-16,0-14 0,0 0 15,0 1-15,0 12 16</inkml:trace>
  <inkml:trace contextRef="#ctx0" brushRef="#br0" timeOffset="201180.17">1707 11628 0</inkml:trace>
  <inkml:trace contextRef="#ctx0" brushRef="#br0" timeOffset="201317.5">2236 11655 0,'13'0'16</inkml:trace>
  <inkml:trace contextRef="#ctx0" brushRef="#br0" timeOffset="204379.3">9710 11390 0,'172'14'16,"-106"-1"-16,0-13 15,14 0-15,12 0 0,-12 0 16,-1-13-16,14 13 0,66 0 15,-93 0-15,13-14 0,-26 14 16,0 0-16,0 0 0,0 0 0,-14 0 16,-12 0-16,39-13 15,-53 13-15,0 0 0,1 0 16,-1 0-16,0 0 16,0 0-16,1-13 31,-1 13 16,-13 13 46,26 0-77,-12-13 0,12 0-16</inkml:trace>
  <inkml:trace contextRef="#ctx0" brushRef="#br0" timeOffset="207235.28">18666 11509 0,'410'40'16,"-251"-27"-16,40 1 15,-107-1-15,14-13 16,0 0-16,-13 0 0,26 0 0,-14 0 15,1 0-15,93-13 0,-93 13 16,-14 0-16,1 0 0,-1-14 16,80 14-16,-92 0 0,52-13 15,-66 13-15,-13 0 16,0 0-16,-13 0 0,39 0 16,-26 0-16,-27 0 0,1 0 15,-1 0-15,-12 0 16,12 0-16,0 0 0,-12 0 15,-1 0-15,0 0 0,0 0 0,14 0 16,-14 0 0,0 0-16,1 0 15,-1 0 1,-26-13 31,-1 0-32</inkml:trace>
  <inkml:trace contextRef="#ctx0" brushRef="#br0" timeOffset="209205.18">3201 11946 0,'344'13'15,"-264"0"-15,12-13 0,1 0 16,0 14-16,-1-14 0,14 0 16,0 0-16,-14 13 0,120-13 15,-106 13-15,119 0 0,-119-13 16,-14 14-16,1-14 0,0 13 16,-1-13-16,-12 13 0,-1-13 15,40 13-15,-53-13 0,-26 0 16</inkml:trace>
  <inkml:trace contextRef="#ctx0" brushRef="#br0" timeOffset="211900.11">6906 4128 0,'-305'132'15,"226"-106"1,13 1-16,-133 52 0,14 0 16,-13 1-16,105-40 0,-13-1 15,-92 41-15,105-54 16,-52 40-16,79-39 0,-120 39 16,133-53-1,-39 27-15,52-27 0,-39 13 16,52-12-16,-52 12 15,66-13 1,-14-13-16,14 14 16</inkml:trace>
  <inkml:trace contextRef="#ctx0" brushRef="#br0" timeOffset="212180.2">4762 4789 0,'-92'66'16,"65"-13"-16,27-27 15,0 14-15,0-13 16,14-1 0,-1-13-16,27 1 0,-14-14 15,53-14-15,27-12 16,27-1-16,-14-12 16,-80 25-16</inkml:trace>
  <inkml:trace contextRef="#ctx0" brushRef="#br0" timeOffset="212824.94">3122 5530 0,'-106'-13'16,"93"13"-16,-40 26 15,13-13-15,27 0 16,0 1-16,0 12 0,0-13 16,13 1-16,0-1 0,0 0 15,0 0-15,13 1 16,0-14-16,13 0 16,-12-14-16,-1 14 0,0 0 0,14-26 31,-1 26-31,0 0 15,-12 13-15,-1 0 16,-13 1-16,13-1 0,0 0 0,-13 0 16,14 27-16,-1-27 15,-13 27-15,13-27 0,-13 0 16,13 14-16,1-14 16,-1-13-16,13 0 15</inkml:trace>
  <inkml:trace contextRef="#ctx0" brushRef="#br0" timeOffset="213172.95">3413 5517 0,'-26'-14'0,"-14"28"15,-53 25 16,80-26-31,-27 27 0,27-13 16,13-14-16,0 0 0,0 0 16,225-171-16,-437 330 15,239-172-15,-14-14 0,14 14 16,-14-13-16,27 13 0,-27-13 16,0 13-16,0 0 0,0 0 15,1 0-15,25 13 16,-25 0-16,-14 1 15,13-14-15,-13 13 0,0 0 16,13 13-16,-13 1 16,0-1-16,13-26 15,0 0 1,1 0-16,-14-13 0</inkml:trace>
  <inkml:trace contextRef="#ctx0" brushRef="#br0" timeOffset="213478.25">3625 5530 0,'-13'-13'16,"-1"39"15,14-13-31,-13 14 16,26 12 0,-13-25-16,14-1 15,-1 0-15,0-13 16,0 0-16,14-13 0,-1 0 15,1-1-15,-27 1 16,13-13 0,-13-14-16,-13 14 15,-1 12-15,1 1 16,-27 0 0,14 13-1,13 0-15,0 13 0,-14-13 16,14 13-1</inkml:trace>
  <inkml:trace contextRef="#ctx0" brushRef="#br0" timeOffset="214219.77">2712 4776 0,'0'-14'16,"13"81"-1,0-54 1,-13 0-16,14 40 16,-14-40-16,13 0 0,0 14 15,0-1 1,1-26-16</inkml:trace>
  <inkml:trace contextRef="#ctx0" brushRef="#br0" timeOffset="214487.88">2924 4802 0,'26'13'31,"-13"-13"-31,14 27 15,12-27-15,-25 0 16,25 0-16,-12-27 16,-14 14-1,-13 0-15,-13 0 16,0-1-16,-1-12 16,1 26-16,-13-13 0,-1 13 15,14 0-15,0 0 16,-14 13-16,-52 40 15,119-40-15,-106 0 16</inkml:trace>
  <inkml:trace contextRef="#ctx0" brushRef="#br0" timeOffset="-214184.66">1852 5450 0,'93'-52'15,"-67"38"1,14 1-16,26-27 16,0 14-16,0-1 15,0-12-15,-39 26 16,-14 13-16,14-14 16,-14 1-16</inkml:trace>
  <inkml:trace contextRef="#ctx0" brushRef="#br0" timeOffset="-213943.45">2236 5133 0,'92'13'31,"-78"0"-31,12 1 0,0-1 16,1 13-1,-14-12-15,-26 65 16,0-66 0</inkml:trace>
  <inkml:trace contextRef="#ctx0" brushRef="#br0" timeOffset="-212032.5">1918 6337 0,'66'-27'16,"-39"14"-16,52-27 0,-13 1 15,14 12 1,-14 1-16,-40 13 0,40-27 16,-39 27-16,13-1 15,-14-12 1,-13 26-16,1-13 0</inkml:trace>
  <inkml:trace contextRef="#ctx0" brushRef="#br0" timeOffset="-211743.75">2434 5927 0,'93'13'16,"-80"-13"-16,13 13 0,-12-13 0,12 13 16,-13 1-16,27 12 0,-13-13 15,-1 14-15,-13 39 16,0-53-16,-13 14 15,-13 12-15,13 14 16,-13-13-16</inkml:trace>
  <inkml:trace contextRef="#ctx0" brushRef="#br0" timeOffset="95839.45">15571 8136 0,'0'26'32,"0"1"-17,-13-1-15,-1 14 16,-12 39-1,-1-39 1,27-13-16,-39 12 0,39-26 16,-14 14-1,1-14 1</inkml:trace>
  <inkml:trace contextRef="#ctx0" brushRef="#br0" timeOffset="96313.2">15690 8242 0,'0'39'15,"-27"28"1,14-28-16,0 1 16,13 13-16,-13 13 15,-1-53-15,1 0 16,13 1 93</inkml:trace>
</inkml:ink>
</file>

<file path=ppt/ink/ink18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4:39:11.444"/>
    </inkml:context>
    <inkml:brush xml:id="br0">
      <inkml:brushProperty name="width" value="0.05292" units="cm"/>
      <inkml:brushProperty name="height" value="0.05292" units="cm"/>
      <inkml:brushProperty name="color" value="#0070C0"/>
    </inkml:brush>
  </inkml:definitions>
  <inkml:trace contextRef="#ctx0" brushRef="#br0">2434 4591 0,'0'13'31,"-13"0"-31,13 27 16,0-14-16,0-13 0,-13 14 15,13-1-15,0 27 0,-14-26 16,14-14-16,0 13 0,0-12 0,-13 12 16,13-13-16,0 0 0,0 1 15,0 12-15,0-13 0,0 1 16,0-1-16</inkml:trace>
  <inkml:trace contextRef="#ctx0" brushRef="#br0" timeOffset="405">2646 4762 0,'-13'-13'16,"-1"26"0,1 1-16,13 12 15,0-13-15,0 1 16,13-1-16,-13 0 0,14 14 16,-1-14-16,-13 0 0,13 0 15,0-13-15,1 13 0,-1-13 0,0 0 16,13 0-16,-12 0 0,-1 0 15,0 0-15,0-13 16,1 0-16,-1 13 0,0-13 16,-13 0-16,0-1 0,13 1 0,-13 0 0,0 0 15,-13-1-15,13-12 16,-13 13-16,13-1 0,-13 1 0,-14-26 16,14 25-16,0 1 15,-1 13-15,1-13 0,0 13 16,0 0-16,-14 0 15,14 13-15,0 0 0,0-13 16,13 14-16,0-1 16</inkml:trace>
  <inkml:trace contextRef="#ctx0" brushRef="#br0" timeOffset="767.46">2884 4696 0,'0'27'0,"0"-14"15,0 0-15,0 0 0,0 1 0,26 39 32,-26-40-32,27 0 0,-14 0 0,0 1 15,14-14-15,-1 0 16,-13 0-16,27 0 15,-13-14-15,-14 14 16,0-13-16,0 0 16,-26-27-1,0 14-15,0 12 0,-1 1 16,1 0-16,0 0 0,0 0 16,-14-1-16,1 14 15,13-13-15,-1 26 0,1-13 0,0 0 16,0 14-1,-14-1-15,27 0 0,-13 0 16</inkml:trace>
  <inkml:trace contextRef="#ctx0" brushRef="#br0" timeOffset="1029.21">3625 4591 0,'-40'39'16,"40"-26"-16,-53 80 16,27-53-16,12-14 15,1 1-15,0-14 0,0 0 16,0 14-16,-1-1 15,1-13-15,13 0 0,-13 1 0,-14 12 16,14-13 0</inkml:trace>
  <inkml:trace contextRef="#ctx0" brushRef="#br0" timeOffset="1224.82">3215 4776 0</inkml:trace>
  <inkml:trace contextRef="#ctx0" brushRef="#br0" timeOffset="1416.18">3717 4948 0,'0'13'0,"0"-26"0,0 39 63</inkml:trace>
  <inkml:trace contextRef="#ctx0" brushRef="#br0" timeOffset="2792.14">2315 5358 0,'265'106'16,"-212"-93"-16,52 0 15,-52 0-15,106 1 16,-53-1-16,0-13 16,-53 0-16,53-13 15,-67 13-15,14-14 0,-13 14 16,39-26-16,-39 13 15,26-14-15,-40 14 16,1 13-16,-14-13 0,14 0 0,-14-1 16,27-12-16,-27 13 0,0-1 15,0-25-15,0 25 16,1 1-16,-14-13 0,13 13 0,13-27 16,-26 13-16,14 14 0,-14-13 15,13 12-15,-13 1 0,13-26 16,-13 12-16,0 14 0,13-14 15,-13 14-15,14-27 0,-14 14 16,0 13-16,0-14 0,0 14 16,0-13-16,0-1 0,0-26 15,0 40-15,0-13 0,-14-1 16,14 1-16,0-1 0,-13 1 16,13 13-16,-13-14 0,0 1 0,-1 12 15,14-12-15,-13 13 0,-13-14 0,-1 1 16,14 13-16,-40-27 15,13 13-15,14 14 0,-1 0 0,-12 0 16,-1-14-16,0 14 0,1 13 16,-1-13-16,0 0 0,-26-14 15,0 14-15,-13 13 16,-14-13-16,53 13 0,-13 0 16,-92 0-1,105 0-15,-13 13 0,14-13 16,-94 26-16,94-26 15,-1 14-15,14-1 0,-14-13 16,-40 26-16,14 14 16,-13-14-16,39 1 15,14-1-15,-40 14 0,-27 39 16,27-12 0,13-1-16,40-40 15,-14 1-15,1 12 0,13-12 0,-27 39 16,0-13-16,27-14 15,13-12-15,-13-1 0,13-12 16,-13 39 0,13-27-16,0 14 0,0-27 15,13 27-15</inkml:trace>
  <inkml:trace contextRef="#ctx0" brushRef="#br0" timeOffset="4901.77">5569 3691 0</inkml:trace>
  <inkml:trace contextRef="#ctx0" brushRef="#br0" timeOffset="6009.6">5741 5940 0</inkml:trace>
  <inkml:trace contextRef="#ctx0" brushRef="#br0" timeOffset="13693.4">7646 3598 0,'0'-13'46,"27"13"-14,13-13-17,-27 13-15,13 0 16,14 0-16,0-13 16,-14 13-16,54 0 15,-28-14-15,-25 14 16,-1 0-16,27 0 15,-26 0-15,-1 0 16,1 0-16,-1 0 16,-13 0-1,-13 14 1</inkml:trace>
  <inkml:trace contextRef="#ctx0" brushRef="#br0" timeOffset="14124.09">7699 3691 0,'40'13'16,"-27"-13"0,1 0-16,12-13 0,-13 13 0,14 0 15,-1 0-15,14 0 16,-14 0-16,1 0 0,-14-13 15,13 13-15,-12 0 0,25 0 16,-25 0-16,-1 0 0,0 0 16,13 0-1,-12 0-15,-1 0 16</inkml:trace>
  <inkml:trace contextRef="#ctx0" brushRef="#br0" timeOffset="15907.56">11562 2977 0,'-13'-14'0,"40"14"16,-14 0-16,0 0 15,0 0-15,0 0 0,14 0 0,13-13 16,-14 13-16,1 0 0,-1 0 15,40 0 1,-39 0-16,-1 0 0,-13-13 0,14 13 16,12 0-16,-12 0 0,-14 0 15,0 0-15,1 0 0,-1 0 16,0 0-16,0 0 0,0-13 16,1 13-1,-1 0 1,0 0-1</inkml:trace>
  <inkml:trace contextRef="#ctx0" brushRef="#br0" timeOffset="16644.02">9816 4286 0,'79'13'0,"-26"1"16,-26-14-16,-14 0 16,27 0-16,-27 0 15,0 0-15,27 0 0,-27 0 16,0 0-16,1 0 16,-1 0-16,0 0 15,0 0-15,-13 13 16,13-13-1,1 0 1</inkml:trace>
  <inkml:trace contextRef="#ctx0" brushRef="#br0" timeOffset="17152.13">11919 4128 0,'40'13'15,"0"-13"1,-27 0-16,40 13 16,-27-13-16,41 0 15,-28 0 16,-25 0-31</inkml:trace>
  <inkml:trace contextRef="#ctx0" brushRef="#br0" timeOffset="18876.07">9671 3651 0,'-27'-13'15,"14"26"-15,-14 14 16,27-14-16,-13 0 15,13 0-15,-26 93 16,12-40-16,14-39 0,0-1 16,0 14-16,14 0 15,-1 26-15,0-40 0,0 14 0,14-14 16,13 27-16,-14-26 16,0-14-16,1 13 0,13-12 15,-14-1-15,80 27 16,-66-40-16,-14 13 0,0-13 0,1 0 15,-1 0-15,1 0 0,26 0 16,13 0-16,-13-13 16,-27 13-16,27-14 15,-26 1-15,-1 0 16,27 0-16,0-1 0,-13-12 16,-14 13-16,-13 13 15,1-13-15,25-14 0,-26 14 16,14-27-16,-14 27 15,14-40-15,-27 27 16,13 12-16,-13-25 16,-27-54-1,1 53-15,13 27 0,-1-13 16,-38-14-16,-15 14 16,41 12-16,-40-12 15,-14-1-15,41 14 16,12 13-16,-12-13 0,-14-14 15</inkml:trace>
  <inkml:trace contextRef="#ctx0" brushRef="#br0" timeOffset="19829.29">10676 2593 0,'26'13'31,"-12"0"-16,12-26 1,27 0-16,-27 13 16,54-40-16,-40 27 0,12-13 15,54-14-15,-66 13 0,13 14 16,-13 0-16,-14 0 0,40-14 16</inkml:trace>
  <inkml:trace contextRef="#ctx0" brushRef="#br0" timeOffset="21881.34">11007 4061 0,'-27'40'0,"14"-27"16,13 14-16,-13 12 15,0-25-15,13-1 0,-14 0 16,14 14-16,-13-14 0,13 0 0,0 0 15,-13-13-15,13 13 0</inkml:trace>
  <inkml:trace contextRef="#ctx0" brushRef="#br0" timeOffset="22085.36">10848 4128 0,'26'0'0,"14"13"16,-27 0 0,1-13-16,38 13 0,-12 0 15,-13-13-15,12 14 16,1-1-16,-27 0 16,0-13-16,14 13 0</inkml:trace>
  <inkml:trace contextRef="#ctx0" brushRef="#br0" timeOffset="23985.79">5649 5874 0,'26'13'47,"1"-13"-47,12 13 16,14 0-16,-26 1 15,-1-14-15,27 13 0,-40-13 16,27 13-16,0-13 15,-14 0-15,27-26 16,-26 26-16,-1-14 0,-13 14 16,27-26-16,0 0 15,-14-1-15,1 1 16,-1-1-16,-13 14 16,14-14-16,-1 1 15,1 0-15,-14-1 16,0 14-16,-13-14 15,13 14-15,1-13 0,-14-14 16,0 27 0,0-14-16,0 14 0,0-27 15,-14 14-15,1 0 16,-13-1 0,-1 1-16,14 12 15,0 1-15,-27 0 0,-26-14 16,26 14-1,14 0-15,-27 0 16,13 0-16,-39-1 16,26 14-16,13-13 15,14 13 1,-1 0-16,-12-13 0,-14 13 16,13 0-16,0 13 15,14-13-15,-27 13 16,13-13-16,1 14 15,12-1-15,14 0 0,-27 0 16,-26 40 0,40-40-16,-14 40 15,27-39-15,-1-1 16,14 0-16,-26 27 16,13-27-16,0 13 0,13-12 15,-14 38 1,1-25-16,13-14 0,0 27 15,-13 26-15,13-53 16,0 53 0,0-52-16,0 12 0,0-13 15,0 14-15,0 12 16,13 1-16,-13-27 16,27 14-1,12-14-15,-12-13 16</inkml:trace>
  <inkml:trace contextRef="#ctx0" brushRef="#br0" timeOffset="26159.21">9842 4868 0,'-92'-13'16,"65"13"-16,1 0 0,0 13 16,-1 1-16,-13 12 15,-13 14-15,14 13 16,12-27-16,14 14 16,0-14-16,0 14 0,-14 79 15,27-79-15,0-1 16,0 1-16,13 26 0,14 14 15,13-14-15,-14-40 16,0 1-16,27 12 16,-13-12-16,-13-14 0,52 13 15,-39-12-15,12-1 0,28 0 16,-40-13-16,12 0 16,-12 0-16,13-13 0,-13 13 15,-1 0-15,1-13 0,-13-1 16,-1 14-16,27-26 0,0 0 15,-27 26-15,1-14 0,13-12 16,-27 13-16,26-27 16,-12 13-16,-1 1 15,-12 0-15,-1 12 16,0-25-16,0 12 16,-13 1-16,0-14 15,13 27-15,-13-14 0,0 1 16,0 13-16,0-14 0,0-26 15,0 40-15,0-13 0,-13-1 0,0-39 16,0 40-16,0-1 16,-1-13-16,-39-26 15,1 13-15,-1 27 16,26 13-16,-26-14 16,27 14-16,-14 13 0,-26-13 15,39 13-15,-12-14 0,12 14 16,1 0-16,-14 0 0,14 0 15,12 0-15,-52 0 16,40 0 0,26 14-16</inkml:trace>
  <inkml:trace contextRef="#ctx0" brushRef="#br0" timeOffset="26724.87">10663 5040 0,'26'27'0,"-26"-14"16,0 0-16,13 0 0,-13 1 15,0 25-15,14-25 16,-14-1-16,0 0 15,13 0-15,0-13 16,0 0-16,1-13 16,38-13-16,28-14 15,26-26-15,-67 39 16,14 1-16,0-1 0,-13 14 0,26-27 16,-26 27-16,-14-13 0,1 13 15,12-1-15</inkml:trace>
  <inkml:trace contextRef="#ctx0" brushRef="#br0" timeOffset="28537.01">10980 6641 0,'-26'40'0,"13"-1"16,-1-25-16,1 12 15,0 1-15,0 25 0,-1-38 16,1 39-16,0-40 16,0 13-16,13-12 0,-14-1 0</inkml:trace>
  <inkml:trace contextRef="#ctx0" brushRef="#br0" timeOffset="28755.43">10716 6720 0,'53'14'0,"-1"12"16,15 1-16,-28-1 0,1-13 15,-14 14-15,41 12 16,-15 1-16,-25-27 0,-14 1 15,0-1-15</inkml:trace>
  <inkml:trace contextRef="#ctx0" brushRef="#br0" timeOffset="57595">15809 3149 0,'92'0'62,"41"0"-46,78 0 0,-25 0-1,-28 0 1,-118 0-1</inkml:trace>
  <inkml:trace contextRef="#ctx0" brushRef="#br0" timeOffset="58593.45">15518 4180 0,'26'0'63,"107"0"-48,-28 0 1,120 0 0,80 0-1,-173 0-15,0 0 0,-26 0 16,-80 0-1,-12 0-15</inkml:trace>
  <inkml:trace contextRef="#ctx0" brushRef="#br0" timeOffset="60084.43">16021 5583 0,'52'0'109,"187"0"-93,-120 0-16,0 0 16,13 0-16,-26 0 15,-14 0-15,-25 0 16,-28 0-1,-26 0-15</inkml:trace>
  <inkml:trace contextRef="#ctx0" brushRef="#br0" timeOffset="60931.18">16179 6906 0,'0'-14'31,"27"14"-15,105 0 15,-39 0-31,-14 0 16,27 0-16,-14 0 15,-25 0-15,-1 0 16,-13 0-16,-14 0 15,1 0 1,-14 0-16,-12 0 16</inkml:trace>
  <inkml:trace contextRef="#ctx0" brushRef="#br0" timeOffset="63908.98">15584 2500 0,'13'0'0,"0"66"15,1-13-15,12 27 16,1-41-1,-14 41-15,0-27 0,27 39 16,-27 54 0,-13-80-16,0-13 15,13 13 1,14-39-16,-27-67 250,0-13-250,-14-79 16,1 39-1,-27 0-15,27 1 16,13-1-16,-13 40 15,-27-13-15,40 40 16,-13-14-16,13 27 16,-13-14-16,0 14 15,13-13 1,0 12 0,-14-12 30,-12-14-30,26 27 0,-13 0-1,0 0 1,13-1 0,39 14 109,54 14-110,26-14-15,13 13 16,133-13-1,-159 0-15,66 0 16,-133 0 0,-26 0-1,1 0 95,-1 0-48,0 0-46,0 0-1,27 26 1,-13 54 0,-1-41-16,-13 1 15,0 13-15,14-27 16,-14 41 0,-13-54-16,0 26 15,0 1 1,0-13-16,27 12 0,-27 1 31,0-27-15,0 0-1,0 1 1,0-1-16,0 13 31,0-12-15,0-1-16,0 13 15,0 14 1,0-14 0,0 14-16,0-27 15,0 1 1,0-1 171,-40-13-187,-79 0 32,-66 0-17,-67 0 1,146 0-16,-39 0 16,132 0-1,-1 13 173</inkml:trace>
  <inkml:trace contextRef="#ctx0" brushRef="#br0" timeOffset="65107.75">15597 3691 0,'0'13'47,"13"80"-32,1-54 1,-14 1-16,13 26 16,-13-39-1,0-14 1,0 27-16,0-1 0,0-12 16,0-1-16,0-12 62,0-28 63,0-25-109,0-1-1,0 27-15,0-14 16,0 14 0,0-13-1,-13 12 16</inkml:trace>
  <inkml:trace contextRef="#ctx0" brushRef="#br0" timeOffset="68001.56">15782 1746 0,'40'-26'16,"-27"26"-16,1 0 0,-14-13 16,13 13-16,0 0 0,0 0 0,0 0 15,1-14 1,-1 14-16,0 14 15,0-14-15,1 26 16,-14-13-16,13 0 0,0 40 16,-13-26-1,13 13-15,-13-27 0,0 0 0,0 0 16,14 0-16,-14 1 16,0-1-16,0 13 0,0-12 0,0-1 15,0 0-15,0 0 16,13 1-1</inkml:trace>
  <inkml:trace contextRef="#ctx0" brushRef="#br0" timeOffset="68517.42">15743 1984 0,'13'-13'16,"0"0"0,27 0-16,-14 13 0,1-14 15,-1 1-15,14 0 0,0 0 16,26-14-16,-13 14 16,-40 0-16,13 0 0,-12-1 0,-1 1 15,0 13-15,-13-13 0,13 0 16,0-1-16,-13 1 15,0 0 1,-26 26 0,26 0-1,-13 1-15,13-1 0,0 0 16,0 0-16,0 1 0,0-1 16,13 13-16,-13-12 0,26 12 15,-12-26-15,-1 13 0,13-13 16,-12 0-1,-1 0-15,0 0 0,0 0 0,1 0 0,12-13 16,-26 0-16,13 13 16,-13-13-16,0-1 0,0 1 15,0-13-15,-13 12 0,0-12 16,-14-1-16,14 14 16,-13 0-16,-1 13 15,1 0-15,12 0 16,-12 0-16,26 13 15,-13-13-15</inkml:trace>
  <inkml:trace contextRef="#ctx0" brushRef="#br0" timeOffset="68708.66">16589 1574 0,'0'27'16,"0"-14"-16,0 0 16,-13 53-16,13-39 15,-13 26-15,0-27 16,13 1-16,0-14 16,0 0-16,-14-13 0</inkml:trace>
  <inkml:trace contextRef="#ctx0" brushRef="#br0" timeOffset="68856.05">16391 1720 0</inkml:trace>
  <inkml:trace contextRef="#ctx0" brushRef="#br0" timeOffset="69000.99">16695 1786 0</inkml:trace>
  <inkml:trace contextRef="#ctx0" brushRef="#br0" timeOffset="69886.31">16219 3334 0,'40'-13'31,"-27"13"-31,13 13 16,-26 0 15,0 0-15,14 0-1,-1-13 1,-13 14 0,0-1-16,0 13 15,-13-12-15,-1-1 16,1 0 0,0 0-16,0 0 0,-1-13 15,41-26 16,-27 13-31</inkml:trace>
  <inkml:trace contextRef="#ctx0" brushRef="#br0" timeOffset="70136.85">16351 3387 0,'13'-14'0,"1"28"16,-14-1-16,0 0 15,13-13 1,-13 13-16,13-13 0,0 0 15,1 0-15,-1 0 16,0 0-16,0 0 16,-13-13-16,14 13 15,-14-13-15,-14 0 16,1-1-16,0 14 16,0 0-16,13-13 0,-27 13 15,1 13 1,12-13-16,1 14 15</inkml:trace>
  <inkml:trace contextRef="#ctx0" brushRef="#br0" timeOffset="70305.73">16589 3334 0,'27'0'16,"-27"26"-1,0 1-15,0-14 0,-13 0 16,13 0-16,-14 27 16,14-27-16,-13 0 15,13 1-15,0-1 0</inkml:trace>
  <inkml:trace contextRef="#ctx0" brushRef="#br0" timeOffset="70557.94">16510 3400 0,'0'-13'16,"26"13"0,-12 13-16,-1-13 15,0 0-15,0 0 16,1 0-16,-1 13 0,0-13 31,0 0-31</inkml:trace>
  <inkml:trace contextRef="#ctx0" brushRef="#br0" timeOffset="121254.62">14565 2977 0,'14'26'16,"-1"-13"-16,0-13 15,-13 13-15,40 14 0,-27-27 16,40 26-1,-13 1-15,-14-27 16,0 13-16,1-13 0,-1 0 0,14 0 16,0 0-16,-14 0 15,1-13-15,-1 13 0,1-13 0,-1 13 0,0-14 16,1 1-16,13 0 0,-27 0 16,13-1-16,-12-12 0,-1 13 0,13 0 15,-13-1-15,1 1 0,-14 0 16,13-14-16,0 14 0,-13 0 15,13-27-15,-13 27 0,14 0 16,-14-14-16,0 14 0,0-13 0,0-1 16,0 14-16,-14-13 0,14-1 15,-13 1-15,0-41 0,0 41 16,13 0-16,-14-1 0,14 14 0,-13-14 16,0 1-16,0 13 0,13-14 15,-27 14-15,14 0 0,0 0 0,0-1 16,-14 1-16,-13-13 15,14 12-15,0 14 0,-1-13 0,-13 13 16,14 0-16,-14 0 0,14 0 16,-14 0-16,-13 13 0,14-13 0,-1 14 15,0-1-15,0 0 0,-26 27 16,40-27-16,-1 0 0,1 14 16,-1-1-16,1-13 0,-14 40 15,27-39-15,13 12 0,-13 0 16,13-12-16,0-1 0,0 13 0,13-12 15,-13 12-15</inkml:trace>
  <inkml:trace contextRef="#ctx0" brushRef="#br0" timeOffset="121998.73">16153 3188 0,'13'13'16</inkml:trace>
  <inkml:trace contextRef="#ctx0" brushRef="#br0" timeOffset="123543.77">17436 3096 0,'146'26'0,"-67"-26"16,66 13 0,-39 1-16,-53-14 15,0 0-15,-13 0 0,92 13 16,-92-13-1,-1-13-15,1 13 0,-13 0 0,12-14 0,1 14 16,-14 0-16,27-13 16,14-13-1,-41 12-15,-13 1 0,27 0 0,-27-14 16,14 14-16,-14 0 0,0 0 0,0 0 16,14-1-16,-14-12 0,-13 13 15,26-27-15,-26 27 0,0-14 16,14 14-16,-14 0 0,0-14 15,-14 14-15,14-13 0,0-1 16,-13 1-16,0-14 0,-14 14 0,14-1 16,0 1-16,-13-1 0,12 1 15,-12-1-15,13 1 0,-14 13 0,1-14 16,13 1-16,-1 12 0,-12 1 0,13 0 16,-1 0-16,-12 0 0,13-1 15,-14 1-15,1 0 0,13 0 0,-14 13 16,-13-27-16,14 14 0,-1 13 15,1-13-15,0-1 0,-1 14 16,1-13-16,-1 13 0,1 0 0,-1-13 16,1 13-16,-14 0 0,14 0 15,-40 0-15,39 0 16,1 0-16,-14 0 0,13 0 0,1 13 0,0-13 16,-1 0-16,1 13 0,-1-13 15,1 14-15,-1-1 0,1 0 16,-1 0-16,14 1 0,-40 12 15,40-13-15,0 1 0,-14-1 16,1 13-16,13-26 0,-1 13 16,1 1-16,13-1 0,-13-13 0,13 13 15</inkml:trace>
  <inkml:trace contextRef="#ctx0" brushRef="#br0" timeOffset="131338.47">17436 4114 0,'-26'0'0,"52"-13"31,-13 13-31,53-13 16,-39 13-16,-1 0 15,14 0-15,13-13 0,-13 13 0,-1 0 0,1 0 16,-14 0-16,14 0 0,-13 0 16,-1 0-16,1 0 0,-1 0 0,27 13 15,-27-13 1,-12 0-16,-1 0 16,-13 13-16,13-13 0</inkml:trace>
  <inkml:trace contextRef="#ctx0" brushRef="#br0" timeOffset="131662.75">17648 4220 0,'145'0'15,"-132"0"-15,80 0 0,-66 0 0,-14 0 16,0 0-16,0 0 0,27 0 16,-27 0-16,0 0 15,1 0 1,-1 0-16,0 0 31</inkml:trace>
  <inkml:trace contextRef="#ctx0" brushRef="#br0" timeOffset="132838.32">20598 2527 0,'13'26'32,"27"14"-17,-27-27-15,0 0 16,-13 1-16,13-1 0,-13 0 0,14 0 16,-14 1-16,0-1 0,0 0 15,0 0-15,0 0 0,-14 1 16,1 12-16,0-26 15,-13 13 1,12-13-16,1 0 16,13-13-1,0 0-15,27-14 16,-27 14-16,13 0 0,0-13 16,0 12-16,27-39 15,-27 40-15,0 0 0,-13 0 16,0-1-16,0-12 15,0 13-15,0 0 0,0-1 0,-13 14 16,13-13-16,-13 0 0,0 13 0,-1-13 16,1 13-16,0 0 15,0-14-15,0 14 0,-1 0 0,-12 14 16</inkml:trace>
  <inkml:trace contextRef="#ctx0" brushRef="#br0" timeOffset="133187.45">20929 2461 0,'-27'39'0,"14"-12"15,13-1-15,0-13 0,-13 1 16,13-1-16,0 0 0,13 0 0,-13 14 0,13-14 15,-13 0-15,13-13 0,1 14 16,25-1 0,-12 0-16,-14-13 0,0 0 0,0 0 15,1-13-15,-1 13 0,0 0 16,0-13-16,1-1 0,-14 1 16,0 0-1,0 0-15,-14-1 0,14 1 0,-13 0 16,-13-14-1,12 27-15,1-13 0,0 13 16,0 0-16,-1-13 0,1 13 0,0 0 16,-13 0-16,12 13 15</inkml:trace>
  <inkml:trace contextRef="#ctx0" brushRef="#br0" timeOffset="133387.56">21497 2434 0,'14'0'16,"-41"27"0,14-14-16,13 13 0,-13-12 0,-1 12 0,1 0 15,0-12-15,0 12 0,0-13 16,-1 14-16,1-14 0,13 0 15,-13 1-15,0-1 0,13 0 0,-14 0 16</inkml:trace>
  <inkml:trace contextRef="#ctx0" brushRef="#br0" timeOffset="133540.63">21180 2527 0,'0'-13'0,"26"13"16,-12 0-1</inkml:trace>
  <inkml:trace contextRef="#ctx0" brushRef="#br0" timeOffset="133662.81">21603 2633 0,'0'-14'16</inkml:trace>
  <inkml:trace contextRef="#ctx0" brushRef="#br0" timeOffset="134632.74">20770 3850 0,'79'-14'0,"-79"28"16,0 12-16,0-13 16,-13 1-16,13-1 0,-13 0 0,-1 0 15,1 1-15,0 12 0,0-13 16,13 0-16,-13-13 0,-1 14 16,14-1-16,-13-13 0,13 13 0,0 0 15,27-13 1,-14 0-1,0 0-15,13-13 0,-12 13 0,12-13 16,1 13-16,-1-13 0,-13-1 16,1 14-16,12-13 0,-13 13 0,-13-13 15,13 13-15,1 0 0,-1 0 16,0 0 0,0 13-16,1 0 15,12 1 1,-13-14-16,1 0 15,-1 0-15,0 0 0,0 0 0,0-14 16,1 14-16,-1 0 0,-13-13 16,13 13-16,-13-13 0,-13-13 15,13 12 1,-13 14-16,-1-13 0,1 0 0,0 13 16,-27-13-1,27 13-15,0 0 16,-14 13-1</inkml:trace>
  <inkml:trace contextRef="#ctx0" brushRef="#br0" timeOffset="134822.69">21643 3744 0,'0'-13'0,"-13"39"15,13-13-15,-14 1 16,1-1-16,13 0 0,-13 0 0,0 14 16,0-14-16,-1 13 0,14-12 15,-13 12-15,0-13 0,0 1 0,13 12 16,-14-13-16,1 0 16</inkml:trace>
  <inkml:trace contextRef="#ctx0" brushRef="#br0" timeOffset="134954.49">21378 3836 0</inkml:trace>
  <inkml:trace contextRef="#ctx0" brushRef="#br0" timeOffset="135112.49">21855 3956 0,'0'-14'0,"13"14"47</inkml:trace>
  <inkml:trace contextRef="#ctx0" brushRef="#br0" timeOffset="136136.32">22622 3836 0,'0'-13'0,"0"40"16,0 12-1,0-25 1,0 25-1,0-25-15,0-1 0,0 0 0</inkml:trace>
  <inkml:trace contextRef="#ctx0" brushRef="#br0" timeOffset="136328.1">22622 3664 0,'0'-13'16</inkml:trace>
  <inkml:trace contextRef="#ctx0" brushRef="#br0" timeOffset="136703.91">22754 3823 0,'0'27'0,"0"-14"0,0 0 16,0 0 0,13-13-16,-13 14 15,14-14 17,12-14-32,-26 1 15,13 13-15,1-13 16,-1 13-1,0 0-15,0 0 16,0 13 0,1 0-16,-14 1 15,26 12 1,-13-26 0</inkml:trace>
  <inkml:trace contextRef="#ctx0" brushRef="#br0" timeOffset="137519.26">23244 3731 0,'-14'0'0,"1"0"0,0 0 15,0 13 1,-14 27 0,14-14-1,0 0 1,26 1 0,0-27-16,1 0 15,-1 0-15,0 0 16,13-13-1,-12 13-15,-1-14 16,0 1 0,0 40 15,-13-14-15,0 0-1,14 0 1,-1-13-1,0-13 1,0 13 0,0-13-1,1 13 1,-1 13 0,-13 0-1,13 1 1,0-14 31,1-14-32,-1 14 1,-13-13 0,13 13-1,0 13 1,1-13-1,-1 0-15,-13 14 16,13-14 0,0 0-1,-13-14 17,13 14-17,1-13 1,-1 13-16,0-13 15,14 13 1</inkml:trace>
  <inkml:trace contextRef="#ctx0" brushRef="#br0" timeOffset="139894.07">22569 2394 0,'-27'0'0,"-12"14"16,26-1-16,-1 0 0,1 0 16,0 1-16,0-1 0,-1 0 15,-12 27-15,26-27 16,0 0-16,0 0 15,0 1-15,13-1 0,0-13 16,14 0 0,-14 0-16,0 0 0,27-27 15,-27 27-15,0-13 0,1 0 16,-1 0-16,0 13 0,0-13 16,1-1-16,-1 1 15,-13 26 16,13 14-15,-13-14 0,0 0-16,13 14 15,1-27-15,-14 13 0,13-13 16,-13 13-16,13-13 0,0 0 16,0 0-1,-13-13-15,0 0 16,0-1-16,0 1 15,-13 0-15,13 0 0,0 0 16,-13 13-16,13-27 16,13 27 15,0 13-15,14 1-1,-14-1-15,-13 0 0,13-13 16,1 13-16,-14 0 0,13-13 15,-13 14-15,0-1 0,13 0 16,0 0-16,-13 1 16,14-28 31,-14 1-32,13 0-15,-13 0 16,13 13-16,0-14 15,0 1 1,1 13-16</inkml:trace>
  <inkml:trace contextRef="#ctx0" brushRef="#br0" timeOffset="140152.48">22953 2527 0,'0'13'16,"13"13"-1,-13-12 1,0-1-16,13 0 16,-13 0-16,13 1 31,1-28-15,-14 1-16,13 13 0,0-13 15,-13 0-15,13-1 16,0 14-16,-13-13 0,14 13 15,-1 0 1,13 0 0</inkml:trace>
  <inkml:trace contextRef="#ctx0" brushRef="#br0" timeOffset="140799.42">23178 2659 0,'13'-26'15,"-13"12"1,13 14-16,-13-13 16,0 0-16,0 26 46,0 0-30,0 1 0,0-1-16,13-13 0,0 13 15,1-13-15,12 0 16,-13 0-16,1-13 16,-1 13-16,0-13 0,0 13 0,0-14 15,1 1-15,-1 0 0,0 0 16,0-1-16,-13 1 0,14 0 15,12-27-15,-26 27 16,0 0-16,13 13 0,-13-13 16,0 39 15,0 1-15,0-14-16,0 0 0,0 0 15,0 0-15,0 14 0,0-14 16,14 0-16,-14 1 15,0-1 1,-14-13-16,1 0 31,0 0-15,0 0-16,13-13 16,-14 13-1,28-14 1,-1 1-1,0 13-15,0-13 0,1 13 16,-1 0-16,0 0 0,0-13 0,0 13 0,1 0 16,12 0-16,27 0 15</inkml:trace>
  <inkml:trace contextRef="#ctx0" brushRef="#br0" timeOffset="141292.47">23958 2593 0,'13'-13'15</inkml:trace>
  <inkml:trace contextRef="#ctx0" brushRef="#br0" timeOffset="148363.92">17621 5834 0,'13'-13'15,"1"13"-15,12 0 0,-13-13 0,14 13 0,13 0 16,-14 0-16,27-14 0,79 14 16,-92-13-16,0 13 15,-14 0-15,14 0 0,-14 0 0,1-13 16,-1 13-16,1 0 0,-14 0 16,0 0-16,0 0 0,0 0 0,1 0 15,-28 26 1</inkml:trace>
  <inkml:trace contextRef="#ctx0" brushRef="#br0" timeOffset="148668.31">17423 6654 0,'198'-13'16,"-145"13"-16,0 0 0,0 0 16,0 0-16,0 0 0,-13 0 0,79 13 15,-93-13 1,1 0-16,-14 0 0,0 0 0,13 14 15,-12-14-15,-1 13 0,0-13 16,-13 13 0</inkml:trace>
  <inkml:trace contextRef="#ctx0" brushRef="#br0" timeOffset="149628.51">18838 5093 0,'66'-13'16,"-39"13"-16,-1-13 0,-12 13 0,12 0 15,1 0-15,-14 0 0,13-13 16,-13 13-16,1 0 0,-1 0 0,0 0 16,0 0-16,1 0 0,-1 13 15,0 0-15,0 13 16,-13 1-16,0-14 15,0 14-15,0 12 0,0 14 0,0-13 16,0 0-16,0-1 0,14 14 0,-14-13 16,0 13-16,0 0 0,0 0 15,0-14-15,13 27 0,-13-13 0,0 0 16,13 0-16,-13-13 0,13 26 0,-13-26 16,13 13-16,-13-14 15,14 1-15,-14 13 0,13-13 0,0 26 16,0-27-16,-13 1 0,0-13 15,14-1-15,-14 1 0,0-1 16,0-13-16,0 0 0,0 14 0,-14 13 16,14-27-16,-13 0 15,0 0-15,0-13 0,-14 14 16,14-1-16,-13 0 0,12-13 0,-12 13 16,-14-13-16,14 13 0,-1-13 0,1 0 15,-14 14-15,-13-14 16,27 0-16,-1 0 0,1-14 15,13 14-15,-1-13 0,1 13 0</inkml:trace>
  <inkml:trace contextRef="#ctx0" brushRef="#br0" timeOffset="150051.85">20042 5847 0,'0'14'15,"0"-1"-15,0 0 16,0 0-16,0 0 0,-13 14 15,13-14-15,0 14 0,-13-14 0,13 13 16,0-13-16,0 1 0,-14-1 0,14 13 16,0-12-1,0-1-15,14 0 0</inkml:trace>
  <inkml:trace contextRef="#ctx0" brushRef="#br0" timeOffset="150368.98">20227 5927 0,'-13'-14'0,"26"28"0,-39-1 31,26 0-15,0 27 0,26-14-1,-12-13-15,12-13 0,-13 14 16,1-14-16,-1 0 0,0 0 0,0 0 15,0-14 1,1 14-16,-14-13 0,0 0 0,-14 0 16,14 0-16,-13-1 15,0 1-15,13 0 0,-13 13 16,0-13-16,-1 13 0,14-14 16,-13 14-16,0-13 15</inkml:trace>
  <inkml:trace contextRef="#ctx0" brushRef="#br0" timeOffset="150623.46">20479 5953 0,'0'53'15,"13"-40"-15,-13 0 0,26 1 16,-12-14-1,-1 13-15,0-13 0,0-13 0,1 13 16,-1 0-16,-13-14 16,13 1-16,-13 0 0,0 0 15,0 0-15,0-1 0,0-12 16,-13 13-16,13-1 0,-13 1 16,-1 0-16,-12 13 15,13 0-15,-1 0 0,1 0 0,0 13 16,0-13-16,0 13 0,-14 1 15</inkml:trace>
  <inkml:trace contextRef="#ctx0" brushRef="#br0" timeOffset="151636.41">21087 5900 0,'-13'27'16,"0"-14"-16,0 0 0,13 0 0,-14 14 16,1-14-16,-27 66 15,27-65-15,13-1 0,-13 13 16,13-12-16,-26 25 15,26-26 1</inkml:trace>
  <inkml:trace contextRef="#ctx0" brushRef="#br0" timeOffset="151767.51">20889 5953 0,'0'-13'0,"-13"13"16</inkml:trace>
  <inkml:trace contextRef="#ctx0" brushRef="#br0" timeOffset="151902.39">21167 6125 0,'13'0'16,"-40"13"15,1-13-15</inkml:trace>
  <inkml:trace contextRef="#ctx0" brushRef="#br0" timeOffset="152862.6">18759 2342 0,'40'-14'16,"-27"1"-16,0 13 0,14 0 0,-14 0 0,0 0 16,0 0-16,14 0 0,-14 0 15,0 0-15,0 0 0,1 13 16,-1 1-16,0 12 0,-13-13 15,13 14-15,-13 12 0,0 14 0,0-13 16,0 13-16,14 13 0,-14 0 0,0 0 16,0 1-16,13-1 0,-13 0 15,0-13-15,26 79 0,-13-13 16,1-53-16,-1-13 16,0 0-16,0-13 0,1-1 0,-1 1 15,0 0-15,-13-1 0,13 1 0,1-13 16,-14 12-16,13-25 0,-13 12 15,0-13-15,0 14 0,-13-14 16,13 13-16,-14-12 0,1 12 0,0-13 0,0 1 16,-1-1-16,-12 0 0,13 0 15,-14-13-15,1 13 0,13-13 0,-14 0 16,1 0-16,12 0 0,-12 0 0,13-13 16,-14 13-16,14 0 0,-13-26 15,12 26-15,1-13 16,13-1-16,0 1 0,0 0 0</inkml:trace>
  <inkml:trace contextRef="#ctx0" brushRef="#br0" timeOffset="153103.6">19513 3056 0,'0'26'0,"0"-12"16,0 52-1,-13-40-15,0 27 16,13-40-16,0 14 16,-14-14-16,14 0 0,0 1 0,0-1 15,0 0-15</inkml:trace>
  <inkml:trace contextRef="#ctx0" brushRef="#br0" timeOffset="153391.73">19619 3175 0,'-27'26'15,"14"-26"1,13 14-16,0-1 0,13 0 15,-13 0-15,14 1 16,-1-14-16,-13 13 0,13-13 0,0 0 16,1 0-16,12 0 15,-26-13 1,13 13-16,-13-14 16,-13 1-16,0 0 15,0-14 1,-1 27-16,1-13 0,0 13 15,13-13 1</inkml:trace>
  <inkml:trace contextRef="#ctx0" brushRef="#br0" timeOffset="153656.28">19791 3149 0,'0'26'0,"0"0"15,0-12-15,0-1 16,0 0-16,13 0 0,0 1 16,14-1-1,-14-13 1,0 0-16,-13-13 16,0-1-1,0 1-15,-13 13 0,0-13 16,13 0-16,-27-1 15,14 14 1</inkml:trace>
  <inkml:trace contextRef="#ctx0" brushRef="#br0" timeOffset="153832.81">20122 3082 0,'0'40'0,"0"-27"16,0 1-16,-14-14 0,1 52 15,0-12 1,0-27-16,-1 27 16,14-27-1</inkml:trace>
  <inkml:trace contextRef="#ctx0" brushRef="#br0" timeOffset="153960.57">20029 3201 0,'-13'-13'0,"13"0"0</inkml:trace>
  <inkml:trace contextRef="#ctx0" brushRef="#br0" timeOffset="169447.41">5517 9168 0,'-27'13'15,"54"-13"1,105 13 0,-92-13-1,26 0-15,-13 0 0,0 14 16,-1-14-16,54 0 0,-53 13 15,0-13-15,-13 0 0,-1 0 0,14 13 16,-39-13-16,12 0 16,1 0-16,-14 0 0,0 0 15,0 0-15,14 13 16</inkml:trace>
  <inkml:trace contextRef="#ctx0" brushRef="#br0" timeOffset="170019.43">7276 9155 0,'13'13'0,"27"-13"16,13 0-16,-13 0 0,118 0 16,-39-13-1,-52 13-15,131 0 16,-105 0 15,-80 0-31,0 0 0,0 0 0,0 0 0,1 0 16,12 0-1,-13 0 1,1 0-16</inkml:trace>
  <inkml:trace contextRef="#ctx0" brushRef="#br0" timeOffset="171067.76">9036 9141 0,'66'0'15,"-27"0"-15,1-13 16,0 13-16,13 0 0,39-13 15,-12 13-15,-41 0 16,-12 0-16,-14 0 0,13 0 16,1 0-16,13 0 15,-14 0-15,1 0 0,12 13 16,27-13-16</inkml:trace>
  <inkml:trace contextRef="#ctx0" brushRef="#br0" timeOffset="171570.38">10848 9115 0,'106'0'0,"-80"0"16,67 0-16,13-13 0,-40 13 16,93-14-1,-107 14-15,1 0 0,-26-13 16,13 13-16,-14 0 0,-13 0 0,40 0 15,-40 0-15,1 0 16,-1 0-16,0 0 16,0 0-16,1 0 15,-1 0-15,0 0 16,0 0-16,27 0 16</inkml:trace>
  <inkml:trace contextRef="#ctx0" brushRef="#br0" timeOffset="172868.83">12859 9088 0,'26'0'15,"27"27"1,13-14 0,-26 0-16,119 27 15,-93-27-15,66 14 16,-66-14-16,14 0 0,78 14 15,-78-14-15,79 0 16,-80 0-16,106 1 16,80-14-1,105 0 1,-119 0-16,-92-14 16,-79 14-16,-14-13 0,66 0 15,-79 0 1,0 13-16,0-14 0,39-12 15,-52 26-15,26-26 0,14-14 16,-54 27 0,53-67-1,-65 41-15,-1-1 16,-13 27-16,0-40 16,-13 39-16,-1-52 15,14 40-15,-13-1 0,-13-39 16,-1 27-16,14 12 15,-13-26-15,-14 13 16,-13-12-16,13-1 16,14 26-16,-1 14 15,-39-40-15,27 27 0,-41-27 16,41 26-16,-1 14 0,-66-27 16,53 14-16,-66-1 15,53 14-15,0 0 0,0 0 16,-120-14-16,67 14 15,53 13-15,-40-13 16,0 13 0,-118-13-1,38-1-15,120 14 16,13 0-16,-132-13 16,66 13-16,53 0 15,13 0-15,-13 0 0,13 0 16,-106 13-16,106-13 15,0 0-15,-26 0 16,26 14-16,-13-14 0,26 13 16,1-13-16,-1 13 0,0-13 0,-26 26 15,40-26-15,-27 14 16,0 12-16,39-13 16,-12-13-16,13 14 0,-14-1 15,14 0-15,-27 14 0,1-1 16,25-13-16,1 14 15,-13-1-15,-1 14 16,1-14-16,13 1 0,-1-14 16,14 0-16,-13 14 0,0-14 15,0 27-15,13-27 0,0 0 16,-13 27-16,13-14 0,0 27 16,13-26-16,-13-14 15,0 40-15,13 0 16,0-14-16,0-12 15,1-1-15,-14-13 0,26 40 16,-13-39-16,1-1 0,-1 13 16,0-12-16,0-1 0,27 26 0,0-12 15,-27-14 1,40 0-16,-40 1 0,53-1 16,-39 0-1,-1 0-15,1-13 0,12 14 16,-12-14-16,-1 13 0,1-13 15</inkml:trace>
  <inkml:trace contextRef="#ctx0" brushRef="#br0" timeOffset="185869.9">4842 9948 0,'0'-13'0,"0"0"0,0 0 31,-13-1-31,-1-12 16,-12-1-1,-40-12-15,39 26 16,1-1-16,-53-12 0,39 13 16,0-1-16,0 1 15,1 13-15,-1-13 0,-26 0 16,26 13-16,14 0 0,-54 0 15,41 0-15,-80 26 16,79-13-16,0 14 0,14-1 16,-40 27-16,39-13 0,-12 0 15,25-1-15,-12 14 16,-1 0-16,14-13 0,13 0 0,-13 52 16,13-12-16,0-28 15,13-12-15,-13 0 0,13 0 0,27 52 16,-13-65-16,-1 12 15,0-12-15,94 39 16,12-26 0,-79-40-16,304-80 31,-304 67-31,0-27 16,145-198-1,-198 198-15,13 1 16,-26-41-16,-27 1 15,-12-14-15,12 54 0,13-1 16,-12 0-16,-1 14 16,-13-1-16,-26-26 15,52 40-15,-79-26 0,80 25 16,0 14-16,-14-13 16,27 13-16,-1 0 0,14 13 15,27 1 1,13-1-1</inkml:trace>
  <inkml:trace contextRef="#ctx0" brushRef="#br0" timeOffset="192839.36">8678 10504 0,'80'40'16,"-41"-27"-16,-12 0 0,-1 0 16,14 1-16,-14-14 0,1 13 0,-1-13 15,14 13-15,0-13 0,-1 13 16,1-13-16,-13 0 0,12 0 0,-12-13 16,-1 13-16,14 0 0,-14-13 15,1 13-15,12-13 0,-12-1 0,-1 14 16,1-13-16,-1 0 0,-12 0 15,12-1-15,-13 1 0,14 0 0,-14 0 16,13 0-16,-12-14 0,-1 27 0,0-26 16,-13 12-16,13 1 0,1 0 15,-1 0-15,-13-1 0,13 1 0,-13 0 16,0 0-16,13 0 0,-13-1 16,0 1-16,0 0 0,0-14 15,0 14-15,0 0 0,0 0 0,0-1 16,0 1-16,0 0 0,0 0 15,0 0-15,0-1 0,0 1 16,0 0-16,0 0 0,0-14 16,0 14-16,0 0 15,-13-14-15,13 14 0,0 0 0,-13-14 16,0 14-16,-1 0 0,1 0 16,13-1-16,-13-12 0,0 13 15,-14-1-15,14 1 0,-40-26 16,-13 12-16,0 1 15,26 12-15,0 14 16,-39-13-16,39 0 0,-26 13 16,40-13-16,-1 13 0,-12 0 0,12 0 15,-39-13 1,39 13-16,-12 0 0,12 0 0,-12 13 16,12-13-16,-13 0 0,14 13 15,0 0-15,-14 0 0,13 1 0,1 12 16,-1-13-16,1 14 0,0-1 0,12 1 15,-39 39-15,40-26 0,0-1 16,0 1-16,0 0 0,-1-1 16,14 14-16,-13 27 15,13-41-15,0 41 0,13-41 16,1-12-16,-1-1 0,13 14 16,40 0-16,0-14 15,-13-26-15</inkml:trace>
  <inkml:trace contextRef="#ctx0" brushRef="#br0" timeOffset="193698.54">10993 9829 0,'-26'-26'15,"13"13"-15,0-1 0,-1 14 16,1-13-16,-40-13 16,27 26-16,-40-27 0,-67 14 15,94 13-15,-1 0 16,0 0-16,1 0 16,-1 13-16,-40-13 0,1 27 15,39-14-15,1 0 0,-1 0 0,14 14 16,-1-14-16,-26 40 15,27-13-15,12-14 0,1 14 0,0-1 16,-13 41-16,26-40 0,0-1 16,0 1-16,0 0 0,13-1 15,0 1-15,0 0 0,14-1 16,-1-12-16,40 52 0,-26-39 0,0-14 16,39 27-1,0-13-15,-39-14 0,53 1 16,-54-27-16,14 13 0,-13 0 15,0-13-15,-14 0 0,14 0 16,0-13-16,-1 13 0,1-13 0,0 0 16,-1-1-16,1 1 0,-14-13 0,14 12 15,-13-12-15,-1 0 0,40-27 16,-13 0-16,-40 13 16,14 14-16,-14-14 0,13-39 15,-12 39-15,-14 13 0,0-12 16,0-1-16,0 0 0,-14 1 15,-12-28-15,0 1 16,-27 13-16,26 27 0,1-1 16,-67-39-1,27 13-15,40 27 0,-27-67 16,53 67 0</inkml:trace>
  <inkml:trace contextRef="#ctx0" brushRef="#br0" timeOffset="195259.35">18045 2249 0,'-27'-66'16,"14"53"-16,0-67 16,-14 27-16,14 0 0,0 0 15,0 14-15,-14-41 0,14 14 16,13 53-16,-13-13 15,13 12-15,-14-12 0,14 13 16,27 26 0,26 66-1,-27-39 1,14 0-16,-14-1 0,1 1 0,13-14 16,-14 14-16,14 13 0,-14-26 15,-13-14-15,14 13 16,-14 1-16,0-1 15,-26 1-15,-13-14 16,-54 0 0,27-13-16,14 0 0,-14 13 15,0-13-15,13 0 0,-13 0 0,13 0 16,14 0-16,-14 0 0,14 0 16,-1 0-16,1 0 0,13-13 0,-14 13 15,14-13-15,0 13 16,13-13-16,13-1 15,0-12-15,14-1 0,39-25 16,13-28-16,-39 40 0,0 1 16,-1-1-16,41-39 15,-1-14-15,-52 53 16,-14 27-16,0 0 0,0 0 16,-13 0-16,13-1 15,-26 54 16,0-14-31,0 1 16,0 13-16,-1 52 0,-25 1 16,25-40-16,-12 53 15,13-67-15,-1 1 0,1-14 16,0 14-16,0-14 0,0 1 0,-1 26 16,1-27-16,0-12 15,13-1-15,0 0 0,-13-13 16,13 13-16</inkml:trace>
  <inkml:trace contextRef="#ctx0" brushRef="#br0" timeOffset="196399.31">18018 5159 0,'-53'-158'15,"40"118"-15,0-13 16,0-66-16,-1 79 15,1 1-15,0-28 0,13 41 16,0 0-16,0 12 0,0 1 0,-13-13 16,26 26-16,-13-14 15,26 41 1,-12-14-16,-1 27 0,13-14 16,27 40-16,-26-26 0,-1 0 15,1-1-15,-1-12 0,0-1 16,1 1-16,13 26 0,-27-27 15,13 1-15,-26-14 16,0 0-16,-13 0 16,-27 1-16,27-1 15,-106 0-15,66-13 16,-66 0-16,13 0 16,53 0-16,-79 0 15,79 0-15,27 0 16,12 0-16,1-13 15,13 0-15,13-1 16,14-12-16,92-54 16,-66 54-16,13-14 0,53-26 15,0 0-15,0-13 16,-66 52-16,0 1 0,-27 13 16,14-14-16,-13 14 0,-1 0 15,-13-1-15,-13 41 31,-13-14-31,-13 14 0,-27 39 16,-13 13 0,13 0-16,0-12 15,13-1-15,-39 66 16,65-106 0,14-12-16,-13 12 0,0-13 15,13 14-15,-13-1 16,0-12-1</inkml:trace>
  <inkml:trace contextRef="#ctx0" brushRef="#br0" timeOffset="197385.25">18600 3929 0,'13'13'15</inkml:trace>
  <inkml:trace contextRef="#ctx0" brushRef="#br0" timeOffset="201971.69">18018 4167 0,'212'-39'16,"-186"12"-16,14 14 0,0 0 0,-1-1 15,1-12-15,26-1 0,-13-12 16,-40 26-16,1-1 0,12 1 16,-13 0-16,0-27 15,-13 27-15,0 0 0,0-14 0,-13 14 16,13-13-16,-26-1 0,-27-26 15,26 40-15,-12-14 0,-1 1 16,0 0-16,-52-27 0,52 39 16,0 1-16,-52-13 15,52 12-15,-66 1 0,53 0 16,0 13-16,0 0 0,14 13 16,-14-13-16,13 13 0,-13 1 15,-26 12-15</inkml:trace>
  <inkml:trace contextRef="#ctx0" brushRef="#br0" timeOffset="207056.3">18269 5728 0</inkml:trace>
  <inkml:trace contextRef="#ctx0" brushRef="#br0" timeOffset="208788.5">12105 10583 0,'172'0'0,"-53"-13"16,-66 13-1,-14 0-15,27 0 0,-26 0 16,-13 0-16,-1-13 0,1 13 0,-1 0 15,-13 0-15,0 0 16,14 0-16,-14 0 0,0 0 16</inkml:trace>
  <inkml:trace contextRef="#ctx0" brushRef="#br0" timeOffset="209428.32">11853 10729 0,'119'-13'16,"-79"13"-1,66 0-15,-66 0 0,13 0 16,-1 0-16,1 0 0,0 0 15,0 0-15,0 0 0,0 0 16,0 0-16,-13 0 0,-1 0 0,-12 0 16,26-14-16,-27 14 0,-13 0 15,14 0-15,-14 0 0,0 0 16,1 0-16,-1 0 0,0 0 16,0 0-1,0 0-15,1 0 16,-1 0-1,0 14 1,0-14 31</inkml:trace>
  <inkml:trace contextRef="#ctx0" brushRef="#br0" timeOffset="213547.63">15518 10557 0,'79'26'15,"-26"-12"-15,-26-1 16,52 13-16,-53-26 15,14 13-15,26 1 0,-39-1 0,-1-13 16,40 0-16,-26 0 16,-14 0-16,41-13 0,-41 13 15,14-14-15,-1 14 0,28-13 16,-15-13-16,-38 13 16,12 13-16,-13-14 0,27-12 15,-13 13-15,-14-1 0,26-12 16,-25 13-16,-1 0 0,0-1 15,0 1-15,-13 0 0,27-27 16,-14 14-16,-13 12 16,13-12-16,-13 0 15,0-1-15,0 14 0,0-14 16,0-26-16,-13 14 16,0 12-16,13 1 15,-27-1-15,14 14 16,-13-27-16,-14 14 15,0 0-15,27 12 0,-13-12 16,-14 13-16,27-1 0,-27 1 16,0-13-16,-13-1 15,40 27-15,-13-13 0,-14 0 16,0-14-16,14 27 16,13-13-16,-1 13 0,-12 0 15,13-13-15,-27 0 0,0 13 16,14-14-16,13 14 15,-14 0-15,-12-13 0,-1 13 16,27 0-16,-14 0 0,14 0 16,-27 0-16,14 0 15,-1 0-15,14 0 0,-13 0 16,-27 13-16,26 1 16,-12 12-1,25-26-15,1 13 0,-40 27 16,40-27-16,0 0 15,-27 14 1,27-1-16,0-12 16,-14 25-16,14 1 15,0-14 1,-1 14-16,14-13 16,0 12-1,0-12-15,0-1 16,0 14-16,0-14 15,0 1-15,14-14 16,-14 0-16,0 14 0,13 12 16,0-25-16,-13-1 0,13 0 15,1 14 1,25-1-16,-25 1 16,12-14-16,0 0 15,-12 0-15,25 0 16,1 1-16,-27-14 15,14 13-15,-1-13 0,1 13 16,-14-13 0,0 0-16,14 13 0,-1-13 15,14 14 1,-27-14-16,0 0 0,0 0 16,14 13-1,-14-13-15,0 0 16,1 0-1,-1 0 1,0 13 31,-26-13 15,0 13-46,-1-26 0,1 13-16,13-13 0,-13 0 15</inkml:trace>
  <inkml:trace contextRef="#ctx0" brushRef="#br0" timeOffset="-214641.04">18574 2302 0,'-13'13'31,"39"-39"-15,-13 26-1,40-40-15,-26 13 0,12 1 16,1-14-16,66-65 16,13-28-16,-53 67 0,0 0 15,-13 26-15,0-13 0,79-92 16,-79 118-1,-13-12-15,52-41 0,-65 54 16,-14 13-16,14-1 16,-14 1-16,-13 0 0,13 13 0,0-13 15,-13-1-15,14 1 16,-14 0 15,-14 13-31</inkml:trace>
  <inkml:trace contextRef="#ctx0" brushRef="#br0" timeOffset="-214357.25">19460 1244 0,'119'-27'16,"-92"27"-16,12 0 0,-12 13 15,92 14-15,-93-14 16,27 40-16,-26 0 16,-1 53-1,-26-67-15,-13 54 16,-14-40-16,14 0 0,-26 53 15,12-67-15,14 14 0,0-26 16</inkml:trace>
  <inkml:trace contextRef="#ctx0" brushRef="#br0" timeOffset="-211821.96">6800 11060 0,'-40'-27'16,"0"14"0,14 0-1,0 13-15,-27 0 16,26-14-16,-13 14 0,14 14 0,-14-14 16,-13 13-16,-26 13 15,-14 14-15,54 0 16,-1-14-16,-79 93 15,79-66-15,-13 40 16,27 26-16,13-66 0,-1 66 16,41 53-1,26-66 1,-27-67-16,120 133 16,-40-92-16,-53-54 15,105 67 1,1-27-16,-106-53 15,0 0-15,39 1 0,-39-1 16,66 0-16,-13-26 16,-40 13-16,53-27 15,1 1-15,-54-1 16,-13 1-16,0-1 0,-1 14 0,94-66 16,-80 39-1,0 1-15,0-1 16,-26 0-1,-13 14-15,12-54 16,-26 54-16,1-1 16,12-39-16,-13 13 15,14-26 1,-14 66-16,0-40 16,-13 26-16,0 14 0,14-66 15,-14 39 1,0 27-16,-14-14 0,-12-65 15,-1 26 1,14 39-16,0 1 16,0-1-16,-27-12 0,27 25 15,-27-39-15,27 40 16,-53-40 0,26 14-16,0 12 15,-79-39 1,80 53-16,12 0 15,-79-40-15,0 26 16,1 1 0,65 26-16,-39 0 15,26 0-15,-93 13 16,93-13 0,-172 66-16,159-39 15,-106 52-15,53-26 16,13 26-16,53-39 15,14 0-15,-1 12 16,0-12-16,-26 66 0,26-13 16,27-54-16,13 41 15,13-54-15</inkml:trace>
  <inkml:trace contextRef="#ctx0" brushRef="#br0" timeOffset="-211184.55">8850 11986 0,'40'13'16,"0"-13"-1,-14-13-15,54 13 0,12-14 16,-39 14-16,-13-13 0,13 13 15,-14-13-15,27 0 16,-13-1-16,-26 14 16,-14-13-16,27 13 15</inkml:trace>
  <inkml:trace contextRef="#ctx0" brushRef="#br0" timeOffset="-210936.22">8744 12158 0,'106'0'15,"-79"0"-15,396-14 31,-396 14-31,25 0 0,-12 0 16,-27 14-16,1-14 16,12 0-16,-13 0 15,1 0-15,-1 0 0</inkml:trace>
  <inkml:trace contextRef="#ctx0" brushRef="#br0" timeOffset="-209651.18">10332 12012 0,'185'0'16,"-132"0"-16,66 0 16,-39-13-16,78 13 15,-65 0-15,-14 0 0,106 0 16,107 0-16,-200 0 15,107-13-15,-107 13 0,1 0 16,-1 0-16,94 0 16,-14 0-16,-14 0 15,-39 0-15,-66 13 16,0-13-16,-13 0 0,-14 0 16,1 0-16,-1 0 0,1 0 15</inkml:trace>
  <inkml:trace contextRef="#ctx0" brushRef="#br0" timeOffset="-209337.37">11430 12237 0,'159'13'16,"-106"-13"-16,238-13 16,-225 13-16,93-13 15,171 0 1,-264 13-16,159 0 31,-211-14-31,-1 14 16</inkml:trace>
</inkml:ink>
</file>

<file path=ppt/ink/ink18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4:43:18.468"/>
    </inkml:context>
    <inkml:brush xml:id="br0">
      <inkml:brushProperty name="width" value="0.05292" units="cm"/>
      <inkml:brushProperty name="height" value="0.05292" units="cm"/>
      <inkml:brushProperty name="color" value="#0070C0"/>
    </inkml:brush>
  </inkml:definitions>
  <inkml:trace contextRef="#ctx0" brushRef="#br0">8480 1363 0,'-13'0'16,"52"-14"-1,1 1-15,79 0 0,132-14 16,-118 14-16,-14 0 15,13 0-15,159-27 16,-145 27-16,12 0 0,1-1 0,13 1 16,-13 0-16,158-14 15,-158 27-15,-13-13 0,-1 0 0,-13 13 16,1-13-16,-41 13 0,14 0 0,-13 0 16,-14 0-16,1 0 0,-28 0 15,1 0-15,-13 0 0,-13 0 0,-1 13 16,0-13-16,1 0 0,-14 0 15,-13 13-15,-26 0 16,12 1 0</inkml:trace>
  <inkml:trace contextRef="#ctx0" brushRef="#br0" timeOffset="299.62">9168 1601 0,'119'-13'0,"-53"-1"16,13 1-16,40 0 0,14-14 0,145-12 16,-133 25-16,14-12 0,13 13 15,-13 0-15,13-14 0,158 1 16,-171 26-16,-13-14 0,12 1 15,-25 13-15,-1-13 0,-40 13 0,1 0 16,0 0-16,-14 0 0,-13 0 16,-13 0-16,0 0 0,-13 13 0,-14-13 15,14 13-15,-27 1 16,-13-1-16,-13 0 16</inkml:trace>
  <inkml:trace contextRef="#ctx0" brushRef="#br0" timeOffset="15072.01">4895 2699 0,'79'0'16,"-39"0"-16,13 0 15,0 0-15,145-13 16,-118 13-16,-14 0 0,13 0 0,-13-14 16,53 14-16,-53 0 15,-13 0-15,53-13 0,0 13 16,-80 0-16,1 0 16,-1 0-16,1 0 15,-14 0-15</inkml:trace>
  <inkml:trace contextRef="#ctx0" brushRef="#br0" timeOffset="15319.84">5609 2844 0,'93'-13'16,"-1"0"-1,-39 13-15,0-13 16,0 13-16,0 0 0,0-14 16,0 14-16,92-13 15,-65 13-15,-27 0 0,-40 0 16,27 0 0,-27 0-16,0 0 0,0 0 0,1 0 15</inkml:trace>
  <inkml:trace contextRef="#ctx0" brushRef="#br0" timeOffset="16824.79">19579 2725 0,'159'0'0,"-93"0"15,93 0-15,-53 0 16,-1 0-16,107 0 0,-80 0 16,14 0-16,-14 0 0,1 0 0,-1 0 15,106 13-15,-106-13 16,-26 0-16,93 14 0,-94-14 16,67 13-16,-79 0 0,-14-13 15,1 13-15,-27-13 0,52 0 16,-65 14-16,-13-14 0,-1 0 15,0 0-15,-12 0 0,-1 0 16,0 13-16,0-13 0,14 0 16,-14 0-16,0 0 15,-39 0 17,13 0-17,-27 0-15,27 0 0</inkml:trace>
  <inkml:trace contextRef="#ctx0" brushRef="#br0" timeOffset="18196.09">2355 3453 0,'-13'0'16,"39"-13"0,-13 13-16,40 13 15,0-13-15,66 13 0,-39-13 16,-1 0-16,14 13 0,-1-13 15,107 13-15,52-13 16,-119 0-16,0 0 0,1 0 16,78-13-16,-78 13 15,-27 0-15,105-13 0,-105 13 0,92-13 16,-92 13-16,-13 0 16,0 0-16,145-13 15,-185 13-15,0-14 0,-1 14 0,-25 0 16,13 0-16,-14 0 15,0 0-15,27 0 0,-39 0 16,-1 0-16,0 0 0,0 0 0,1 0 16,-1 0-16,0-13 0,0 13 15,0 0-15,1 0 16,-1-13 0,0 13-1</inkml:trace>
  <inkml:trace contextRef="#ctx0" brushRef="#br0" timeOffset="19537.97">10014 3519 0,'212'13'15,"-146"-13"1,14 0-16,-1 13 0,80 1 16,92 12-16,-158-26 15,-1 13-15,80 1 16,0-1-16,-92 0 0,65 0 16,-12-13-16,-81 13 15,1-13-15,0 0 16,0 0-16,-13 0 0,26 14 0,-40-14 15,14 0-15,-13 0 16,-1 0-16,-13 0 16,27 0-16,-27 0 0,0 0 15,1 0-15,-1 0 16,0 0-16,0 0 16,1 0-1,-1-14 1,0 14-1,0 0-15,0 0 32,1 0-32,-1 0 15,13-13 17,-12 13-32,-1 0 15,0 0-15,14-13 0,-14 13 16,13-13-16,-13 13 15,14-13-15,-14 13 0,14-14 16,12 1-16,-25 13 0,12-13 16,0 0-16,1-1 15,-1 1 1,-12 0-16,-1 13 16,0-13-16,0-1 15,1 1 1,-14 0-16,13 13 15,0-13 1,-26 0 15</inkml:trace>
  <inkml:trace contextRef="#ctx0" brushRef="#br0" timeOffset="21021.76">12316 2712 0,'106'-13'16,"-66"13"-16,-27 0 16,0-13-16,14 13 0,-14 0 0,13 0 15,1 13-15,-14-13 16,0 0-16,1 0 0,-14 13 16,26 0-16,-26 14 15,13-14-15,-13 0 0,14 0 16,-14 1-16,13 39 0,0-27 15,0 14-15,0-14 16,1 14-16,12 26 0,-13-40 0,27 67 16,-27-53-16,1-14 15,-1 1-15,13 26 16,1-1-16,-27-38 16,13 12-16,0 14 0,-13-27 15,0 13 1,0-12-16,0-1 0,-13 0 0,-14 14 15,14-27-15,0 13 16,0-13-16,-53 13 16,13-13-1,13 0-15</inkml:trace>
  <inkml:trace contextRef="#ctx0" brushRef="#br0" timeOffset="22116.81">8493 2699 0,'-13'-13'0,"0"13"16,-1-14-16,1 14 15,0 0-15,0 0 16,-14 0-16,14 0 15,0 0-15,-14 14 16,14-14-16,-13 13 16,12 0-16,1 13 15,0-12 1,0-1-16,13 0 0,-13 0 0,-1 14 16,14-14-16,0 27 15,-13-14-15,13 1 16,0-14-16,13 0 0,-13 14 0,0-14 15,0 13-15,0-13 0,0 14 16,14 13-16,-14-27 0,0 13 16,0 14-16,0-27 0,0 0 15,13 1-15,-13 25 16,0 1-16,0-27 16,0 40-1,0-40-15,0 1 16,0-1-16,0 0 0,0 0 0,0 1 15,0-1-15,0 0 32,0 0-32,0 0 15,0 1-15,0-1 16,13-13 0,-13 13-16,13-13 0,-13 13 0,13-13 0,14 14 15,-1-14-15,-12 13 16,12-13-16,1 0 15,65 0-15,-65 0 16</inkml:trace>
  <inkml:trace contextRef="#ctx0" brushRef="#br0" timeOffset="22963.43">9260 3479 0,'146'-13'0,"-93"0"0,66 13 15,-40-13-15,14 13 16,171-14-16,-171 1 16,106 0-16,-94 13 0,-12 0 15,92-13-15,-26 13 16,-93 0-16,-13-14 0,0 14 16,-13 0-16,-1 0 0,1 0 15,-27 0-15,27 0 0,-27 0 16</inkml:trace>
  <inkml:trace contextRef="#ctx0" brushRef="#br0" timeOffset="23222.55">10107 3506 0,'331'-27'16,"-252"27"-16,345-13 16,-147 13-1,-118 0-15,-106 0 16,-13 0-16,-14 13 0,14-13 15</inkml:trace>
  <inkml:trace contextRef="#ctx0" brushRef="#br0" timeOffset="27892.79">10570 4366 0,'93'26'0,"-40"-26"16,66 13-16,-40-13 0,14 0 0,-1 0 15,146 14-15,-105-14 16,145 0-16,-146 0 16,132 0-16,-12 0 0,-146 13 15,13-13-15,-14 0 0,1 0 16,-13 0-16,13 0 16,-14 0-16,67 0 0,-106 0 0,13 0 15,-13 0-15,-13 0 0,13 13 16,-14-13-16,-12 0 15,-14-13-15,0 13 0,-66 0 47</inkml:trace>
  <inkml:trace contextRef="#ctx0" brushRef="#br0" timeOffset="28350.78">11046 4538 0,'40'13'16,"-27"-13"-16,27 0 0,13-13 0,92 13 15,-65 0-15,12 0 0,14-14 16,27 14-16,105 0 16,-106 0-16,0 0 0,-13 0 0,-13 0 15,106 0-15,-120 14 16,1-14-16,0 0 0,-1 13 0,146 0 16,-198-13-1,13 0-15,-40 13 16,14-13-16,-1 0 0,1 0 15,-14 0-15,0 0 32,0 14 61</inkml:trace>
  <inkml:trace contextRef="#ctx0" brushRef="#br0" timeOffset="30876.89">5741 6482 0,'199'0'16,"-67"0"0,27 0-16,26 0 15,14 0-15,-94 0 16,134-13-16,-28 13 16,-12 0-16,-1 0 15,-26 0-15,-93 0 16,27 0-16,0 0 15,-66 0-15,-14 13 0,1-13 0,-14 0 16,13 0-16,-12 0 0,12 0 16,-13 0-16,1 0 0,-1 0 15,0 0-15,0 0 32,0 0 30</inkml:trace>
  <inkml:trace contextRef="#ctx0" brushRef="#br0" timeOffset="33531.06">13798 6403 0,'26'13'16,"14"0"-16,-27 1 15,54-1-15,-28 0 0,41 0 16,12 14 0,1-14-16,-53 0 15,12 0-15,120 14 16,-66-14-16,-53-13 16,53 0-16,-53 0 0,66 0 15,-66 0-15,39 0 16,-52 0-16,26-13 0,-39 13 15,-1 0-15,54-13 16,-41-1-16,1 1 16,-27 13-16,0-13 15,27 13-15,-13-13 16,-14 0-16,13-1 16,-12 14-16,-1-13 0,0 0 15,13 0 1,-12-1-16,-1 14 15,13-26-15,-12 26 16,12-13 0,-13-1-16,27 1 15,-40 0-15,13 13 16,-13-13-16,27-14 16,-1 1-1,-26 13-15,13 13 16,-13-27-1,14-13 1,-14 27-16,0 0 0,0 0 16,0-27-1,0 27-15,-14-27 16,14 0-16,-13 27 16,0-40-1,0 27 1,-1-1-1,14 14-15,-53-40 16,27 14 0,13 12-1,-14 14-15,-12-27 16,25 27 0,-12-13-1,0 12-15,-27-12 16,-14-1-1,41 27-15,-53-26 16,52 26-16,-65-13 16,65 13-16,-26-14 15,0 14 1,27 0-16,-54 0 0,-25 0 16,52 0-1,-13 0 1,-14 14-1,14-14-15,13 13 16,-13-13-16,26 13 16,-13 0-1,14-13-15,-14 14 16,26-1 0,1 0-16,-1-13 15,-26 27 1,1-1-16,-1-13 15,13 0 1,27 1-16,-53-1 16,52 0-16,1-13 15,-53 40 1,26-27-16,27-13 0,-40 40 16,40-27-1,-27 13 1,0 14-16,14-13 15,13-14-15,-27 40 16,14-14 0,-1 1-16,1 0 15,13-1-15,13-25 16,-14 39-16,14-27 16,0 14-1,0-1-15,0 1 16,14-13-1,-1-1-15,0-13 16,0 1-16,0-1 16,14 0-1,13-13-15</inkml:trace>
  <inkml:trace contextRef="#ctx0" brushRef="#br0" timeOffset="35775.47">19368 5689 0,'-53'-53'15,"39"53"-15,1 0 0,-13-14 16,-14 1-16,14 13 16,12 0-16,-12 0 15,-27 13-15,26-13 16,-12 14-16,-41 25 15,54-25-15,-27 12 16,40-13-16,-40 40 16,13 0-1,14-13-15,12-14 16,-12 14-16,13 0 16,13-14-16,-13 27 0,13-13 15,0-1 1,0-12-16,0-14 0,0 40 15,13-13-15,0-1 16,0-12-16,27 52 31,-27-52-31,14-1 0,12 14 16,-25-27-16,52 27 16,-13-27-1,-27 0-15,106 27 16,-105-27-16,92 14 15,-66-14-15,13 0 16,13 0 0,-39 0-16,0-13 0,79 14 15,13-1 1,-66-13-16,14 0 16,-41 0-1,54 13-15,-53-13 16,-1 0-16,120-13 15,-133 13-15,80 0 16,-40 0 0,-39-13-16,66 13 15,-14-14-15,-26 1 16,26 13 0,-52-13-16,26 0 15,-27 13-15,0 0 0,67-40 16,-27 27-1,-39 0 1,-1-1-16,-13 14 0,53-39 16,-39 12-1,-14 27-15,14-26 16,-14 13-16,40-27 16,-27 0-16,14-13 15,-27 40 1,-13 0-16,13 0 0,1-14 15,-1 1-15,0-1 16,-13-13-16,13 14 16,1-14-1,-14-13-15,0-13 16,0 53 0,-14-40-1,1 0 1,0 14-16,0 25 15,-14-25-15,14 25 0,-14-12 16,1-1-16,0 14 16,-27-26-16,26 25 15,-26-25-15,-13 12 16,0-13 0,53 27-16,-40-13 15,26 13 1,14 13-16,-53-40 15,40 27-15,-41-1 16,28 1 0,-41-13-1,1 13-15,13-1 16,0 14-16,-40-13 16,53 0-1,40 13-15,-53 0 16,26 0-1,-26 0 1,52 0-16,-12 0 16,13 0-16,-80 0 15,67 0-15,-1 13 16,-12-13-16,-14 0 16,0 13-1,0 1 1,40-14-16,-1 0 0,-12 0 15,-1 13 1,1-13-16,13 13 16,-14-13-16,1 13 15,-1 0 1,1-13 0,13 0-16,-27 14 15,0-1 1,14 0-16,13-13 15,-1 0-15,1 13 0,0-13 16,-27 14 0,27-1-16,-13-13 15,-1 13 1,14-13-16,0 13 16,-14 0-16,1 1 31,-1-14-31,1 13 15,13-13-15,-1 13 32</inkml:trace>
  <inkml:trace contextRef="#ctx0" brushRef="#br0" timeOffset="36859.93">21365 4419 0,'0'-14'16,"0"54"0,-13 13-1,13 13 1,0-39 0,13-1-16,-13 0 0,0-12 15,0-1-15,0 0 0,0 0 16,0 1-16,13-1 15,1 0-15</inkml:trace>
  <inkml:trace contextRef="#ctx0" brushRef="#br0" timeOffset="37257.1">21220 4379 0,'0'-40'0,"13"14"16,13 12-16,1 14 15,-14-13-15,27 13 16,-1-13-16,14 26 16,-13 0-16,-27-13 15,14 27-15,-14-14 16,-13 0-16,-13 14 16,-14 13-16,14-27 15,-14 0-15,-12 27 16,12-27-16,14 0 15,-13 0-15,12-13 16</inkml:trace>
  <inkml:trace contextRef="#ctx0" brushRef="#br0" timeOffset="37556.78">21815 4061 0,'-40'27'16,"40"-14"-16,-26 40 0,13-13 15,-14 26-15,14-13 16,-14 26-16,27-39 0,0-1 15,-13 1-15,13 26 0,0-39 16,0-1-16,13-13 0,1 40 16,-1-26-1,0-14-15,-13 0 0,13-13 16,1 0-16,12 0 16,-13 0-16</inkml:trace>
  <inkml:trace contextRef="#ctx0" brushRef="#br0" timeOffset="38074.08">22027 4339 0,'0'-13'16,"0"39"-1,-14 41 1,1-15 0,13-12-16,0-27 15,-13 27-15,0-27 16,13 14-16,0-14 16,-14 0-1,28-39 1,-1-14-1,-13 14-15,0-1 16,13 1-16,-13-14 0,27-66 16,-14 80-1,-13-1-15,0 14 16,26-27 0,-13 40-16,1 0 15,-1 0-15,0 27 16,0-1-16,1 27 15,-1 0 1,-13-40-16,0 40 16,13-26-1,-13-1 1,0-13-16</inkml:trace>
  <inkml:trace contextRef="#ctx0" brushRef="#br0" timeOffset="38323.93">22000 4471 0,'13'0'16,"1"-13"-16,-1 13 0,13 0 16,-13-13-16,14 13 15,-1 0-15,-12-13 16,12 13-16,-13-13 16,1 13-16,-1 0 15</inkml:trace>
  <inkml:trace contextRef="#ctx0" brushRef="#br0" timeOffset="39291.96">22423 4207 0,'0'26'16,"0"-12"-16,0-1 0,14 13 0,-14 1 16,0-1-16,0 27 0,0-26 15,0-1-15,0 27 16,0 0-16,0-27 0,0-12 15,0-1-15,0 0 0,0 0 0,0 0 16,0 1-16,0-1 16,0 0-16,13-13 15,13-13 1</inkml:trace>
  <inkml:trace contextRef="#ctx0" brushRef="#br0" timeOffset="39564.23">22754 4286 0,'13'-13'0,"-13"53"31,0-27-31,-13 13 15,13 14-15,0 0 16,0-14-16,0-13 0,0 1 16,0 25-16,-13-12 15,13-14-15,0 0 16</inkml:trace>
  <inkml:trace contextRef="#ctx0" brushRef="#br0" timeOffset="40088.86">22767 4273 0,'14'-13'0,"-1"13"0,13 0 15,-12 13 1,-14 0 0,-14 0-16,14 1 0,-13-1 15,0 13-15,0-26 16,13 14-16,-14-14 0,14 13 0,0 0 16,0 0-1,14-13 1,12 27-1,1-14-15,-14 0 16,0 0-16,-13 1 0,0-1 16,0 0-1,-13 0-15,-14 1 16,14-1-16,0-13 16,13 13-16,-13-13 0,-1 0 15,1 0 1</inkml:trace>
  <inkml:trace contextRef="#ctx0" brushRef="#br0" timeOffset="40500.83">22992 4008 0,'133'186'16,"-120"-160"-16,0 14 16,-13-14-16,13 14 0,-13-14 0,-13 54 15,0-54-15,-27 40 16,14-26-16,12-13 0,-12-1 15,-14 14-15,1-14 16,39-13-16,-14-13 0,1 14 0</inkml:trace>
  <inkml:trace contextRef="#ctx0" brushRef="#br0" timeOffset="41515.99">22900 4762 0,'13'106'16,"0"-92"-16,-13 12 0,13 27 16,-13-27-16,0 1 0,14 52 15,-14-52-15,0-1 16,0 1-16,13 26 16,-13-40-16,0 0 15,0 0-15,0 0 0,13-13 16,-13 14-16,0-1 15,-26-40 17</inkml:trace>
  <inkml:trace contextRef="#ctx0" brushRef="#br0" timeOffset="42249.79">22966 4789 0,'-40'40'31,"27"-14"-16,0-13-15,-1 1 0,1 25 16,0-26-16,0 14 16,0-14-16,-1 0 0,1 1 15,0 12-15,0-13 16,13 1 0,0-1-16,-14-13 15,28-13 16,-1-1-15,-13 1-16,13 0 0,-13 0 16,13-1-16,1-12 15,12-14-15,0 1 0,1-14 16,-14 26 0,-13 14-16,13 13 0,1-27 15,-1 27-15,-13-13 16,26 26-1,-12 1 1,-1 12-16,-13-13 0,0 1 16,13 12-16,0-13 0,0 40 15,1-26 1,-1-14-16,-13 13 16,0-12-1,13-14-15,-13 13 0,0 0 31</inkml:trace>
  <inkml:trace contextRef="#ctx0" brushRef="#br0" timeOffset="44267.75">23588 4101 0,'-14'0'0,"28"13"47,-1-13-31,0 14-16,0-14 16,1 0-16,-1 13 0,26-13 15,-25 13-15,-1-13 16,0 0-16,0 0 15,1 0-15,-14 13 0,13-13 16,0 13 0,-26 1-1,13-1-15,-13 0 16,-1 0 0,14 1-16,-13-1 15,0 0-15,13 0 0,-27 0 16,27 1-16,-13-1 15,13 0 17</inkml:trace>
  <inkml:trace contextRef="#ctx0" brushRef="#br0" timeOffset="45659.08">22939 6138 0,'14'27'16,"-14"-1"-16,0 40 15,0-39-15,0-14 16,0 14-16,0-14 0,0 0 0,0 0 15,0 0-15,0 1 0,0 12 16,0-13-16,0 1 0,13-14 16,-13 13-16,13-13 15</inkml:trace>
  <inkml:trace contextRef="#ctx0" brushRef="#br0" timeOffset="45951.97">22979 6072 0,'79'-26'16,"-65"39"-16,-1 0 15,0 0-15,-13 1 16,0-1-16,0 0 0,-13 14 16,13-1-16,-13-13 0,-1 14 15,1-14-15,0 0 16,0 0-16,0 1 0,13-1 0,-14 0 16,1 0-1</inkml:trace>
  <inkml:trace contextRef="#ctx0" brushRef="#br0" timeOffset="46214.71">23257 6006 0,'-40'53'31,"27"0"-31,13-27 16,-13 1-16,13-14 0,0 13 16,0 1-16,0-14 0,0 14 0,13-14 15,-13 13-15,0-12 0,13-1 0,-13 0 16,13 0-16,1 0 16,-14 1-16,26-14 0,-26 13 0,13-13 15,1 0-15,12 0 16,-26-13-16,13 13 0</inkml:trace>
  <inkml:trace contextRef="#ctx0" brushRef="#br0" timeOffset="46444">23442 6085 0,'0'-13'0,"0"0"16,0 53 15,-13-1-16,13-25-15,0-1 0,0 0 16,0 0-16,0 27 0,0-27 16,0 0-16,0 1 0,0-1 15,0 0-15,0 0 0,0 1 16,0-1-16,0 0 16</inkml:trace>
  <inkml:trace contextRef="#ctx0" brushRef="#br0" timeOffset="46847.71">23429 6112 0,'13'-13'16,"0"13"-1,-39 13-15,66-26 0,-27 13 16,0 0-16,0 13 0,-13 0 16,0 0-1,0 1-15,0-1 16,0 0-16,0 0 15,0 0 1,0 1-16,13-14 0,-13 13 16,0 0-16,0 0 15,0 1-15,0-1 16,0 0-16,-13 0 16,0 1-16,0-1 15,0-13-15,13 13 16,-27-13-16,14-13 15</inkml:trace>
  <inkml:trace contextRef="#ctx0" brushRef="#br0" timeOffset="47091.67">23535 5953 0,'66'27'15,"-40"-1"-15,-12-13 16,-1 14-16,0 26 16,13 26-16,-26-53 15,-13 1-15,13-1 0,0-12 16,-13 12-16,13 1 0,-13-1 16,13-13-16,0 0 0,0 1 15,0-1-15,0 0 16</inkml:trace>
  <inkml:trace contextRef="#ctx0" brushRef="#br0" timeOffset="47476.8">23984 6072 0,'40'13'16,"-13"-13"-1,-27 14-15,26-14 16,-13 0-16,1 13 0,-1 0 15,-13 0 1,0 1-16,-13-1 16,13 13-16,-14-13 15,14 1-15,-13-1 0,0 0 0,13 14 16,-27-1-16,14-13 0,0 1 16,13-1-16,-13 0 0,13 0 15,-14-13-15,1 13 16</inkml:trace>
  <inkml:trace contextRef="#ctx0" brushRef="#br0" timeOffset="47831.18">24395 5980 0,'-53'66'31,"39"-40"-31,14 1 0,0-14 16,14 0-16,-14 0 0,0 1 16,13-1-16,0 0 0,0 0 0,1-13 15,-1 13-15,0-13 0,14 0 0,-14 0 16,0 0-16,27-13 15,-27 13-15,-13-13 0,13 0 16,0 0-16,-13-1 0,14 1 0,-14 0 16,0-14-16,-14 14 0,14 0 15,-13 0-15,13-1 0,-13 14 16,0-13-16,-1 13 0,1 0 16,0 0-16,0 0 0,0 0 0,-1 0 0,-25 27 15,12-27-15,14 13 16</inkml:trace>
  <inkml:trace contextRef="#ctx0" brushRef="#br0" timeOffset="48387.98">23548 6694 0,'53'-26'0,"-27"26"16,14-14-16,13 1 0,-13 0 15,12 0-15,1-1 16,14 1-16,144-40 0,-145 40 16,1 0-16,-15 0 0,1 13 15,40-14-15,-40 1 16,-40 13-16,14 0 0,-14 0 15,0 0-15,-39 13 16,12 1 0</inkml:trace>
  <inkml:trace contextRef="#ctx0" brushRef="#br0" timeOffset="48627.69">23402 6853 0,'305'-66'15,"-226"66"-15,-13-14 0,0 1 0,14 0 16,-14 0-16,66-1 0,-26 1 16,-66 13-16,-1 0 0,-12-13 15,-1 13-15,14 0 16,-14 0-16,1 0 0,-14 0 15,0 0 1</inkml:trace>
  <inkml:trace contextRef="#ctx0" brushRef="#br0" timeOffset="55887.6">21656 11165 0,'-26'0'16,"52"0"15,14 0-31,52-13 16,-39 13-16,106-13 0,-80 13 0,14-13 15,0 13-15,132-27 16,119 1 0,-40-14-16,-212 40 15,1-13-15,0 13 0,52-13 16,-92 13-16,26 0 15,-39 0-15,-27 0 16,-39 26 0,13-26-16,-1 13 0</inkml:trace>
  <inkml:trace contextRef="#ctx0" brushRef="#br0" timeOffset="64429.4">21683 6416 0,'119'0'0,"-93"0"0,1 13 16,12-13-16,14 14 0,-13-1 15,92 27-15,-105-14 16,26 0-16,13 54 0,-27-40 15,14 65-15,-26-52 16,-1 13-16,-13 1 0,1 12 16,25 93-16,-12-66 0,-1-14 15,-13 14-15,14 0 0,-1 13 16,-12-13-16,12 132 0,-13 13 16,-26 1-16,0-120 15,-14 133-15,14-133 0,-13 0 16,12-13-16,1 0 0,-26 119 15,25-132-15,1-26 0,0 65 16,0-65-16,13-14 0,0-27 16,0 54-1,0-67-15,0 1 0,0-1 0,0-12 16,0 12-16</inkml:trace>
  <inkml:trace contextRef="#ctx0" brushRef="#br0" timeOffset="65184.9">21749 6152 0,'13'0'16,"-39"13"-16,-1 0 16,-66 40-16,67-27 15,-27 1-15,27-1 16,-1-12-16,1 12 0,12 0 0,1-12 15,0-1-15,13 13 0,0-12 0,0-1 16,26 40-16,1-27 16,52 40-16,-39-39 0,13 13 15,53 12-15,-53-12 16,0-13-16,-14-1 0,-12 0 0,-1-12 16,27 39-16</inkml:trace>
  <inkml:trace contextRef="#ctx0" brushRef="#br0" timeOffset="69876.12">12409 7408 0,'-13'14'16,"39"-14"0,14 13-16,66-13 15,39 13-15,-65-13 16,12 0-16,14 13 0,132-13 15,27 13 1,290 14 0,-409-27-16,145 13 0,-146-13 15,146 13-15,-145 1 16,-14-14-16,1 13 0,-1-13 0,-39 13 16,12-13-16,-12 13 0,145 1 15,-132-14 1,-27 13-16,-52-13 15,-1 0-15,-13 0 0,1 0 16</inkml:trace>
  <inkml:trace contextRef="#ctx0" brushRef="#br0" timeOffset="70257.59">14023 7673 0,'185'13'15,"-92"-13"-15,79 13 16,66-13-16,-119 14 15,13-14-15,0 13 0,107-13 16,-14 13-16,-27 0 16,-105 1-16,-1-14 0,-12 0 15,-1 13-15,27 0 16,-53-13-16,-27 0 0,1 0 0,12 13 16,-12-13-16,-14 0 15,0 13 1,0-13-1,1 0-15,25 0 16,-25 0-16,25 0 16</inkml:trace>
  <inkml:trace contextRef="#ctx0" brushRef="#br0" timeOffset="70924.96">18455 7316 0,'225'26'15,"26"-26"-15,-158 0 16,-1 0 0,1 13-16,118-13 0,-105 0 0,-13 14 15,13-14-15,79 13 0,-93-13 16,1 0-16,-14 13 0,80 0 15,-53-13-15,-66 0 16,26 14-16,-26-14 16,-27 0-16,0 0 0,14 0 15,-14 0 1</inkml:trace>
  <inkml:trace contextRef="#ctx0" brushRef="#br0" timeOffset="71167.92">18997 7474 0,'450'93'31,"-358"-80"-31,80 14 15,-13-14-15,-79 0 0,78 0 16,-39 1-16,-26-1 16,-67-13-16,1 13 15,-1-13-15,-12 0 0,-1 0 16</inkml:trace>
  <inkml:trace contextRef="#ctx0" brushRef="#br0" timeOffset="72989.64">2897 8176 0,'53'13'31,"-40"-13"-31,40 0 0,-13 0 0,0 0 16,13 0-16,-1 0 0,54 0 16,-53 0-16,53 0 0,-53 0 15,0 0-15,13 0 16,-13 0-16,0 0 0,13-13 16,-13 13-16,0 0 0,0 0 0,13 0 0,-13 0 15,39-14-15,-39 14 16,0 0-16,-13 0 0,13-13 0,-27 13 15,67-13-15,-67 13 16,1 0-16,-1-13 0,1 13 16,-1 0-16,1-14 0,26 1 15,-27 0-15,0 13 0,1-13 0,-1 0 16,1 13-16,-14-14 16,14 1-16,-1 0 0,-13 0 0,14 13 15,-14-14-15,0 1 0,14 0 16,-14 0-16,13 0 0,-12-1 0,-1 1 15,0 0-15,0 0 0,0-1 0,14-12 16,-14 13-16,-13-1 0,13-12 16,-13 13-16,0 0 15,0-1-15,0 1 0,-13-13 16,13 12-16,-13 1 0,0 0 0,-1 0 16,-12-14-1,13 14-15,-27-13 0,27 12 0,-27-12 16,0-1-16,1 1 15,12 13-15,1-1 16,-1 14-16,-26-26 0,14 13 16,-14 0-16,13-1 0,1 14 15,-41-13-15,40 13 16,-39-13-16,-14 0 16,54 13-16,-1 0 0,-13-14 0,-13 14 15,26 0-15,14 0 16,-1-13-16,-12 13 0,-27 0 15,39 0-15,-13 0 0,-12 0 16,25 0-16,-13 0 16,14 0-16,-40 0 0,39-13 15,1 13-15,-1 0 0,1 0 0,-27 0 16,27 0-16,-1 0 16,14 0-16,-14 0 0,1 13 0,-14-13 15,-13 0-15,27 0 16,-1 13-16,-12-13 0,-1 14 0,14-14 15,-14 13-15,-13 0 16,0 0-16,27 1 0,-1-14 0,1 13 16,-1 0-16,-12 0 15,-1-13-15,27 13 16,-14-13-16,-26 27 16,14-14-16,25-13 15,1 13-15,-13-13 0,-1 14 16,14-14-16,0 13 0,-14 0 15,27 0-15,-26 14 16,13-1-16,-1-13 0,-25 40 16,39-26-16,-27 39 15,27-40-15,-13 1 0,13 13 16,0-14-16,0 27 0,0-13 16,13 26-16,0-27 15,14 1-15,39 13 0,-26-26 16,13-1-16,13 0 0,0-12 15,13-1-15,67-13 0,26 0 16</inkml:trace>
  <inkml:trace contextRef="#ctx0" brushRef="#br0" timeOffset="82696.27">13547 9102 0,'-14'0'15,"41"13"1,13-13 0,39 0-16,-26 13 15,0-13-15,13 0 0,79 0 16,27 0-16,14 0 16,-94 0-16,345-13 15,-186 13 1,-119 0-16,239-13 15,52 13 1,-330 0-16,185 0 16,-199 13-1,0-13-15,-26 0 0,13 0 0,-26 13 16,13-13-16,26 0 0,-52 13 16,-1-13-16,1 0 0,-14 0 15</inkml:trace>
  <inkml:trace contextRef="#ctx0" brushRef="#br0" timeOffset="83704.07">17859 9115 0,'133'26'15,"-94"-26"-15,133 0 16,-26 0 0,-1-13-16,-52 13 0,79 0 15,-79-13 1,-14 13-16,106 0 0,-105 0 0,-1-13 15,14 13-15,-14 0 16,-13 0-16,53 0 0,-66 0 0,53 0 16,-40-14-16,-40 14 15,-12 0-15,12 0 0,1 0 16,-1 0 0,-13 0-16,0 0 0,1 0 15,-1 0 1,-13-13-16,13 13 15,0 0 17,1 13 15,-1-26 93</inkml:trace>
  <inkml:trace contextRef="#ctx0" brushRef="#br0" timeOffset="85765.06">3201 10504 0,'-39'0'16,"78"13"15,-25-13-31,65 0 0,-13 0 16,0 0-16,14 0 0,-1-13 16,0 13-16,14-13 0,172 0 15,-186-1-15,14 14 0,-14-13 16,0 13-16,-12-13 0,52 13 15,-80 0-15,14 0 0,-13-13 16,-14 13-16,1 0 0,-14 0 0,13 0 16,-12 0-16,-1 0 15</inkml:trace>
  <inkml:trace contextRef="#ctx0" brushRef="#br0" timeOffset="86429.18">5966 10438 0,'225'13'15,"-172"-13"1,13 0-16,-13 0 0,0 0 0,132-13 15,-132 13 1,13 0-16,80 0 0,-93-13 0,13 13 16,-13 0-16,0 0 0,53-14 15,-67 14-15,1 0 16,26-13-16,-53 13 0,14 0 16,-14 0-16</inkml:trace>
  <inkml:trace contextRef="#ctx0" brushRef="#br0" timeOffset="86867.21">7474 10358 0,'93'-158'16,"-80"144"-16,-13-38 0,0-15 15,-13 28-15,0-1 0,0 0 16,-1 14-16,-12-1 0,-1-12 15,1 12-15,-27 1 0,0-1 16,0 1-16,0 13 0,-66-27 16,53 27-16,0 0 0,-93-14 15,80 27-15,0-13 0,-14 13 16,-92-13-16,-1 13 0,81 0 16,25 13-1,-105 0-15,92-13 0,1 13 0,-107 14 16,107-14-16,-1 0 0,1 0 15,-1 1-15,-66 12 16,80 1-16</inkml:trace>
  <inkml:trace contextRef="#ctx0" brushRef="#br0" timeOffset="87879.23">2844 11377 0,'159'0'15,"-119"-13"-15,66 0 0,-54 13 0,1-14 16,53 1-16,-66 0 0,26 0 15,-26-1-15,13 1 0,-14 0 16,1 0-16,26-27 16,-26 27-16,-14 0 0,-12-1 0,12 1 0,-13 0 15,14-14 1,-14 1-16,0-14 16,-13 14-16,0 13 0,0-14 15,0 14 1,-13 0-16,13 0 0,-13-1 15,13 1 1,13 0-16</inkml:trace>
  <inkml:trace contextRef="#ctx0" brushRef="#br0" timeOffset="89243.12">5662 10557 0,'-13'-13'16,"0"-1"-16,-1 14 0,-39-13 31,27 13-31,0-13 0,-1 13 0,1 0 15,-14 0-15,14 0 0,-1 0 0,-13 0 16,-26-13-16,-26 26 16,65-13-16,-13 0 0,14 0 15,-27 0 1,13 0-16,14 13 0,-1-13 0,-39 0 16,40 13-16,-27 1 15,0-1-15,27-13 16,12 13-16,-12 0 0,-1 1 0,-25 12 15,38-13-15,-25 14 16,25-14-16,1 13 0,-13 1 16,12 13-16,1-14 15,13 14-15,0-14 0,0 1 16,13-1-16,27 40 16,-27-26-16,14-14 0,-1 1 15,14 12-15,-14-12 0,67 26 16,-40-27-16,-13 1 0,26-14 15,40 27-15,-40-27 0,66 0 16,-79 0-16,0-13 16,0 14-16,0-14 0,53 13 15,-54-13-15,41 0 0,13-13 16,-66 13-16,13-14 0,-14 1 16,80-27-1,-53 14-15,-39 13 0,-1 0 16,14-14-16,-14 14 15,-12 0-15,12-1 0,-13 1 16,14 13-16,13-26 0,-1-14 16,-12 14-16,-14 12 15,0 14-15,27-53 16,-27 27-16,0 0 16,1 12-16,-14-12 15,13-1-15,0 1 16,-13-1-16,0-25 15,0 38-15,0-25 16,-13 12-16,13 1 0,-27-1 16,-12-52-16,-14 26 15,39 27-15,-12-1 16,-40-13-16,26 14 16,-13-1-1,27 27-15,13-13 0,-27 13 16,13 0-1,14 0-15,13 13 16</inkml:trace>
  <inkml:trace contextRef="#ctx0" brushRef="#br0" timeOffset="90180.03">8705 10279 0,'-27'0'0,"14"0"15,-13 0-15,92 0 0,-146 0 16,54 0-16,13 0 16,-1 13-16,1 1 0,-13-1 15,-1 13-15,14-13 0,-40 80 16,27-27-16,13 0 15,-1-26-15,1 39 16,0-52-16,13 13 16,0 12-16,0-25 0,0 26 15,13-27-15,-13 1 0,27 26 16,-14-27-16,13-13 16,14 27-16,26-27 15,-40 0-15,1-13 0,-1 0 16,67 0-16,-53-13 15,39 0-15,-39 0 0,-14-14 16,14 14-16,-14 0 0,27-27 16,-13 14-16,-27-14 15,0 14-15,14-41 16,-27 1 0,-13 0-16,-1 26 15,1 1-15,-40-54 16,27 67-16,-14-27 0,-26 13 15,0 0 1,26 27-16,14 0 0,-14 0 16,-13 13-16,27-13 0,12 13 15,-25 0-15,25 0 0,-12 0 16,13 0-16,0 0 16,-1 13-16</inkml:trace>
  <inkml:trace contextRef="#ctx0" brushRef="#br0" timeOffset="94033.08">9406 9604 0,'0'-13'0,"13"0"16,0 13-16,1 0 0,12-13 0,-13 13 16,14 0-16,-1-14 0,1 14 15,26 0-15,0 0 0,-27 0 16,0 0-16,-12 0 16,-1 14-16,27 12 0,-27-13 15,0 14-15,0 13 0,0-1 0,-13 1 16,0 0-16,14 12 0,-1 68 15,-13-68-15,13 15 0,0-1 16,1 0-16,-1-13 0,0 13 16,0 0-16,1 0 0,12 67 15,0-67-15,-12 0 0,-1 53 16,0-66-16,0 13 0,1-26 16,-14 13-16,13 26 15,0 0-15,-26 27 16,0-66-16,-14 13 15,1-14-15,-1-12 0,1-1 16,-1-12-16,-12 12 0,-1-13 0,0 1 16,1-1-16,-1 0 0,-66-13 15,27-13-15,13 0 0,-14-1 16</inkml:trace>
  <inkml:trace contextRef="#ctx0" brushRef="#br0" timeOffset="94793.12">2765 9631 0,'-331'53'16,"146"13"0,119-53-16,13 14 0,-106 52 15,119-66-15,14 14 16,-14-14-16,27 0 15,-13 0-15,12 14 0,1-14 16,0 13-16,13-12 0,0 25 16,0-12-16,13-1 0,-13 1 0,13 26 15,-13-14-15,14 14 0,-14 13 16,13 80-16,-13-67 0,0 93 16,0-92-16,-13 12 15,13 14-15,0 79 0,-14-13 16,14-92-16,0-1 0,14-13 15,-14 0-15,26 53 16,1-66-16,-14-13 0,13-14 0,54 41 16,12-41-16,-39-26 15,-13 0-15,13 0 0,13-13 16,0 0-16</inkml:trace>
</inkml:ink>
</file>

<file path=ppt/ink/ink18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4:45:02.628"/>
    </inkml:context>
    <inkml:brush xml:id="br0">
      <inkml:brushProperty name="width" value="0.05292" units="cm"/>
      <inkml:brushProperty name="height" value="0.05292" units="cm"/>
      <inkml:brushProperty name="color" value="#0070C0"/>
    </inkml:brush>
  </inkml:definitions>
  <inkml:trace contextRef="#ctx0" brushRef="#br0">7078 4286 0,'-27'0'0,"14"0"15,53 0 32,-27 0-31,13 0-16,14 0 0,0-13 0,13 13 15,-1 0-15,15 0 0,-1-13 16,26 13-16,-12 0 0,26-13 0,79 13 16,-79 0-16,26-14 15,133 14-15,-160-13 0,1 13 16,26 0-16,292 0 16,-318 0-16,-14 0 15,1 0-15,-1 0 0,-12 0 16,79 0-16,-40 13 15,-80-26-15,14 26 0,-13-13 0,13 0 16,-27 0-16,1 0 16,-14 0-16,13 0 0,1 0 15,-14 0-15,0 0 0,1 0 16,-1 0 0,0 0-16,0 0 0,1 0 15,-1 0 16,0-13 1,-13 0-17</inkml:trace>
  <inkml:trace contextRef="#ctx0" brushRef="#br0" timeOffset="1071.09">13639 4326 0,'278'-13'15,"-199"13"-15,80-14 0,-66 14 16,13 0-16,92-13 0,212 13 16,-278-13-1,-26 13-15,132 0 0,-92 0 0,-40 0 16,0 13-16,-14-13 0,14 0 16,-13 0-16,92 13 0,-106-13 15,120 0 1,-146 14-16,0-14 0,26 0 15,-53 0-15,1 0 0,26 0 16,-40 0-16,27 0 16,-27 0-16,13 0 0,-12 0 15,12 13 1,0-13 0,-12 0-1,-1 0 1,0 0-1,0 0 1,1-13 78</inkml:trace>
  <inkml:trace contextRef="#ctx0" brushRef="#br0" timeOffset="1905.25">13388 3294 0,'198'-13'31,"-118"13"-31,383 13 16,-318-13-16,-12 0 15,12 0-15,-13 0 0,14 0 0,-14 13 16,0-13-16,1 0 16,105 14-16,-106-14 0,-39 13 15,13-13-15,79 13 0,0-13 16,-106 13-16,1-13 0,-14 13 15,-13-13-15,39 0 16,-25 14-16,-41-14 0,1 0 16,-14 0-16,13 0 15,-13 13-15,1-13 0,-1 0 16,0 0-16,-13-13 0</inkml:trace>
  <inkml:trace contextRef="#ctx0" brushRef="#br0" timeOffset="2837.74">7461 3228 0,'-39'-13'15,"65"26"1,-13-13 0,14 13-16,-1-13 0,14 0 15,13 0-15,13 0 0,0 0 16,13 0-16,1 0 0,12 0 0,1 0 16,105-13-16,-65 13 15,-27 0-15,26 0 0,0-13 0,14 13 16,-14 0-16,133 0 0,-27 0 15,-132 0-15,-1 0 16,1 0-16,93 0 0,78 0 16,-184 13-16,-27-13 15,0 0-15,-13 0 16,80 13-16,-107-13 16,53 0-1,-52 0-15,-14 0 16</inkml:trace>
  <inkml:trace contextRef="#ctx0" brushRef="#br0" timeOffset="8314.84">16669 5503 0,'-13'0'15,"39"0"16,-13 0-15,0 0-16,14 0 0,-1 0 0,80 0 16,-26 0-16,-1 0 15,80 0-15,-67 0 0,1 0 16,13 0-16,-14 0 0,120 14 16,-80-14-16,-26 0 0,0 0 15,0 13-15,-14-13 0,94 0 16,-94 0-16,67 13 15,-80-13-15,-26 0 0,53 13 16,-66-13-16,-14 0 0,14 0 16,-27 0-16,14 0 15,-14 0-15,0 0 0,0 0 16,1 0-16,-1 0 16,0 0-16,-13 13 15</inkml:trace>
  <inkml:trace contextRef="#ctx0" brushRef="#br0" timeOffset="11228.3">9181 5636 0,'-53'-53'16,"40"53"-16,-14-14 0,14 1 15,-13 13-15,-1-13 0,1 0 16,-14 0-16,0-1 0,1 14 0,-54-13 15,40 13-15,-39 0 16,39 13-16,0 1 0,0-1 16,-66 26-16,66 1 0,-13-13 15,13 26-15,-27-1 16,14 1-16,-53 80 0,66-54 16,14-13-16,-14 53 0,40-53 0,-1 1 15,14-15-15,27 68 16,39-28-16,-13-52 15,0 0-15,0-1 0,79 27 16,-53-52-16,1 12 16,92-13-16,-80 0 0,1-13 15</inkml:trace>
  <inkml:trace contextRef="#ctx0" brushRef="#br0" timeOffset="11776.32">13745 5345 0,'397'172'15,"-344"-120"-15,-13 1 0,-1 14 16,-12-15-16,-14 15 0,0-1 16,-13 66-16,-13-66 15,-13 0-15,-1 0 0,-26 14 0,0-14 0,0 0 16,-13 0-16,13-26 16,-13 13-16,13-13 0,-13-1 0</inkml:trace>
  <inkml:trace contextRef="#ctx0" brushRef="#br0" timeOffset="13880.68">7594 9803 0,'-27'-13'16,"27"-1"-16,0 1 15,0 0-15,0 0 0,0-1 16,0 1-16,13-40 16,1 27-16,12-14 0,-13 0 15,40-39-15,-13 39 0,0 1 16,-1 12-16,54-39 0,-40 40 15,105-40 1,-105 52-16,106-25 16,-106 39-16,0 0 0,0 0 15,0 13-15,-14-13 0,54 26 16,-27 14-16,-26-27 16,-14 14-16,1-1 0,-1-13 15,1 40-15,-1-26 0,-26-1 16,13 1-16,-13-1 15,14-13 1,-14 1-16,0-1 0,0 0 16,0 0-16,13-13 31</inkml:trace>
  <inkml:trace contextRef="#ctx0" brushRef="#br0" timeOffset="14296.9">8943 9234 0,'26'13'32,"-26"0"-32,14 1 15,12 25-15,-13-25 16,-13 12-16,27 14 0,-14-14 16,0-13-16,14 54 15,-14-54-15,-13 0 0,13 0 16,-13 0-16,0 1 0,0-1 15,0 0-15,-13 0 16,0 1-16,-1-14 16,1 13-16,-13-13 0,13 13 0,-80 0 15,53 1-15,-39-1 16,39-13-16,14 13 16,-1-13-16,1 0 0,13 13 15,-14-13-15,1 0 16</inkml:trace>
  <inkml:trace contextRef="#ctx0" brushRef="#br0" timeOffset="15524.99">8440 11112 0,'53'93'16,"-40"-27"-16,14 27 15,-1-40-15,-13-14 0,14 14 16,-14 0-16,53 40 0,-39-40 15,12-13-15,1-1 0,53 41 16,-27-41-16,66 27 16,67-13-16,-94-26 0,120 12 15,-106-12-15,14-14 16,-14-13-16,13 13 0,14-13 0,-14 0 16,0-13-16,0 13 0,14-13 15,-14 0-15,1 13 0,-1-14 16,119-12-16,-118 13 0,-14 0 15,-14-1-15,81 1 0,-94 0 16,-12 13-16,12-13 0,54-1 16,-80 14-16,26-13 15,-12 13-15,-54 0 0,1 0 16,-14 0-16,0-13 0,0 13 16,1 0-16</inkml:trace>
  <inkml:trace contextRef="#ctx0" brushRef="#br0" timeOffset="15906.87">12211 11523 0,'211'39'15,"-158"-25"-15,-13-1 16,26 0-16,-13 13 0,-13-12 0,26 25 15,-27-25-15,28 52 16,-54-13 0,-13-14-16,-13 1 0,-1-14 15,-25 14-15,-28 40 16,-12-14-16,39-40 16,14 1-16,-53 26 15,52-40-15</inkml:trace>
  <inkml:trace contextRef="#ctx0" brushRef="#br0" timeOffset="17055.22">15756 10901 0,'0'-27'16,"-13"1"-16,-1 26 0,1-13 15,-13-14-15,-1 1 16,-26-27-16,-26 0 16,26 26-16,-53-39 15,-13 13-15,53 27 0,-13 0 16,13-1-16,-14 14 0,-92-27 16,0 14-16,-13-1 15,79 27-15,-92-13 16,92 13-16,-119 13 15,93 0-15,13 1 0,-80 12 16,-12 27-16,105-26 16,26-1-16,-12 0 0,-93 67 15,-1 26 1,80-13-16,54-53 0,12 0 16,-26 79-16,13-13 15,40 13-15,13-79 16,13 80-16,0-67 0,0-13 15,14 13-15,12-13 0,1 0 16,0 0-16,79 52 0,119 54 16,-53-79-1,-92-41-15,13 1 0,-1-14 16,1 1-16,13-1 0,93 1 16,-14-14-1,14-26-15,-80-1 0,107-12 16,-1-27-16,-13-13 15,-120 26-15,-12 1 16,13-1-16,-14 13 0,1-25 0,-14 12 16,-12 0-16,157-145 15,-171 132-15,14-40 16,-28 41-16,14-54 16,-40 53-16,1-40 0,-28 14 15,1 26-15,-13 0 16,-1 13-16,-52-52 15,-27 12-15,-13 1 16,53 39-16,-80-26 16,80 40-16,-132-54 15,65 54-15,80 13 0,1 13 16,12-14-16,0 14 16,14 0-16,-40 14 0,39 12 15,1 14-15,39-1 16,13-12-16</inkml:trace>
  <inkml:trace contextRef="#ctx0" brushRef="#br0" timeOffset="17612.96">16166 11404 0,'146'-14'0,"-41"1"16,-356 40-16,648-54 0,-318 14 16,-13 13-16,14 0 0,-1 0 15,1-13-15,92 13 0,-14 0 16,-78 0-16,78 0 16,-25 0-16,-14 0 15,-27 0 1,-52 0-16,13 0 0,-40 0 15,0 0-15,1 0 0,-41-14 32,1 1-32,-67 0 15</inkml:trace>
  <inkml:trace contextRef="#ctx0" brushRef="#br0" timeOffset="18002.24">16682 11126 0,'-26'39'15,"-14"-25"-15,-26 25 16,26-12-16,-39 12 0,26-12 16,13-1-16,14-12 0,-41 25 15,41-25-15,-14 25 16,27 1-16,13-27 16,-13 0-16,26 1 0,0 12 15,27 27-15,26-13 16,-39-27-16,25 0 15,-12 14-15,0-14 0,172 27 16,-160-40 0,28 0-16,52 0 0,-53 0 15,67 0-15</inkml:trace>
  <inkml:trace contextRef="#ctx0" brushRef="#br0" timeOffset="18540.99">18785 11364 0,'-13'13'15,"0"-13"1,13 27-16,-13 12 16,13 27-16,13 1 15,13-28 1,-12-12-16,39-1 16,-1-13-16,-12-13 0,79-13 15,-92 0 1,-1 0-16,27-14 15,-40 1-15,-13-1 0,14 14 0,-14-13 16,-27-27-16,14 13 16,-27-13-16,-13 0 15,0 0 1,27 40-16,-27 0 0,13 0 16,14-1-16,13 14 0,-40 0 15,13-13-15</inkml:trace>
  <inkml:trace contextRef="#ctx0" brushRef="#br0" timeOffset="18783.99">18481 10967 0,'-66'66'0,"40"-39"0,-1 12 16,-105 424 15,145-397-31,13 40 16,80 27-16,-26-67 15,-54-1032-15,27 1971 16,-13-991-16,-1-1 0,28 0 16,-54-13-16,26-13 0</inkml:trace>
  <inkml:trace contextRef="#ctx0" brushRef="#br0" timeOffset="19050.93">19447 11073 0,'92'119'16,"-78"-93"-16,12 318 16,-79-211-1,40-94 1,-66 67 0,39-66-1,27-40-15</inkml:trace>
  <inkml:trace contextRef="#ctx0" brushRef="#br0" timeOffset="19964.13">21114 10001 0,'-13'13'16,"26"1"-1,0-14-15,0 0 16,14 0-16,39-14 15,40 14-15,119-39 16,-146 39 0,93-27-16,172 1 15,-93 13 1,-119 13 0,-79 0-16,119 0 15,-145 0-15,13 13 16,-40 0-16,13-13 15,-26 13-15,-1 1 16</inkml:trace>
  <inkml:trace contextRef="#ctx0" brushRef="#br0" timeOffset="20359.99">22146 10279 0,'-27'13'0,"27"1"0,0-1 16,-13 0-16,13 0 0,0 0 0,0 14 15,0 13-15,26-1 16,-12-25-16,-1-1 0,13 0 16,27 0-16,0-13 15,0 0-15,-40-13 0,14 13 16,-1-13-16,-13 0 16,1-1-16,-14-25 0,0-1 15,-14 27-15,-25-53 16,26 39-16,-14 14 0,1-14 15,-1 1-15,1 13 0,-1-1 0,1 1 16,-27 0-16,26 0 0,1 13 16,-1-13-16,1 13 15</inkml:trace>
  <inkml:trace contextRef="#ctx0" brushRef="#br0" timeOffset="23788.04">9962 10226 0,'-14'-13'15,"41"26"16,-14-13-15,27 0-16,13 0 16,-27 13-16,-13-13 15,27 0-15,-27 0 0,14 0 16,-1 14-16,-13-14 0,27 0 16,-27 0-16,1 0 15</inkml:trace>
  <inkml:trace contextRef="#ctx0" brushRef="#br0" timeOffset="24052.96">10054 10517 0,'106'0'31,"-80"0"-31,14 0 0,0 0 16,-27 0-16,0 0 0,1 0 16,-1 0-16,0 0 0,0 0 0,14 0 15,-1 0 1</inkml:trace>
  <inkml:trace contextRef="#ctx0" brushRef="#br0" timeOffset="25900.24">12700 9062 0,'0'13'16,"0"-39"46,26-14-46,-26 27-1,14-14-15,-1 14 0,13-40 16,1 40-16,-14-13 16,14-1-16,25-26 0,-25 27 0,-1-1 15,14 14-15,-13-13 0,52-14 16,-39 13-16,12 14 16,-12-13-16,40-1 0,-41 14 15,14 0-15,-26 0 0,12 13 16,1 0-16,-14-14 0,1 28 0,-1-14 15,27 13-15,-26-13 16,-1 13-16,1 13 0,39 14 16,-27 0-16,-12 0 15,-27-14-15,13-13 16,-13 14-16,13-1 0,1-13 16,-14 14-16,0-14 0,13 0 0,-13 1 15,0-1-15,13 0 0,-13 0 16,0 0-16,0 1 0,13-1 15,-13 0-15,0 0 16,0 1 15</inkml:trace>
  <inkml:trace contextRef="#ctx0" brushRef="#br0" timeOffset="26421.98">13692 8890 0,'27'26'16,"-14"1"-16,0-27 0,0 40 15,1-27-15,-1 0 16,0 0-16,13 1 0,-12-1 0,12 13 16,-13-13-16,1 1 0,-1-14 15,0 13-15,0 0 16,1-13-16,-1 0 0,0 13 16,0-13-16,14-13 0,-14 13 15,0-13-15,0 13 16,-13-13-16,14-1 0,-1 1 15,0-13-15,0 13 0,1-14 16,-1 14-16,0 0 16,-13-1-16,13 1 0,-13 0 15,13 0-15,-13-1 0,0 1 16,14 13-16,-14-13 16,0 0-16,0 0 15,13 13-15</inkml:trace>
  <inkml:trace contextRef="#ctx0" brushRef="#br0" timeOffset="27569.07">15505 8903 0,'79'-66'16,"-53"53"-16,14 0 0,-13-14 0,12 14 16,1 0-16,-14-1 0,14-12 15,92-14 1,-79 40-16,0-13 0,-13 0 0,52 13 16,-65 0-16,26 0 0,-13 13 15,-1 0-15,1 1 0,26 25 16,-26-26-16,-1 27 15,-12-13-15,-1-1 16,1 14-16,-14-14 16,0-13-16,-13 1 0,14-1 15,-14 0-15,0 0 16,13 1-16,-13-1 16,0 0-1,0 0-15</inkml:trace>
  <inkml:trace contextRef="#ctx0" brushRef="#br0" timeOffset="28028">16470 8943 0,'-13'0'16,"26"26"0,27 14-1,-14-27 1,-12 1-16,12-1 0,14 0 16,-14-13-16,1 0 15,-1 0-15,1 0 16,-14-13-1,13 0-15,-12-1 16,-1 1-16,-13 0 0,13 0 16,0-1-16,1-12 15,-14 13-15,13-14 16,-13 14-16,13 0 16,-13 0-1,13 13-15,-13-14 16,13 1 15,1 26 16,-1-13-31</inkml:trace>
  <inkml:trace contextRef="#ctx0" brushRef="#br0" timeOffset="33891.37">19936 7289 0,'146'53'15,"-133"-53"-15,27 106 32,-67 0-32,14-53 15,-13 13-15,-14-13 0,0 26 16,-13 1-16,0-1 0,1 0 15,-1 14-15,-40 66 0,40-27 16,13-13-16,14-53 16,26-13-16,-13 0 0,26 40 15,27-1-15,-1-39 0,-12-13 16,12-14-16,1 1 0,0-14 16,0 0-16,-1 0 0,14-13 15,40 0-15,-27-13 0,-13-13 16,0-1-16,0 1 0,-14-1 0,1 1 15,-14-1-15,-12 1 0,12-14 16,-13 27-16,-13-13 0,0 12 16,0-12-16,0 13 0,-13-1 0,0 1 15,0 13-15,-14 0 16,14 13-16,-13 1 0,-1-1 0,1 13 16,-1 1-16,1 13 0,-14-1 15,14 1-15,-1 13 0,1-13 16,12 12-16,-12 1 0,-1 53 15,-12 13-15,39-53 0,-13-13 16,-1 13-16,14 14 16,-13-14-16,13 79 0,0-65 0,0-1 15,0 1-15,13-1 0,-13 14 0,14-14 16,-14 27-16,13 0 16,0-1-16,0-12 0,0 13 0,1 0 15,-1-27-15,0 0 0,0 27 0,1-26 0,-14 12 16,13-12-16,0-14 15,-13 13-15,13-13 0,1 1 0,-14-1 16,0-13-16,0-14 0,-14 1 0,1 53 16,0-67-16,0 0 15,-14 14-15,1-27 0,12-13 16,1 14-16,-26-28 0,-1 14 16</inkml:trace>
</inkml:ink>
</file>

<file path=ppt/ink/ink18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4:46:05.506"/>
    </inkml:context>
    <inkml:brush xml:id="br0">
      <inkml:brushProperty name="width" value="0.05292" units="cm"/>
      <inkml:brushProperty name="height" value="0.05292" units="cm"/>
      <inkml:brushProperty name="color" value="#0070C0"/>
    </inkml:brush>
  </inkml:definitions>
  <inkml:trace contextRef="#ctx0" brushRef="#br0">16656 992 0,'0'27'16,"13"39"-16,-13-53 15,0 13-15,0 27 16,0 0-16,13-26 15,-13-14-15,0 13 0,0-12 0,0 25 16,0 1-16,0-27 16,13 1-1</inkml:trace>
  <inkml:trace contextRef="#ctx0" brushRef="#br0" timeOffset="351.7">16603 966 0,'105'-14'15,"-91"14"-15,25 27 16,-25-27-16,-1 13 16,0 14-16,-13-14 15,0 0-15,0 0 0,0 1 16,-13-1-16,13 0 0,-13 0 15,13 0-15,-14 1 0,-12 12 16,13-13-16,-1 1 16</inkml:trace>
  <inkml:trace contextRef="#ctx0" brushRef="#br0" timeOffset="626.99">17079 873 0,'-27'27'31,"14"-1"-31,0 0 16,13 27-16,-13-26 0,13 26 15,0-27-15,13 1 0,-13-1 16,13 1-16,-13-1 0,13 1 15,-13-14-15,14 13 0,12 14 16,-13-27-16,27 14 16,-27-14-16,14-13 15,-1 0-15,-13 0 16,1-13-16</inkml:trace>
  <inkml:trace contextRef="#ctx0" brushRef="#br0" timeOffset="846.83">17423 1058 0,'-13'40'32,"13"-27"-32,-14 0 0,14 1 0,0-1 15,0 0-15,0 27 16,0-14-16,0-12 0,0 25 15,0-26 1,0 1-16,0-1 0,0 0 16</inkml:trace>
  <inkml:trace contextRef="#ctx0" brushRef="#br0" timeOffset="1303.58">17423 992 0,'53'-26'16,"-40"26"-16,0 0 0,0 0 16,27 13-1,-27 13 1,-26-12 0,13-1-16,-26 13 0,-1 14 15,14-27-15,0 0 0,-1 1 0,1-1 16,0 0-16,0 0 15,0 1-15,13-1 16,0 0-16,13-13 16,0 13-16,0-13 15,0 0-15,14 0 0,-14 0 16,0 0-16,27 0 16,-27 0-16,14 0 0,-14-13 15,40 0 1,-40 0-16</inkml:trace>
  <inkml:trace contextRef="#ctx0" brushRef="#br0" timeOffset="1595.84">17529 714 0,'26'0'0,"1"14"16,39 39-16,-27-27 15,14 27 1,-13-13-16,-14-1 0,1-12 0,-1 39 16,1 13-16,-14-39 15,-13-14-15,0 1 0,-26 65 16,-1-39-1,14-26-15,-14-1 0,14-12 16,13-1-16</inkml:trace>
  <inkml:trace contextRef="#ctx0" brushRef="#br0" timeOffset="1885.86">18283 1019 0,'53'-27'16,"-27"27"-16,27-13 15,-40 13-15,27-13 16,-27 13-16</inkml:trace>
  <inkml:trace contextRef="#ctx0" brushRef="#br0" timeOffset="2079.73">18283 1191 0,'13'13'16,"13"-13"-16,14-13 16,-27 13-16,1 0 15,12 0-15,14-14 0,-1 14 16,-25 0-16,-1 0 0,13 0 15,-12 0-15,-1 0 16</inkml:trace>
  <inkml:trace contextRef="#ctx0" brushRef="#br0" timeOffset="10601.88">19513 635 0,'13'0'0,"-52"0"31,-1 13-31,27 0 16,-1-13-16,1 0 15,0 14-15,0-1 0,0 0 16,26 0-1,26 14 1,-25-27-16,-1 13 0,13 0 16,-12 1-16,-1-1 0,13-13 15,-13 13-15,1 0 0,-1 0 16,-13 1-16,13-14 0,-13 13 0,-13 0 16,0 0-16,-1-13 15,1 14-15,-26 12 0,25-13 16,-12-13-16,13 13 0,-14-13 0,14 0 15,-13 0-15,12 0 0,1 14 16,0-14-16,0 0 0,-14 13 16,14 0-16,0 0 0</inkml:trace>
  <inkml:trace contextRef="#ctx0" brushRef="#br0" timeOffset="10898.53">19024 1270 0,'26'0'0,"0"0"16,1-13-16,-1 13 0,27 0 0,-13-13 15,0 13-15,13-14 0,39 1 16,-39 0-16,0 0 0,-13 13 16,13-14-16,-14 14 0,-12-13 0,-1 13 15,1-13-15,-1 13 0,-13 0 0,1 0 16,-1 0 0,0 0-16</inkml:trace>
  <inkml:trace contextRef="#ctx0" brushRef="#br0" timeOffset="11538.89">19222 1535 0,'40'-27'16,"-27"27"-16,0 0 0,0 0 16,-13 13-1,0 1 17,14-1-17,-1-13-15,-13 13 0,13-13 16,0 0-16,1 0 0,-1 13 15,-13 1 1,0-1 0,0 0-16,-13 0 0,-1 0 15,1 1-15,0-14 0,0 13 16,-14 13-16,14-26 0,0 14 16,-1-14-16,1 13 0</inkml:trace>
  <inkml:trace contextRef="#ctx0" brushRef="#br0" timeOffset="11850.65">19553 1416 0,'-14'26'15,"1"-26"-15,13 26 0,0-12 16,-13-1-16,13 0 0,0 14 15,0-14-15,0 13 0,0-12 0,0-1 16,13 13-16,-13-13 0,13 1 0,1-1 16,-1-13-16,0 13 15,0-13-15,-13 13 0,14-13 0,-1 0 16,0-13 0,-39 0-1,12 0 1,1-1-16,0 14 0,0 0 15,-1 0 1,1-13-16,0 13 0,0 0 16</inkml:trace>
  <inkml:trace contextRef="#ctx0" brushRef="#br0" timeOffset="12207.06">19857 1455 0,'-40'0'15,"40"13"-15,0 1 0,14 12 32,-14-13-32,13-13 0,13 27 15,1-14-15,-14 0 16,0 1-16,0-14 0,-13 13 0,14 0 16,-1 0-16,-13 0 15,-13 1-15,-1-1 0,-65 53 16,0-13-1,26-27-15,-27 27 16,27-39-16</inkml:trace>
  <inkml:trace contextRef="#ctx0" brushRef="#br0" timeOffset="17457.75">10795 6628 0,'13'-13'15,"14"13"1,475-27-1,-409 27-15,0 0 16,12 0-16,94 13 0,-14 1 16,-92-14-16,-1 13 0,1-13 15,-14 13-15,159 14 16,-119-14 0,-79-13-16,66 13 15,-80-13-15,1 13 0,-14-13 0,14 0 16,-14 0-1,-40 0 1</inkml:trace>
  <inkml:trace contextRef="#ctx0" brushRef="#br0" timeOffset="17914.91">11139 6707 0,'198'13'16,"-52"1"-16,-53-14 0,-14 0 15,14 13-15,105 0 0,-105-13 16,105 13-16,93 1 15,-198-14 1,-14 13-16,0-13 0,1 13 0,-14-13 16,40 13-16,-53-13 15,-27 0-15,27 13 0,-27-13 16,1 0-16,-14 0 0,0 0 16,1 0-16,-1 0 15,0 0-15,-13 14 16,13-14-16,1 0 15,-1-14 17,-26 1 30</inkml:trace>
  <inkml:trace contextRef="#ctx0" brushRef="#br0" timeOffset="19025.75">12091 3321 0,'93'0'0,"-40"0"0,13-14 16,13 14-16,1-13 0,12 13 15,1 0-15,13-13 0,145 0 16,-52-1-16,-93 1 0,-14 13 15,14 0-15,79-13 16,40 13-16,-172 0 16,0 0-16,-13 0 0,-14 0 0,27 0 15,-40 0-15,27 0 16</inkml:trace>
  <inkml:trace contextRef="#ctx0" brushRef="#br0" timeOffset="19475.89">12488 3387 0,'186'-27'15,"-120"27"1,26 0-16,186-13 0,-185 13 16,-1 0-16,1 0 15,79 0-15,-80 0 0,-12 0 0,39-13 16,-26 13-16,-54 0 16,-12 0-16,26 0 15,-14 0-15,-12 0 16,-14 13-16,0-13 0,0 0 15,1 0-15,-1 0 16,0 0 0,0 0-16,1 0 15,-1 0 1,0-13 31,-26 0-16,0-1-15</inkml:trace>
  <inkml:trace contextRef="#ctx0" brushRef="#br0" timeOffset="20588.14">19050 5437 0,'185'0'15,"-66"0"-15,93 0 16,-53 0-16,-27 13 16,-66-13-16,0 0 0,-13 0 0,66 0 15,-26 0 1,-53 0-16,-14 0 0,0 0 0,14 0 15,-13 0 1,-14 0-16</inkml:trace>
  <inkml:trace contextRef="#ctx0" brushRef="#br0" timeOffset="20835.87">19275 5517 0,'225'39'15,"-172"-39"-15,92 13 16,-92-13-16,53 14 16,-40-14-16,-13 0 0,0 13 0,-13-13 15,-1 0-15,-12 0 16,-1 0-16,1 0 0,-1 0 0,-13 0 0,14 0 15</inkml:trace>
  <inkml:trace contextRef="#ctx0" brushRef="#br0" timeOffset="22291.8">11020 6575 0,'79'0'32,"-52"0"-32,39 0 0,-26 0 15,12 0-15,1-13 0,14 13 16,105 0-16,0 0 15,-120 0 1,1 0-16,0 0 0,-13 0 0,0 0 16,-1 0-16,-12 0 0,-1 0 15,27 0-15,-40 0 16,1 0-16,-1 0 16,0 13-16,0-13 15</inkml:trace>
  <inkml:trace contextRef="#ctx0" brushRef="#br0" timeOffset="22651.83">11258 6853 0,'53'13'0,"0"-13"15,26 0-15,-26 0 16,0 0-16,53 0 16,-40 0-16,53 0 0,-13 13 15,-40-13-15,-26 0 16,13 0-16,13 0 0,-13 0 15,-27 0-15,-13 0 16,1 0-16,12 0 0,-13 0 16,-26 13 15,13 1-31,-13-14 16,0 0-16,13 13 0</inkml:trace>
  <inkml:trace contextRef="#ctx0" brushRef="#br0" timeOffset="26201.95">15888 6919 0,'252'13'15,"-173"-13"-15,0 0 0,14 0 16,-14 13-16,14-13 0,0 0 15,317 14 1,-305-14-16,1 13 0,-13-13 16,92 13-16,-92-13 0,-14 13 15,53-13-15,-79 13 0,-13-13 16,13 0-16,-27 0 0,1 14 16,-1-14-16,-12 0 0,25 0 15,-26 0-15,-52-14 31,26 14-15</inkml:trace>
  <inkml:trace contextRef="#ctx0" brushRef="#br0" timeOffset="26503.84">17304 6985 0,'39'0'16,"292"40"-1,-291-40-15,0 13 16,12-13-16,-25 0 0,13 13 0,13-13 16,-40 13-16,26-13 15,-25 0-15,-1 0 0,13 0 16,-26 14-16,27-14 15</inkml:trace>
  <inkml:trace contextRef="#ctx0" brushRef="#br0" timeOffset="30938.82">19394 7752 0,'66'27'16,"-39"-27"-16,118 26 16,-13 1-1,-26-14-15,-13 0 16,52 14-16,-92-27 15,-13 0-15,53 13 16,-1 0-16,-65-13 16,105 0-1,-119 0-15,27 0 0,-14 0 0,1-13 16,-1 13-16,1 0 0,-1 0 16,1-13-16,-14 13 0,13 0 0,-13-14 15,14 14-15,-14 0 0,0-13 16,1 13-16,12-13 0,-13 13 0,1 0 0,-1-13 15,0-1-15,0 14 16,0-13-16,1 13 0,-14-13 16,13 13-16,0-13 0,0 0 15,1 13-15,-1-14 0,0 1 16,0 0-16,1 0 16,-1-1-16,0 1 15,0 0-15,0 13 0,1-13 16,-14-1-16,13 1 0,0 13 15,0-26-15,1 13 0,-14-1 16,26-25 0,-13 39-16,-13-14 0,13 1 15,-13 0-15,27-27 16,-14 1-16,-13 25 16,0 1-16,0 0 0,0 0 15,0-1-15,0 1 0,0 0 0,0 0 16,-13-27-16,0 14 15,-1-14-15,1 27 16,0-1-16,13-12 0,-26-14 16,12 27-16,1-13 0,0 12 15,0 1-15,-1 0 0,1 0 16,13-1-16,-26-12 16,13 13-16,-1 0 0,1-14 0,0 27 15,-14-40-15,1 40 0,13-13 16,-1 0-16,1 0 15,0-1-15,-13 1 0,12 0 16,-12 0-16,-27-14 16,26 14-16,14 13 0,0 0 15,-13-13-15,-1 13 0,-13-13 16,14 13-16,13-14 16,-14 14-16,14 0 0,-13-13 15,-41 13-15,41 0 16,13 0-16,-14 0 0,14 0 0,-13 0 15,-14-13-15,27 26 16,-14-13-16,-12-13 0,12 26 16,-13-13-1,27 0-15,0 0 0,0 0 0,-1 0 16,-12 13-16,0-13 16,12 0-16,1 0 0,0 0 15,-14 14-15,14-14 16,0 13-16,0-13 0,-14 13 15,1-13-15,-1 13 16,14-13-16,0 14 0,0-14 16,-14 0-16,1 13 15,-1 0-15,1-13 16,13 0-16,-1 13 0,1-13 16,0 0-16,-14 13 15,1-13-15,13 14 16,0-14-16,-14 0 0,14 13 15,0-13-15,-1 0 16,1 13-16,-13 0 16,12 1-16,-12-1 15,13 0 1,0-13-16,-1 13 0,1 1 16,0-1-16,0 0 15,-1 0-15,1 0 16,-13 14-16,26-14 15,-27 0-15,27 1 0,-13-1 16,0 0-16,13 0 16,-13 14-16,-1-27 15,1 39-15,0-25 16,13-1-16,-13 0 16,13 14-16,-14-1 15,14 0-15,-13-12 16,13-1-16,0 27 0,0-14 15,0 14 1,13-27-16,-13 27 16,14-14-16,12 14 0,-13-27 15,1 14-15,-1-1 0,13-13 0,27 40 16,13-13 0,-26-27-16,39 14 15,14-1-15,0-13 16,-1 0-16,-12 1 15,-54-1-15</inkml:trace>
  <inkml:trace contextRef="#ctx0" brushRef="#br0" timeOffset="38875.16">18640 12105 0,'13'13'32,"-13"40"-17,13-27-15,-13-12 0,0 12 16,14 0-16,-14 1 0,0 39 15,0-53-15,0 0 16,0 40-16,0-39 16,0-1-16,0 0 0,0 0 15</inkml:trace>
  <inkml:trace contextRef="#ctx0" brushRef="#br0" timeOffset="39210.9">18587 12091 0,'53'-26'0,"-40"26"0,0 0 0,14 0 0,-14 0 16,13 0-16,1 13 0,-1 0 0,1-13 15,-14 14-15,0-1 0,1 0 16,-1 0-16,-13 1 0,13-1 16,-13 0-16,-13 14 0,13-1 15,-13-13-15,13 0 0,-14 1 16,1 12-16,0-26 0,-14 27 15,14-27-15,0 13 0,0-13 16,-1-13-16</inkml:trace>
  <inkml:trace contextRef="#ctx0" brushRef="#br0" timeOffset="39458.08">19037 11946 0,'-27'66'0,"27"-53"16,-39 186 0,39-173-16,0 1 0,13-14 0,-13 13 15,13 1-15,14-1 0,-14-13 16,0 1-16,0-1 0,0-13 0,1 0 15,25 13 1,-25-13-16,-1-13 0</inkml:trace>
  <inkml:trace contextRef="#ctx0" brushRef="#br0" timeOffset="39928.93">19434 12039 0,'0'26'16,"0"-13"-16,0 146 47,0-133-32,0 80 1,0-145 15,0 12-31,13 1 16,-13 12-16,0-12 0,13 0 16,-13 12-16,13-12 0,-13-1 0,14-12 15,-1 25-15,0 1 16,-13 0-16,13 0 0,0 0 15,1 13-15,-1 0 16,0 0-16,0 13 0,1-13 16,-1 26-16,0-13 15,0 1-15,-13-1 0,14 0 0,-14 0 16,13 1-16,-13 12 0,13-13 16,-13 1-16,0-1 15,13 0-15,-13 0 0,0 0 16,0 1-16</inkml:trace>
  <inkml:trace contextRef="#ctx0" brushRef="#br0" timeOffset="40142.11">19420 12237 0,'53'-26'16,"-26"26"-16,39-27 16,-40 27-1,14-13-15,-13 0 0,-1 13 16,14-14-16,-27 14 16</inkml:trace>
  <inkml:trace contextRef="#ctx0" brushRef="#br0" timeOffset="40375.01">20042 11906 0,'13'27'15,"-13"-14"1,14 0-16,-14 14 15,0-1-15,0-13 0,0 14 16,0-14-16,13 13 0,-13-12 0,0-1 16,0 13-16,0-12 0,13-1 15,-13 0-15,13 0 0,-13 1 16</inkml:trace>
  <inkml:trace contextRef="#ctx0" brushRef="#br0" timeOffset="40690.19">20690 11946 0,'-13'13'16,"0"14"0,13-14-16,0 0 0,-13 0 0,13 1 15,0 12-15,0 0 16,0-12-16,0-1 0,0 0 16,0 14-1,0-14 1,0 0-16</inkml:trace>
  <inkml:trace contextRef="#ctx0" brushRef="#br0" timeOffset="41166.94">20796 11880 0,'27'0'16,"-14"13"-16,-13 0 15,-13 0-15,-1 27 16,14-27 0,0 1-1,14-1-15,-1-13 16,0 13-16,14 0 15,-14 14 1,-13-14-16,0 0 0,0 0 16,-13 1-16,-1-1 15,1 0-15,0 0 0,0 1 0,-27-1 16,14 0 0,-1-13-16,14 0 15,0-13-15,-14 0 0</inkml:trace>
  <inkml:trace contextRef="#ctx0" brushRef="#br0" timeOffset="41419.28">20836 11536 0,'225'66'15,"-93"27"-15,-66-27 16,-39-27-16,-14 1 16,0-13-16,0-1 0,-13 0 0,0 1 15,0 13-15,-53 65 16,27-65-16,0-13 0,-1-1 16,-39 27-16,0 0 15,13-27-15,26-26 16</inkml:trace>
  <inkml:trace contextRef="#ctx0" brushRef="#br0" timeOffset="42704.25">19659 12621 0,'13'26'31,"-13"-13"-31,13 106 0,-13-39 16,0-41-16,0 1 0,0-13 16,13 26-16,-13 26 15,0-66-15,0 14 16,0-1-16,0-13 0,0 0 15,0 1 1</inkml:trace>
  <inkml:trace contextRef="#ctx0" brushRef="#br0" timeOffset="43514.16">19725 12607 0,'-40'27'0,"14"-1"15,12 1-15,1-14 16,0 0-16,-14 27 0,14-14 16,0-12-16,0-1 0,-1 13 15,1-12-15,13-1 0,-13 0 0,0 13 16,13-12 0</inkml:trace>
  <inkml:trace contextRef="#ctx0" brushRef="#br0" timeOffset="43825.14">19632 12594 0,'27'13'16,"-14"1"-16,26-1 0,-25 0 15,12 0-15,1 14 0,-14-14 0,27 13 16,-14-12-16,14 12 15,-14-13-15,-13 1 16</inkml:trace>
  <inkml:trace contextRef="#ctx0" brushRef="#br0" timeOffset="45046.87">20823 12515 0,'0'26'15,"13"14"-15,-13-27 16,0 14-16,13 39 0,0 13 16,1-39-16,-14 26 15,13-13-15,-13-27 16,13 14-16,-13-13 0,0-14 16,0 0-16,0 0 0,0 14 15,0-14 1</inkml:trace>
  <inkml:trace contextRef="#ctx0" brushRef="#br0" timeOffset="45351.11">20876 12528 0,'-40'26'16,"40"-12"-16,-53 65 15,13-26-15,27-13 16,0-14-16,0-13 0,-1 27 15,-12 0-15,26-27 16,-13 13-16,13-12 16,0-1-16</inkml:trace>
  <inkml:trace contextRef="#ctx0" brushRef="#br0" timeOffset="45603.47">20796 12568 0,'40'26'16,"-27"-13"-16,-66-52 0,119 92 0,-52-53 15,12 13-15,-13 0 0,14 14 0,26-1 16,0 0-1,-27-12-15,14 12 0,-14-26 16,-13 13-16,14 1 0,-14-14 16,27 13-16,-27-13 0,0 0 15</inkml:trace>
  <inkml:trace contextRef="#ctx0" brushRef="#br0" timeOffset="49080.98">20651 11959 0,'-13'0'93,"13"-13"-61,0 0-17,13 13-15,0-14 32,-13 1-32,13 13 0,0-13 15,1 13 1,-1 0-16,0-13 15,0 13-15,1 13 16,-1-13 0,-13 13-1,0 0 1,-13 1 0,-1-14-16,14 13 15,-13-13-15,0 13 16,0 0-1,-1-13 1,1 14-16,0-14 16,39 0 62,14 0-63,-27 13-15,1-13 16,-1 13 0,0 0-16,0 1 0,0-1 15,-13 0 1,0 0-16,0 0 16,0 1-16,-13-1 0,13 0 15,-13 0-15,0-13 0,0 14 16,-1-14-16,-12 13 0,-1 0 15,1-13-15,13 0 0,0 13 16</inkml:trace>
  <inkml:trace contextRef="#ctx0" brushRef="#br0" timeOffset="50451.91">20664 12091 0,'0'-13'47,"-13"0"-32,13 0-15,0 0 16,0-1-16,0 1 31,0 0-31,-13 0 16,13-1-16,0 1 15,0 0 1,0 0 0,0-1-16,0 1 0,13 0 0,-13 0 15,13-14 1,-13 14 0,13 0-16,-13 0 0,13-1 15,-13 1-15,14 0 16,-14 0-16,0 0 15,13 13-15,-13-14 0,13 1 16,0-13 0,1 26-16,-1-14 0,0 14 15,0 0-15,14 0 16,-14 0 0,0 0-16,0 0 0,1 14 15,12-1 1,-13-13-16,1 13 15,-14 0-15,13-13 0,-13 14 16,0-1 0,-13 13-1,-1-13-15,1 1 0,0-14 16,-27 26 0,27-13-16,0-13 0,-1 14 15,-12-1-15,13-13 0,0 0 0,-1 13 16,1-13-1,0 13-15,0-13 16</inkml:trace>
  <inkml:trace contextRef="#ctx0" brushRef="#br0" timeOffset="58519.33">14195 8969 0,'66'14'15,"0"-14"1,27 13-16,-40-13 0,119 13 16,119 0-1,-146-13 1,-79 0-16,14 0 15,-1 14-15,93-14 0,0 0 16,0 0-16,13 13 16,-92-13-16,-1 0 15,1 13-15,172 0 16,-27 0-16,-172-13 16,0 0-16,-13 0 15,-13 0-15,39 14 0,-52-14 16,12 0-16,-26 0 0,1 0 0,-1 0 31,0-14 16,0 14-47,14 14 16,-14-14-16</inkml:trace>
  <inkml:trace contextRef="#ctx0" brushRef="#br0" timeOffset="59150.14">19976 8996 0,'159'13'16,"-106"-13"0,238 13-16,-212 1 15,159-14-15,-158 0 16,78 13-16,-78-13 15,118 13-15,-145 0 16,53 0-16,-53-13 0,-13 14 16,12-14-16,-25 0 15,-14 13-15,14-13 16,-67 0 0</inkml:trace>
  <inkml:trace contextRef="#ctx0" brushRef="#br0" timeOffset="60446.03">3149 10147 0,'39'0'16,"1"0"-1,-14 0-15,54-13 0,12 13 16,-26 0-16,-13 0 0,27 0 16,-1-14-16,80 14 15,-66 0-15,-14 0 0,14 0 16,92-13-16,-93 13 0,14 0 15,0 0-15,-13-13 0,158 13 16,-132-13-16,-13 13 0,92-14 16,-65 14-16,197-26 15,-118 26-15,-14-13 16,1-1 0,-14 14-16,-92-13 15,-1 13-15,-12 0 0,330-26 16,-344 26-1,40 0-15,-53-13 16,0 13-16,92-14 16,-79 14-16,0 0 15,-52-13-15,12 13 0,1 0 16,-1 0-16,-13 0 16,0 0-1,1-13-15,-28 0 94,28 13-63,-1 0 0,0 0-31</inkml:trace>
  <inkml:trace contextRef="#ctx0" brushRef="#br0" timeOffset="65347.2">8295 12118 0,'0'13'16,"13"0"-16,-13 1 15,0-1-15,0 0 0,0 27 16,0-1-16,0 14 16,0-39-16,0 25 15,0-12-15,0 12 16,0-25-16,0 12 15,0-13-15,0 1 16,0-1-16,13-13 16</inkml:trace>
  <inkml:trace contextRef="#ctx0" brushRef="#br0" timeOffset="66104.19">8625 12144 0,'-13'40'15,"0"0"1,13 13 0,13-27-16,-13 1 0,13 12 15,-13-26-15,27 27 16,-14-27-16,0 1 0,14 12 16,-1-13-1,27-13-15,-40 0 16,1-13-16,-1 13 0,0-13 0,0 13 15,14-27-15,-14 14 16,0 0-16,-13 0 16,0-1-16,0-12 0,-13-27 15,0 40 1,-14-14-16,14 14 0,0 0 16,0 0-16,-27 0 15,-13-14-15,27 27 16,-1-13-16,1 13 15,12 0 1,1 0-16,13 13 0,-13-13 16</inkml:trace>
  <inkml:trace contextRef="#ctx0" brushRef="#br0" timeOffset="69586.87">7011 12502 0,'14'-14'0,"-1"14"15,27 0-15,-14-13 0,1 13 16,65 0-16,-13-13 16,-39 13-16,-13 0 0,39 0 15,0 0-15,-40 0 16,14 0-16,-27 13 15,1-13-15,12 0 16,-13 0-16,0-13 16</inkml:trace>
  <inkml:trace contextRef="#ctx0" brushRef="#br0" timeOffset="69848.36">7369 12343 0,'26'0'0,"1"0"15,-14 0-15,0 13 16,0-13-16,40 40 16,-40-14-16,27 1 0,-40-14 15,13 0-15,1 27 16,-14-27-16,-14 13 0,14 1 0,-13-14 15,0 14-15,-40 26 0,26-27 16,-39 14-16,27-14 16</inkml:trace>
  <inkml:trace contextRef="#ctx0" brushRef="#br0" timeOffset="70933.96">8149 11721 0,'27'-40'15,"-1"40"-15,-13 0 16,-13 14-16,14-1 16,-14 27-1,0-27-15,-14 0 16,14 0-16,-13 14 0,13-14 15,-13 0-15,13 0 16,-13-13-16,13 14 16,13-14-1,0 0 1,14 0 0,-14-14-16,0 14 15,0 0-15,0 0 16,-13-13-16,14 13 0</inkml:trace>
  <inkml:trace contextRef="#ctx0" brushRef="#br0" timeOffset="71814.13">8401 11642 0,'0'-14'16,"-14"28"0,14 12-1,0-13 1,14 14-16,-1-27 15,-13 13-15,13 0 16,0-13 0,14 0-16,-14-13 15,0 13-15,0 0 16,1-13-16,-1 13 16,0 0-16,0 13 31,0-13-31,-13 27 15,0-14-15,0 0 16,-13 13-16,13-12 16,-13-1-16,0 13 15,0-26-15,13 14 0,-14-14 16,14-14 15,14 1-15,12-13-16,-13 12 15,14-25 1,-14 26-16,13-14 16,-26 14-1,14 0-15,-14-1 0,0 1 16,0 0 0,0 0-1,26 13 48,-26 13-63,13-13 15,1 13-15,-1 0 16,0 1 0,-13-1-16,13 0 15,-13 0 1,27-52 46,-27 25-62,13 14 0,-13-13 16,13 0 0,0 13-16,1 0 15</inkml:trace>
  <inkml:trace contextRef="#ctx0" brushRef="#br0" timeOffset="72404.28">8877 11628 0,'-40'27'16,"27"-27"-1,13 13-15,0 0 16,-13-13-16,39 0 47,-13-13-31,1 13-1,-1 0 1,0 0-16,0 0 15,0 0 1,1 0-16,-1-13 16,0 13-1,0 0-15,1 0 0,-1 0 16,0 0-16,0 0 16</inkml:trace>
  <inkml:trace contextRef="#ctx0" brushRef="#br0" timeOffset="72690.55">8401 11906 0,'26'-13'0,"146"-27"15,-132 27 1,-14 0-16,93-14 16,-66 14-16,-13 13 15,-14-13-15,1 13 16,-1 0-16,-13 0 15</inkml:trace>
  <inkml:trace contextRef="#ctx0" brushRef="#br0" timeOffset="72972.17">8559 11933 0,'80'-14'16,"-67"14"-16,13-13 16,1 13-16,39-13 0,-13 0 15,0 0 1,13-1-16,-53 14 0,14 0 16,-1-13-16,-13 13 0,1 0 15,-1 0-15,13 0 0,-13-13 16,1 13-1</inkml:trace>
  <inkml:trace contextRef="#ctx0" brushRef="#br0" timeOffset="73729.88">9499 12382 0,'0'-13'0,"39"26"32,-12-13-17,-1 0-15,1 0 0,39 0 16,26-13-16,-39 13 16,-13 0-16,0 0 0,26 0 15,-40 0-15,14-13 16,-14 13-16,-12 0 0,-1 0 15,0 0 1</inkml:trace>
  <inkml:trace contextRef="#ctx0" brushRef="#br0" timeOffset="74068.36">9856 12224 0,'39'0'16,"1"0"-16,-13 13 15,-1-13-15,0 0 16,-12 13-16,12-13 0,27 27 15,-13-14-15,-27 0 0,0-13 16,0 13-16,14 1 16,-14 12-16,0 0 15,-13-12-15,-26 25 16,26-25-16,-13-1 16,-1-13-16,1 26 0,-26 1 15,25-27-15,1 13 0,-13 0 16,-1 14-1</inkml:trace>
  <inkml:trace contextRef="#ctx0" brushRef="#br0" timeOffset="76385.17">11562 12237 0,'-13'-40'15,"0"14"-15,0 26 0,-1-13 0,1 13 16,-13-14-16,12 1 16,-25 13-16,26 0 15,-14 0-15,1 13 0,12 1 0,-39-1 16,27 13-16,13 1 16,0-14-16,13 0 0,-14 14 15,28 12-15,-1-25 16,-13-1-16,13-13 0,13 13 15,-12-13-15,12 13 0,27-26 16,-26 0-16,25 0 16,-25-1-16,-14 1 15,27-13-15,-14 12 0,-12 14 16,-1 0-16,0 0 16,-13 14-16,13 25 15,-13-25 1,0 12-16,0 14 0,0-14 0,0-13 15,0 14-15,0-1 0,0 1 16,-13-1-16,13 14 16,0-27-16,0 27 0,0-27 0,13 0 15,-13 1-15,0-1 16,27 0-16</inkml:trace>
  <inkml:trace contextRef="#ctx0" brushRef="#br0" timeOffset="76903.53">12078 12184 0,'-26'40'16,"13"-27"-16,-1 40 16,14-27-16,0-12 0,0 12 15,-13 0-15,13-12 16,0-1-16,0 13 0,0-12 0,0-1 15,0 0 1,-26-26 15,-27 0-15,39-1-16,1 14 16,0 0-16,-27 14 15,27-1-15,0-13 0,0 0 16,-14 26-16,14-12 15,13 12-15,0-13 16,13-13-16,0 13 16,1-13-16,78 0 15,-65 0 1,39-13-16,-13 0 16,0 0-16,-40 0 15</inkml:trace>
  <inkml:trace contextRef="#ctx0" brushRef="#br0" timeOffset="78148.75">12303 12303 0,'-53'0'16,"27"13"-1,13 14 1,-1-1-16,1 1 31,26-14-31,1 0 16,-1-13-16,0 0 15,13-13-15,1 0 16,-14 13-16,27-40 16,-27 27-1,0 0-15,0-1 16,-13 1 0,14 40 15,-14-14-31,0 0 31,13 0-31,0 0 16,0-13-16,1 0 15,12-13 1,-13 0 0,14-13-16,-27 12 15,13 1-15,0 13 16,-13-13-16,0 0 15,0 39 32,13-13-31,14-13 15,-14 0-31,0-13 16,14 13-16,-1-13 15,-12 13 1,12 0-16,-26 13 0,26 0 16,-12 14-1,12-1-15,-26-13 0,13 14 16,-13-14-16,0 14 0,0 26 16,-13-14-1,-13-12-15,12-1 16,1-13-16,0-13 0,-13 14 15,12-14 1,1-14 0,13 1-1,13 0-15,14-14 16,26-52 0,13 13-1,-53 39-15,14-12 16,12-14-16,-26 40 15,1-14-15,-1 14 16,0 0-16,0 0 16,1 13-1,-1 13-15,0-13 0,14 26 32,-14-13-32,0 14 15,0-1-15,-13-12 16,0-1-16,-13 13 15,0-13-15,0 14 16,-1-27-16,1 13 0,-13 0 16,12-13-16,-12-13 15,13 0 1,13 0 0</inkml:trace>
  <inkml:trace contextRef="#ctx0" brushRef="#br0" timeOffset="78297.64">13176 12277 0</inkml:trace>
  <inkml:trace contextRef="#ctx0" brushRef="#br0" timeOffset="80080.49">12052 12052 0,'0'-13'16,"0"-1"-16,-13 1 31,-1-13-15,1 12-16,0 1 0,0 0 15,-27-14-15,-13 1 16,13 13 0,-13-14-16,27 27 15,0 0-15,-1 0 0,-13 0 16,-26 0-16,40 0 15,-14 14-15,0-14 0,1 13 16,-1 0-16,-39 0 0,12 27 16,1-14-16,13 1 15,27-1-15,-53 27 16,26 0 0,13 0-16,14 13 15,12-39-15,1-1 16,0 1-16,13-1 0,0 0 0,0 41 15,26 38-15,-12-78 16,38 39-16,-12-26 16,39 26-16,14 0 15,66 0-15,-106-39 16,79-1-16,-79 1 16,79-14-16,67 13 15,-146-26-15,66 0 16,0 0-16,13 0 15,-26-13 1,-53 13-16,0-13 0,0 13 0,0-13 16,-1-1-16,-12 1 0,53-13 15,-54 12-15,81-25 16,-41 12-16,-53 1 16,54-1-16,-54 1 15,40-1-15,-26 1 16,26 0-16,-39-1 0,-1 14 15,27-27-15,-13 14 16,-1-1 0,14-12-16,-40 25 15,14-12-15,-14 13 16,14-14-16,-14 1 16,0-1-16,-13 14 15,0 0-15,-13-14 16,-14-26-16,-12 27 15,25 0-15,-38-1 16,25 1-16,-118-41 16,118 54-1,-39-13 1,0 13-16,-14-14 16,-39 1-16,80 12 15,-14 14-15,13-13 0,-52 0 16,-1 0-16,-26-14 15,92 14 1,1 13-16,-27-13 16,13 0-16,1 13 15,-14-14-15,39 14 16,-65 0-16,53 0 16,-40 0-16,-1 0 15,41 0-15,-1 0 16,-52 14-16,26-14 15,27 0-15,-54 13 16,27-13 0,-39 26-1,39-26-15,13 13 16,-13 1 0,14-1-16,-1-13 15,27 0-15,13 13 16,-14-13-16,1 0 15</inkml:trace>
  <inkml:trace contextRef="#ctx0" brushRef="#br0" timeOffset="84744.46">19963 7845 0,'26'0'47,"-13"13"-31,1-13-16,12 0 15,1 13-15,-14-13 16,13 0-16,-12 0 16,12 0-16,0 0 0,-12 14 15,12-14-15</inkml:trace>
  <inkml:trace contextRef="#ctx0" brushRef="#br0" timeOffset="84936.34">19936 7938 0,'40'0'16,"-14"0"-1,1 0-15,-14 13 0,27-13 16,13 0-1</inkml:trace>
  <inkml:trace contextRef="#ctx0" brushRef="#br0" timeOffset="85716.32">20108 7766 0,'119'-14'15,"-92"14"1,92 0-1,-106 0-15,40 0 0,-26 14 16</inkml:trace>
  <inkml:trace contextRef="#ctx0" brushRef="#br0" timeOffset="86136.45">20161 7858 0,'93'0'0,"-67"0"16,14 0-16,13 0 15,13 0-15,-13 0 16,-40 0-16,0 0 15,1 0-15,12 13 16,1-13-16,-14 0 16,0 0-16,0 0 15,1 0-15,-1 0 16,0 0 31</inkml:trace>
  <inkml:trace contextRef="#ctx0" brushRef="#br0" timeOffset="87295.81">8453 12674 0,'40'-14'16,"-13"14"0,145-53-1,-146 40-15,120-27 16,-107 40 0,-12-13-16,-14 13 15,0 0-15,-13-13 16</inkml:trace>
  <inkml:trace contextRef="#ctx0" brushRef="#br0" timeOffset="87524.33">8625 12700 0,'133'-13'31,"-107"0"-31,40-1 16,-26 1-1,-14 13-15,1-13 0,13 13 16,-27-13 0,0 13-16</inkml:trace>
  <inkml:trace contextRef="#ctx0" brushRef="#br0" timeOffset="94460.26">14195 13031 0,'66'0'16,"-26"0"-16,13 0 15,13 0-15,-40-13 16,40 13 0,-39 0-16,-1 0 0,-12 0 0,12 0 15,0 0-15,1 0 0,-14 0 16,0 0-1,1 0-15,-1 0 16</inkml:trace>
  <inkml:trace contextRef="#ctx0" brushRef="#br0" timeOffset="94736.83">14605 12912 0,'26'0'16,"-52"0"-16,66 0 0,-14 13 15,54 13 1,-54 1-16,-13-14 16,14 14-16,-1-1 15,-26-13-15,0 0 16,-13 40-16,0-26 15,-1-14-15,1 0 0,0 0 16,0 1-16,-14 12 16,14-26-16,0 13 0,0-13 15</inkml:trace>
  <inkml:trace contextRef="#ctx0" brushRef="#br0" timeOffset="101123.56">10372 9036 0,'-133'13'16,"67"-13"-16,40 13 15,-14-13-15,14 0 0,-1 13 16,1-13-16,-27 27 16,40-27-16,-1 13 0,1 0 15,13 0-15,0 1 16,0 12-16,13-13 0,-13 14 16,14-1-16,-14 1 0,13 12 15,0-12-15,-13 12 0,13 1 0,-13 0 16,0-14-16,0 54 0,0-54 15,0 1-15,0-1 0,0 1 16,0-1-16,-13 0 0,13 1 16,0-1-16,-13 1 0,0 12 0,13-25 15,0-1-15,-14 13 16,14-12-16,0 12 16,0-13-16,0 1 0,14-14 0,-14 13 15,26 0-15,-13 0 16,14 0-16,12 1 0,1-1 15,0-13-15,-1 13 0,1-13 16,0 0-16,13 13 0,0-13 16,0 0-16,0 0 0,105 0 15,-92 14-15,1-14 16</inkml:trace>
  <inkml:trace contextRef="#ctx0" brushRef="#br0" timeOffset="108628.7">11007 11179 0,'79'13'16,"-66"-13"-1,14 0-15,-14 0 0,13 0 16,-12 13-16,12-13 0,1 0 0,52 0 15,-53 13-15,1-13 16,-1 0-16,1 0 0,12 0 16,-12 0-16,13 0 0,-1 0 0,1 0 15,0 0-15,13 0 0,0 0 0,-1 0 16,1 0-16,0 0 0,0 0 16,0 0-16,0 0 0,0 0 0,0 0 15,0 0-15,0 0 0,13 0 16,-13 0-16,26 14 0,-26-14 0,26 0 15,-12 0-15,-1 13 0,0-13 0,-13 0 16,26 0-16,-26 0 0,26 13 16,-26-13-16,13 0 0,54 0 15,-68 0-15,1 13 0,66-13 16,-52 0-16,-15 0 16,1 0-16,14 0 0,-15 0 0,1 0 15,0 13-15,0-13 0,0 0 0,0 0 16,0 0-16,0 0 0,0 0 15,53 0-15,-14 0 16,-39 0-16,93 0 16,-93 0-16,-14 0 15,1 0-15,13 0 0,-13 0 0,12 0 16,28 14-16,-27-14 0,0 0 16,-14 0-16,1 0 0,0 0 15,26 0-15,-26 0 0,13 0 16,-1 0-16,-12 0 0,-13 0 0,26 0 15,-1 0-15,-12 0 0,0 0 16,-1 0-16,14 0 0,0 0 0,-13 0 16,0 0-16,13 0 0,-14 0 0,14 0 15,40 0-15,-54 0 16,14 0-16,-13 0 0,13 0 16,-13 0-16,39-14 0,-52 14 15,12 0-15,-12 0 0,39 0 16,-26 0-16,12 0 0,-12 0 15,-13-13-15,12 13 0,14 0 16,-13 0 0,-14 0-16,1-13 0,-14 13 15,13 0-15,14 0 0,-27-13 16,1 13-16,-1 0 0,0 0 0,0-13 16,1 13-16,-1 0 0,0 0 0,0-14 15,0 14-15,1 0 16,-1 0-16,0-13 0,0 13 15,14 0-15,-27-13 16,13 13-16,0 0 16,1-13-1,-1 13 1,0 0-16,-13-14 16,13 14-16,0-13 15,1 0 1,-14 0-16,13 13 15,-13-14-15,0 1 16,0 0-16,13 0 0,-13 0 0,0-1 16,13-12-16,-13 13 15,14-14-15,-14 1 0,13 13 0,0-54 16,0 14-16,0 14 16,-13 26-16,14-14 0,-14 1 15,0-1-15,13 1 16,-13-1-16,0 14 0,13 0 0,-13-14 15,0 14-15,0 0 0,0 0 0,0-1 16,0 1-16,0 0 0,13 13 16,-13-13-16,0 0 0,0-1 15,0 1 1,0 0 0,0 0-1,14-1 1,-14 1 15,0 0-15,-14 13-1,14-13 1,-13 13 0,13-14-16,-13 14 15,0 0-15,-1 0 16,1 0-16,0 0 15,-13 0-15,12 0 16,1-13-16,0 13 0,-14 0 0,14 0 16,0 0-16,-13 0 0,12 0 15,-12 0-15,13 0 0,-14 0 0,-13 0 16,14 0-16,13 0 16,-14 0-16,-12 0 0,25 13 15,-25-13-15,-1 0 16,27 0-16,-40 0 15,13 14-15,27-14 16,-13 0-16,-1 13 16,1-13-16,12 0 15,1 0-15,-53 13 0,40-13 16,-1 0-16,14 0 0,0 0 16,-40 13-1,39-13-15,-12 0 0,13 0 0,-27 0 16,27 14-16,-14-14 15,1 0-15,13 0 0,-14 0 0,1 0 16,13 0-16,-14 13 0,-26-13 16,0 0-16,27 0 0,-1 0 15,1 0-15,-40 0 16,0 0-16,39 0 16,-13 0-16,14 0 0,-40-13 15,26 13-15,14 0 0,-1 0 0,-12-14 16,12 14-16,-13 0 0,-65-13 15,65 13-15,0 0 16,1-13-16,-1 13 0,13 0 16,-12 0-16,12 0 0,-12-13 0,12 13 15,-13 0-15,14 0 0,-14 0 16,14-14-16,-40 14 0,-1 0 16,15-13-16,-15 13 15,41-13-15,-14 13 16,-13 0-16,0-13 15,1 13-15,38 0 16,-39-13-16,14 13 16,-1-14-16,0 14 15,1 0 1,12-13-16,-12 13 0,25-13 16,-12 13-16,-14 0 0,0-13 15,27 13-15,-40-14 16,40 14-16,-66-13 15,26 0 1,40 13-16,-27-13 0,27 13 0,-14 0 16,-26-14-16,27 14 15,-27-13-15,0 0 16,40 13-16,-27-13 0,27 13 0,-27-13 16,14 13-16,-1 0 0,1-14 15,-27 14-15,0-13 16,-13 0-16,39 13 0,1 0 15,-1-13-15,-26 13 16,1-14-16,38 14 0,-12 0 16,-1 0-16,-12-13 0,-1 13 15,-13 0-15,13 0 16,-39-13 0,13 13-16,39 0 0,1 0 15,-14 0-15,-13 0 16,27 0-16,-1 0 0,-25-13 15,25 13-15,1 0 0,-1 0 16,1 0-16,-27 0 16,0 0-16,26 0 0,1 0 0,0 0 15,-1 0-15,-39 0 16,13 0 0,-13 0-16,26 0 15,27 13-15,-27-13 16,1 0-16,25 0 0,1 0 15,-27 13-15,27-13 16,0 0-16,0 0 0,0 0 16,-14 13-16,1-13 15,-1 14-15,1-14 16,-1 13-16,14-13 16,0 0-16,-14 13 0,-39 0 15,40-13 1,12 14-16,-12-14 0,-14 0 15,14 13-15,-14-13 16,-13 0-16,40 13 0,-13-13 16,-14 0-16,0 13 15,27-13-15,-40 0 16,40 13 0,0-13-16,-1 0 0,1 0 15,0 14-15,0-14 16,-1 0-1,-12 13 1,13-13-16,-14 0 16,14 0-1,0 13-15,0-13 0,-14 0 16,14 0-16,-27 13 16,27-13-1,0 0-15,0 0 0,-1 0 16,1 0-16,0 14 15,0-14 1,-1 0-16,1 13 31,0-13-15,13 13 0,-13-13-16,13 13 15,-14 1 1,1-1-1,13 0-15,-13 0 16,13 14 0,0-14-16,-13 13 15,13-12 1,0-1-16,0 0 0,0 14 16,-13-1-16,13 14 15,0-27-15,0 13 16,-14 1-16,14-1 0,0-13 15,-13 54-15,13-28 16,0-12-16,0-1 16,-13 14-16,13-14 15,0 14-15,0-27 16,0 1-16,0-1 0,0 0 16,0 13-16,0 1 15,0-14 1,0 0-16,0 1 15,0-1 1,0 0-16,0 0 31,0 0-31,0 1 16,13-1 0,-13 0-16,0 0 15,13 1 1,1-1-16,-14 0 15,13-13 1,13 13-16,1-13 16,-14 0-16,13-13 15,27 13 1,-26-13-16,39 13 0,-13-13 16,-27 13-1,67-14 1,-40 14-16,13 0 15,-53 0-15,40-13 16,-40 13 0,14 0-1,-14 0-15,0 0 16,0 0 0,1 0 15,-1 0-16,-13-13 32</inkml:trace>
  <inkml:trace contextRef="#ctx0" brushRef="#br0" timeOffset="-189267.03">20108 10067 0,'397'-26'15,"-331"26"1,-13-13-16,27 13 0,39 0 15,-13-14-15,-54 14 16,-12 0-16,-13 0 0,-1 0 16,14 0-16,-27 14 15</inkml:trace>
  <inkml:trace contextRef="#ctx0" brushRef="#br0" timeOffset="-189044.93">20188 10147 0,'198'13'0,"-132"-13"15,80 0-15,-67-13 0,1 13 16,131 13-16,-145-13 16,-13-13-16,0 13 15,40 0-15,-67 0 0,1 0 0,-14 0 16,13 0-16,-12 0 0,-1 0 15</inkml:trace>
</inkml:ink>
</file>

<file path=ppt/ink/ink18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4:48:08.316"/>
    </inkml:context>
    <inkml:brush xml:id="br0">
      <inkml:brushProperty name="width" value="0.05292" units="cm"/>
      <inkml:brushProperty name="height" value="0.05292" units="cm"/>
      <inkml:brushProperty name="color" value="#0070C0"/>
    </inkml:brush>
  </inkml:definitions>
  <inkml:trace contextRef="#ctx0" brushRef="#br0">5226 6099 0,'39'0'109,"67"0"-93,26 0-16,27 0 0,0 0 16,39-14-16,-39 14 15,132 0 1,-185 0-16,-27 0 16,-26 0-1,-26 0 1,12 0-1,27 0 1,40 0 0,13 0-1,-79 0 1,-27 0 0,1 0 62,-1 0-63,0 0-15,0 0 16,0 0-16,1 0 172,25 0-157,-12 0 1,-1 0-16,1 0 16,-14 0-16,0 0 15,0 0-15,1 0 875,12 0-875,-13 0 16,1 0 0</inkml:trace>
  <inkml:trace contextRef="#ctx0" brushRef="#br0" timeOffset="3344.81">13481 6059 0,'13'0'125,"40"0"-110,13 0-15,13 0 16,1 0-16,12 0 16,-26 0-16,40 0 15,-26 0-15,25 0 16,-12 0-16,-14 0 15,27 0-15,0 0 16,0 0-16,39 0 16,-26 0-1,40 0-15,145 0 16,-145 0-16,13 0 16,-26 0-1,12 0-15,-25 0 16,-14 0-16,26 0 15,-39 0-15,0 0 16,0 0-16,-27 0 16,-26 0-16,0 0 15,-27 0-15,1 0 16,-14 0-16,0 0 109,1 0-93,-1 0-16,13 0 16,1 0-1,-14 0-15,27 0 0,-27 0 16,13 0-1</inkml:trace>
  <inkml:trace contextRef="#ctx0" brushRef="#br0" timeOffset="4505.12">3717 6879 0,'67'0'47,"144"0"-16,-118 0-31,13 0 0,-27 0 16,14 0-1,-40 0-15,-14 0 16,-26 0-16</inkml:trace>
  <inkml:trace contextRef="#ctx0" brushRef="#br0" timeOffset="6353.6">5781 6826 0,'27'0'78,"-14"0"-78,27 0 16,-1 0-16,14 0 15,-13 0 1,13 13-16,26-13 16,-13 14-16,14-14 15,12 0-15,93 0 16,-92 0 0,172 0-1,-120 0-15,14 0 16,-40 0-16,13 0 15,1 0-15,-14 0 16,-14 0-16,15 0 16,78 0-1,-92 0-15,53 0 16,-54 0 0,-12 0-16,0 0 15,105 0 1,-13 0-1,-92 0-15,66 0 32,-80 0-32,-26 0 15,39 0-15,-39 0 16,106 0 0,-106 0-16,0 0 15,13 0 1,0 0-16,-13 0 0,-13 0 15,0 0-15,-14 0 16,40 0 0,-13 0-16,26 0 15,-26 0 1,40 0 0,-27 0-16,-26 0 15,13 0-15,-14 0 16,1 0-16,26 0 15,-26 0 1,-27 0 0,14 0-16,12 0 15,-12 0 1,12 0-16,-25 0 16,39 0-16,-14 0 15,27 0-15,1 0 16,12 0-16,-13 0 15,13 0-15,-12 0 16,-14 0-16,39 0 16,-39 0-16,0 0 15,0 0-15,13 0 16,-40 0-16,1 0 16,-14 0-16,0 0 140,1 0 204</inkml:trace>
  <inkml:trace contextRef="#ctx0" brushRef="#br0" timeOffset="8142.01">16100 1349 0,'13'53'32,"-13"-39"-32,0 12 0,13 0 15,-13 1-15,0 13 0,0-1 16,0 41-16,0-41 0,0 14 16,0-26-16,0-14 0,0 40 15,0-40-15,14 0 16,-14 1-16,0-1 0,0 0 15,0 0-15</inkml:trace>
  <inkml:trace contextRef="#ctx0" brushRef="#br0" timeOffset="8445.12">16073 1455 0,'27'-66'15,"-14"66"-15,27-13 0,-14 13 16,40 26 0,-52-26-16,12 14 0,-13-1 15,1 40-15,-1-14 16,-26-25-16,13 12 0,-14-13 15,1 1-15,0 12 0,0-13 16,-1 0-16,1 1 0,0-1 0,0 0 16,-1-13-16,-12 13 15,13-26 1</inkml:trace>
  <inkml:trace contextRef="#ctx0" brushRef="#br0" timeOffset="8718.1">16616 1270 0,'-106'79'31,"93"-52"-31,-67 290 15,80-237-15,14-54 16,12 40-16,-13-52 0,1-1 16,-1 0-16,0 0 0,0 0 15,14 1-15,12-14 16,-12 0-16,-14 0 0,0-14 16,1 1-16,-1 0 15</inkml:trace>
  <inkml:trace contextRef="#ctx0" brushRef="#br0" timeOffset="9246.86">16880 1495 0,'0'-13'16,"-13"39"-16,13-13 0,0 1 15,0 25-15,0-12 16,0-1-16,0-13 0,-13 14 0,13-1 15,0 14-15,0-14 0,0-12 16,0-1-16,0 0 0,0 14 16,0-14-16,0 0 15,0 0-15,-13-39 32,13-14-32,0 14 15,0-67-15,13 53 0,-13 1 16,0-1-16,13 14 0,-13-1 15,13 14-15,1-14 0,-1 1 16,13 13-16,-12 13 0,-1 0 16,0 0-1,0 13-15,0-13 0,-13 13 0,0 0 16,0 1-16,-13-1 0,13 0 0,-26 14 16,13-1-16,-1 1 0,-12-1 15,13-13-15,-1 0 0,14 1 16,-13-1-16,0 0 0,13 0 15,-13-13-15,13 14 0,0-1 16,13-13 0,0 13-16,0-13 0,1 0 15,25 0-15,-25 0 16,25-13-16,-12 13 0,-14-13 16,27-1-16,-27 1 0,0 0 15,0 0 1,-13-1-16</inkml:trace>
  <inkml:trace contextRef="#ctx0" brushRef="#br0" timeOffset="9476.84">17132 1217 0,'211'93'16,"-118"-1"-1,-80-65-15,14 39 16,-14-26-16,-13 13 16,0-27-16,-13 40 15,-1-26-15,1-14 0,0-13 16,-13 27-16,26-27 0</inkml:trace>
  <inkml:trace contextRef="#ctx0" brushRef="#br0" timeOffset="9670.94">17899 1402 0,'79'-26'16,"-65"26"0,12 0-16</inkml:trace>
  <inkml:trace contextRef="#ctx0" brushRef="#br0" timeOffset="9856.37">17806 1614 0,'27'0'32,"-1"-13"-32,-12 0 15,12 13-15,-13 0 0,14-14 0,-1 1 16,14 0-16,-14 13 16,1-13-1,-1-1-15,-12 1 16</inkml:trace>
  <inkml:trace contextRef="#ctx0" brushRef="#br0" timeOffset="11082.08">18904 1151 0,'27'-13'16,"-14"13"-16,0 0 15,14-14-15,13 1 16,-27 0-16,13 0 16,-52 26 15,13-13-31,-14 13 0,14-13 15,0 13-15,-1-13 0,-25 27 16,25-14 0,1 0-16,26 1 15,1-14 1,-1 13-16,0 0 0,27 0 16,-14-13-16,14 14 15,-14-1-15,1 0 16,-14-13-16,-13 13 15,-13 14 1,13-14-16,-40 13 16,14-12-16,13-1 0,-27 13 15,13 1-15,-12-1 16,12 1-16,1-14 16</inkml:trace>
  <inkml:trace contextRef="#ctx0" brushRef="#br0" timeOffset="11314.73">18666 1654 0,'27'-14'16,"-1"1"-16,146-40 16,-66 14-1,-40 25-15,-13 1 0,-13 13 16,52-26-16,-39 26 15,14-14-15,-28 14 0,1-13 16,-27 13-16,0 0 16,14 0-16,-14 13 15</inkml:trace>
  <inkml:trace contextRef="#ctx0" brushRef="#br0" timeOffset="11848.64">18772 1998 0,'27'-14'16,"12"1"-1,-25 13-15,-1 0 16,13 0-16,-13 0 15,-13 13 1,0 1-16,-13-1 0,0 0 16,13 0-1,0 1-15,0-1 16,13-13-16,14 13 16,12 0-1,-25-13-15,-1 13 16,0-13-16,-13 14 15,-13 12-15,-14-13 16,1 1 0,13-1-16,-27 0 15,27-13-15,-40 13 16,40-13-16,13-13 16,13-13-1</inkml:trace>
  <inkml:trace contextRef="#ctx0" brushRef="#br0" timeOffset="12153.98">19129 1879 0,'-13'13'16,"0"0"-16,0 0 16,-1 14-16,14-1 15,-13 27-15,13-13 16,13-14-1,1-13-15,25 1 16,-25-14-16,12 13 16,-13-13-16,14-13 15,-27-1 1,-27 1 0,14 0-1,0 13 1,-14-13-16,1 26 15,13-13 1,52-198-16</inkml:trace>
  <inkml:trace contextRef="#ctx0" brushRef="#br0" timeOffset="12462.86">19460 1852 0,'-53'27'16,"40"-14"-1,13 0 1,13 13 0,14 1-16,-14-14 0,27 14 15,-14-14 1,0 13-1,-12-12-15,-14-1 16,-14 13 0,1-13-16,-40 14 0,-13-1 15,40-12 1,-1-14-16,1-14 16</inkml:trace>
  <inkml:trace contextRef="#ctx0" brushRef="#br0" timeOffset="13513.35">21074 1164 0,'0'27'31,"0"-1"-31,0 1 0,0-1 16,0 14-16,-13 26 15,26-40-15,-13 1 16,0-14-16,0 13 0,0-12 16,0-1-16,0 13 15,0-12-15,0-1 16,0-40 0,0-12-1,0 12-15,0-12 0,13-1 16,1-53-16,-14 54 15,13-1-15,13-26 0,-13 39 16,1 14-16,-1-13 16,13 12-16,-12 1 0,-1 13 15,0 0-15,27 40 16,-40-14 0,-14 14-1,-25 13-15,26-40 16,-27 40-16,27-40 0,-1 0 15,1 1-15,0-14 16,13 13-16,0 0 16,0 0-1,26-13-15,-12 14 16,12-14-16,-13 0 16,1 0-16,12 0 15,0 0-15,1 0 16,-14 0-16,0 0 0,14-14 15,-14 14-15</inkml:trace>
  <inkml:trace contextRef="#ctx0" brushRef="#br0" timeOffset="13835.1">21643 860 0,'-13'-13'0,"-14"52"16,1 1-16,13-14 0,-1 1 16,1 52-16,0 1 15,0-41-15,26 1 16,106-397-16,-238 807 0,132-411 15,0-12-15,-13-1 0,14-12 0,-1 25 16,13-12 0,-13-14-16,14-13 15,-1 0 1,1-13-16,-1-1 16,-12 1-16</inkml:trace>
  <inkml:trace contextRef="#ctx0" brushRef="#br0" timeOffset="14803.95">21444 1058 0,'-132'80'16,"66"-1"-16,40-39 16,-14 26-16,27-40 15,-14 14-15,40 0 16,-13-27-16,53 0 15,-39-13-15,12 0 0,0-13 16,14 13-16,0-26 0,0 12 0,-1-12 16,14-40-16,0 0 15,-40 26-15,1 0 0,-14 14 16,0-1-16,0 1 16,-14-1-16,1 14 0,0 13 15,-14 0-15,-26 27 16,14-14-16,12 13 0,-12-13 0,-1 40 15,13-26-15,27 13 16,14-27 0,-1-13-16,13 0 0,1-13 15,13 13-15,39-27 0,40-52 16,-106 65 0,0-12-16,1 0 15,-28 12-15,1 14 16,0 0-16,-53 27 0,26-14 15,14 13-15,-14-12 0,-39 52 16,65-40 0,1 1-16,13-14 15,27 0-15,-14-13 16,27 0-16,-1 0 0,14-13 16,-26 13-1,-14 0-15,0 0 0,0 0 16,-26 13-1,0 0-15,-14 14 0,14-1 16,-13 1-16,-54 39 16,67-40-16,-40 27 15</inkml:trace>
  <inkml:trace contextRef="#ctx0" brushRef="#br0" timeOffset="15211.07">21246 2434 0,'-13'40'15,"13"-14"-15,-13 107 16,-1-41 0,14-65-16,0-1 0,0 27 15,0 0 1,14-40-16,-14 14 0,13-14 16</inkml:trace>
  <inkml:trace contextRef="#ctx0" brushRef="#br0" timeOffset="15494.33">21114 2514 0,'92'-80'16,"-65"80"-16,-14 0 15,13 0-15,-12 0 0,25 27 16,-25-1 0,-1 14-16,-26 13 0,-14 0 15,1-14-15,-14 1 16,14 0 0,12-27-16,-25 27 15,25-40-15</inkml:trace>
  <inkml:trace contextRef="#ctx0" brushRef="#br0" timeOffset="15749.87">21643 2328 0,'-66'40'15,"53"-27"-15,-93 292 16,106-253 0,0 28-16,0-14 15,13-40-15,13 27 0,-26-39 16,27 12-16,-1-13 16,-12 0-16,-1-26 15,13 13-15,1-13 0,12 0 16,-25 0-16</inkml:trace>
  <inkml:trace contextRef="#ctx0" brushRef="#br0" timeOffset="16234.17">21868 2844 0,'-13'-13'16,"13"0"0,0 0-16,-14-1 0,14-12 0,0 13 15,0-1-15,0-12 16,0 13-16,0 0 0,0-1 0,0 1 15,0 0-15,0 0 16,27 13 15,-27 13-31,13 0 0,-13 0 16,13 1-16,1-1 0,12 13 16,-13-26-16,0 13 0,1 1 15,12-14-15,-13 0 16,1 0-16,-1 0 15,0-14-15,0 1 0,0-13 16,-13 13-16,0-1 0,14-12 16,-14 13-16,0-54 15,0 41 1,0 13-16,0 0 16</inkml:trace>
  <inkml:trace contextRef="#ctx0" brushRef="#br0" timeOffset="16459.22">22238 2461 0,'40'53'15,"-40"-27"1,0-13-16,13 53 15,0 1-15,-13-41 16,0-13-16,0 0 16,14 14-16,-14-1 0,13-12 15,0-1 1</inkml:trace>
  <inkml:trace contextRef="#ctx0" brushRef="#br0" timeOffset="16846.4">22384 2434 0,'79'-26'15,"-66"39"-15,1-13 16,-1 13-16,-13 0 16,-13 14-16,-1-1 15,-25 14-15,25-14 0,-65 41 16,66-54 0,0 0-16,-1 0 15,14 1-15,0-1 31,14-13-31,-1 0 0,0 13 16,27-13 0,-27 0-16,13 13 0,1-13 15,-1 0-15,27-13 16,-26 0 0,-14 13-1</inkml:trace>
  <inkml:trace contextRef="#ctx0" brushRef="#br0" timeOffset="17131.84">22569 2249 0,'40'0'16,"-1"26"-1,14 27 1,0 0-16,-40-26 0,14-1 16,-14 14-16,0 26 15,-13 13-15,-13-39 16,0-13-16,-14 39 0,1-27 16,13-25-1,-1-1-15,14 0 0,-13 0 16</inkml:trace>
  <inkml:trace contextRef="#ctx0" brushRef="#br0" timeOffset="17381.88">23138 2368 0,'40'-13'0,"-27"13"0,13-13 16,1 13-16,-14 0 16,13 0-1,-12 0-15,-28 13 16,14 0-1</inkml:trace>
  <inkml:trace contextRef="#ctx0" brushRef="#br0" timeOffset="17553.29">23098 2527 0,'66'0'16,"-39"-13"-16,-14 13 0,0 0 15,27 0 1,-27 0-16,0 0 0,1 0 16</inkml:trace>
  <inkml:trace contextRef="#ctx0" brushRef="#br0" timeOffset="22256.11">22423 2434 0,'-13'0'15,"0"0"1,-13 0-16,12 0 16,-12 13-16,-14 1 15,0-1-15,27-13 16,0 0-16,-13 13 0,12-13 15</inkml:trace>
  <inkml:trace contextRef="#ctx0" brushRef="#br0" timeOffset="25682.95">20518 5120 0,'-26'13'16,"26"0"-16,-13 40 15,13-40-15,0 14 0,0-1 16,-13 14-16,13 13 0,0-27 15,0 1-15,-14 26 0,14-40 16,0 13-16,0-12 0,0 12 16,14 0-16,-14-12 15</inkml:trace>
  <inkml:trace contextRef="#ctx0" brushRef="#br0" timeOffset="26087.24">20505 5186 0,'27'-13'0,"65"13"31,-78 26-31,-14-13 0,-14 40 16,-39 27-1,27-67-15,-1 13 16,-12 1 0,26-14-1,-1 0-15,1 0 16,13 1-16,13-1 15,1 0-15,12-13 16,0 13-16,-12-13 0,39 0 16,-14 0-1,-25 0-15,25 0 16,-26 0-16</inkml:trace>
  <inkml:trace contextRef="#ctx0" brushRef="#br0" timeOffset="26300.67">20889 5278 0,'0'27'31,"0"-14"-31,-13 14 0,-1 39 16,14-40-1,-13 14-15,13-27 16,0 0-16,0 1 0,0-1 16,13 0-16</inkml:trace>
  <inkml:trace contextRef="#ctx0" brushRef="#br0" timeOffset="26927.32">20294 5159 0,'-67'159'15,"67"-119"-15,14 238 16,12-225-1,1-14-15,12-12 16,-12-14-16,-1-13 16,40 0-1,-39 0-15,12-13 0</inkml:trace>
  <inkml:trace contextRef="#ctx0" brushRef="#br0" timeOffset="27231.2">20876 5014 0,'13'13'15,"0"14"-15,0 39 16,14 0-1,-27-26-15,0 92 16,-27 13 0,14-118-16,-40 39 15,27-40 1,-27 1 0,13-27-1,0 13-15</inkml:trace>
  <inkml:trace contextRef="#ctx0" brushRef="#br0" timeOffset="27692.35">19592 5398 0,'-26'132'15,"13"-93"-15,-1 1 16,14-27-16,0 40 16,-13-53-1,13 14-15,-13-41 31,13 14-31,0-53 16,26-80-16,1 40 16,13 14-16,-14 65 15,1 1-15,25-14 0,-25 40 16,13-13 0,-14 39-16,-26 27 15,-53 40 1,40-67-16,-40 27 15,13 0-15,14-26 16,-14-1 0,27-26-16</inkml:trace>
  <inkml:trace contextRef="#ctx0" brushRef="#br0" timeOffset="28049.77">21339 5173 0,'0'39'15,"0"80"1,0-92-16,0 13 15,0 12-15,0-38 16,0 25-16,0-25 16,13 12-1</inkml:trace>
  <inkml:trace contextRef="#ctx0" brushRef="#br0" timeOffset="28297.41">21220 5424 0,'92'-26'31,"-65"26"-31,211-40 32,-212 40-32</inkml:trace>
  <inkml:trace contextRef="#ctx0" brushRef="#br0" timeOffset="28477.24">21868 5120 0,'-66'211'15,"52"-184"-15,1 39 16,0-13 0,13-40-16,0 0 0,0 14 15,0-14-15,0 0 16,-542-145-16,1084 277 0,-529-145 16,0-13-1,1 13-15</inkml:trace>
  <inkml:trace contextRef="#ctx0" brushRef="#br0" timeOffset="29043.86">21815 5278 0,'145'-66'15,"-118"66"1,-14 14-16,0-1 15,1 0-15,-28 0 16,-65 53 0,53-39-16,12-14 0,-12 14 15,-1-14 1,1 0-16,13-13 16,13 13-16,13 0 31,0-13-31,14 0 15,-14 14-15,13-14 16,1 0-16,-14 0 0,13 0 16,-12 0-16</inkml:trace>
  <inkml:trace contextRef="#ctx0" brushRef="#br0" timeOffset="29665.16">22199 5133 0,'-53'106'15,"26"-53"1,27-27-16,-13 27 16,13 13-16,0-53 15,0 14-15,13-1 16,14 14-16,-1-27 15,-13-13-15,1 0 16,-1 0-16,13-13 16</inkml:trace>
  <inkml:trace contextRef="#ctx0" brushRef="#br0" timeOffset="30093.8">22291 5477 0,'27'-40'31,"-14"14"-31,0 13 15,-13-1-15,13 1 16,1 0 0,-1 13 15,13 13-15,-13 0-16,1-13 15,-1-13 1,13 13-16,-12-26 15,-1 12 1,0 1-16,-13 0 16,13 0-16,-13-1 15,0 1 1,13 13-16,-13-13 16</inkml:trace>
  <inkml:trace contextRef="#ctx0" brushRef="#br0" timeOffset="30656.06">22728 5159 0,'-14'53'15,"14"-39"-15,-13 65 16,13-39-1,0-14 1,0 1-16,0-1 16,0-13-1,0 0-15,-13-52 32,13 26-17,13-27-15,-13 13 0,27-52 16,-27 53-16,26-14 15,-26 27-15,13-14 16,1 14-16,25-14 16,-12 27-1,-14 14-15,0-1 0,-13 0 16,-26 40 0,-14-13-1,0-1-15,27-39 16,-27 27-16,27-14 15,0 0 1,13 1-16,-13-14 16,39 13-1,-13 0 1,1 0-16,12 1 16,1-14-1,-14 13-15,0-13 16,0 13-1,1-13-15,12-13 16,-13 13-16,0 0 16</inkml:trace>
  <inkml:trace contextRef="#ctx0" brushRef="#br0" timeOffset="30967.22">22953 4934 0,'53'67'15,"-40"-41"-15,13 40 16,-13-26-16,1 26 0,-14 0 15,0-39-15,-14 12 0,1-12 16,0-1-16,0 1 16,-14 26-16,14-27 0,-13 1 15,12-14-15,28-26 32</inkml:trace>
  <inkml:trace contextRef="#ctx0" brushRef="#br0" timeOffset="31184.34">23297 5226 0,'105'-14'16,"-65"14"0,-27 0-16,1 0 15,-1 0-15,-13 14 0</inkml:trace>
  <inkml:trace contextRef="#ctx0" brushRef="#br0" timeOffset="31363.38">23283 5371 0,'0'13'16,"14"-13"-16,-1 0 15,0 0-15,66-13 16,-26 13 0,-26-13-1,-14 13-15,13 0 0</inkml:trace>
  <inkml:trace contextRef="#ctx0" brushRef="#br0" timeOffset="31622.26">24117 4974 0,'-27'80'16,"14"-41"0,0-12-16,13 12 0,-13-12 15,13-1-15,-14 1 16,1 39 0,13-53-16,0 14 15,0-14 1</inkml:trace>
  <inkml:trace contextRef="#ctx0" brushRef="#br0" timeOffset="31894.25">24315 5384 0,'-13'14'15,"0"-14"-15,-40 39 16,-13 14 0,13-13-16,26-14 0,-12-13 15,12 14-15,1-1 16,12-12-16,-38 12 0,52-13 15,-14 1-15</inkml:trace>
  <inkml:trace contextRef="#ctx0" brushRef="#br0" timeOffset="34539.33">19407 6800 0,'-13'66'15,"13"-40"1,0 67-16,-13-40 16,13-27-16,0 41 15,0-41-15,-13 0 0,13-12 16,0 12-16,0 14 15,0-27-15,0 0 16</inkml:trace>
  <inkml:trace contextRef="#ctx0" brushRef="#br0" timeOffset="34815.29">19381 6787 0,'26'-14'15,"1"14"1,-80 14-16,119-14 0,-53 13 16,0 0-16,1 0 0,-14 0 0,13 14 15,-13 26-15,0-27 16,-13 27-1,-14 0-15,-13-26 16,27-14 0,0 0-16,0-13 15</inkml:trace>
  <inkml:trace contextRef="#ctx0" brushRef="#br0" timeOffset="35211.51">19844 6681 0,'-66'79'16,"39"-52"-16,-79 197 16,93-171-16,0-13 15,-14 106 1,27-67-16,14-13 15,25 27-15,1-54 16,-14-12 0,27-14-16,14-13 15,-1-26 1,-40 12-16</inkml:trace>
  <inkml:trace contextRef="#ctx0" brushRef="#br0" timeOffset="35991.41">20294 6866 0,'39'0'16,"-92"26"-1,40-26 1,-40 14 0,40-1-16,-14-13 15,27 13-15,-13-13 0,13 13 16,40 1 15,0 12-31,-14-26 16,-26 13-16,27 0 15,-27 1 1,-14-14 0,1 13-16,-13 13 0,-1-12 15,-26-1 1,40-13 0,0 0-1</inkml:trace>
  <inkml:trace contextRef="#ctx0" brushRef="#br0" timeOffset="36306.3">20638 6972 0,'-40'26'31,"-185"133"0,185-133-31,-39 27 16,66-26-1,-40 26 1,13-27 0,40-13-16</inkml:trace>
  <inkml:trace contextRef="#ctx0" brushRef="#br0" timeOffset="37066.54">20426 7329 0,'53'-13'31,"-40"26"-31,0-13 0,-13 13 16,0 0-1,0 1-15,-13-1 16,13 0-16,0 0 16,0 1-1,0-1-15,0 0 16,13 0 0,-13 0-16,-13 1 15,0 12 1,0 1-1,-1-27-15,-12 13 16,39-26 15,14-14-15,12 1-16,14-27 16,-13 13-1,-27 27-15,0 0 16,1 13-16,-1 13 15,-13 0 1,0 14 0,0-14-1,0 0-15,0 0 0,13-13 16,0 13-16,-13 1 16,13-14-16,1 0 31,-41 0 16,14-14-47,0 14 15,13-13-15,0 0 0</inkml:trace>
  <inkml:trace contextRef="#ctx0" brushRef="#br0" timeOffset="37568.44">20915 7250 0,'-13'13'16,"13"0"-16,-13 0 15,26 0 1,-13 1-16,0-1 16,13 13-1,1 1 1,-28-1-1,1 1 1,13-14-16,-13-13 16,13 13-16,-13-13 0,-1 0 15,1 0-15,0 0 16,13-13-16</inkml:trace>
  <inkml:trace contextRef="#ctx0" brushRef="#br0" timeOffset="37898.49">21008 6522 0,'291'304'15,"-251"-224"-15,-27-41 0,0 1 16,-13 13-16,0-13 0,-13 13 0,0-1 16,-1 1-16,-52 53 15,40-66-15,-40 39 0,39-39 16,1-14-16,-1 1 0,-12 13 15,12-27-15,14 0 16</inkml:trace>
  <inkml:trace contextRef="#ctx0" brushRef="#br0" timeOffset="38452.69">21722 6747 0,'14'53'15,"-28"0"-15,14-27 16,-13 27-16,13-13 16,0 13-16,0-14 15,0-25-15,0-1 16</inkml:trace>
  <inkml:trace contextRef="#ctx0" brushRef="#br0" timeOffset="38647.32">21590 6945 0,'26'0'16,"-12"0"0,25-13-16,-25 13 0,12 0 15,1 0-15,25 0 0,1-13 16,-39 13-16,12 0 15,14-13-15,-27 13 16,0 0-16</inkml:trace>
  <inkml:trace contextRef="#ctx0" brushRef="#br0" timeOffset="39406.35">22357 6654 0,'93'-13'16,"-80"13"-16,0 13 15,-13 1 1,-26 25-16,13-26 16,-1-13-16,1 14 0,0-1 15,0 0-15,0 0 0,-1-13 16,14 14-1,14-1-15,-1-13 16,0 13-16,13 0 0,-12-13 16,-1 13-16,0-13 15,0 14-15,1-1 0,-14 0 16,-14 0 0,1-13-16,13 14 0,-13-14 15,0 13-15,-1-13 0,-38 13 16,38-13-1,1 0-15,0 0 16,13-13-16</inkml:trace>
  <inkml:trace contextRef="#ctx0" brushRef="#br0" timeOffset="39703.43">22662 6641 0,'-27'53'31,"1"0"-15,26-40-16,0 14 15,13-14-15,0 13 0,-13-13 16,13 1-16,1-14 16,12 13-16,-13 0 15,0-13-15,1 0 16,-14-13-16,13 0 15,-26-1-15,-1 14 16,1-13-16,0 13 16,0 0-16,-14 13 15,14-13-15,-13 0 16,12 14-16</inkml:trace>
  <inkml:trace contextRef="#ctx0" brushRef="#br0" timeOffset="40043.67">22992 6628 0,'-66'66'0,"53"-40"16,0 14-16,-1 0 15,14-14-15,14-13 16,-1 1-16,0-14 16,-13 13-16,27-13 0,-14 0 15,0 0-15,-13-13 0,13 13 16,-13-27-16,0 1 16,0-1-16,0 14 15,-13-13-15,13 12 0,0 1 16,-13 0-16,13 0 15,-13 13-15,-1 13 16,-12 0-16,26 0 16,-27 14-16,14-1 15</inkml:trace>
  <inkml:trace contextRef="#ctx0" brushRef="#br0" timeOffset="40319.33">22265 7236 0,'132'-26'15,"-39"13"1,-14-1-16,-26 1 15,-13 0-15,52 0 0,1-14 16,-14 14-16,-52 0 0,-1 13 16,1 0-16,-1 0 15,-13-13-15</inkml:trace>
  <inkml:trace contextRef="#ctx0" brushRef="#br0" timeOffset="40803.47">22463 7422 0,'40'0'0,"-14"0"16,-26 13-16,13 0 15,1-13-15,-14 26 0,0-12 16,-14-1-1,14 0-15,-13 0 16,26 1 0,1-14-16,-14 13 15,13-13-15,0 13 0,0-13 16,1 13-16,-1 1 16,-13-1-16,13-13 15,-26 13-15,0 0 16,-1 0-16,1 1 15,-13-1-15,12-13 16,1 13-16,0-13 0,26-26 31</inkml:trace>
  <inkml:trace contextRef="#ctx0" brushRef="#br0" timeOffset="41102.42">22794 7435 0,'-40'53'16,"14"-27"-1,26-13 1,-14 14-16,1-14 0,13 27 16,13-14-1,1-13-15,12 1 16,14-239-16,-53 450 15,26-225-15,0 0 16,0-14 0,-26 1-16,0 0 15,0 0 1,-1 13 0,1-13-1</inkml:trace>
  <inkml:trace contextRef="#ctx0" brushRef="#br0" timeOffset="41486.96">23006 7514 0,'0'-13'0,"-14"26"31,14 0-15,14 1 15,-1-1-31,0-13 0,-13 13 16,26 0-16,-12-13 0,-1 14 15,0-1-15,-13 0 16,0 0 0,0 0-16,-13 1 15,0-14-15,-14 13 0,1 0 16,13 0-16,-40 1 16,26-14-1,-13-14-15,14 14 16</inkml:trace>
  <inkml:trace contextRef="#ctx0" brushRef="#br0" timeOffset="42032.64">22397 6535 0,'-132'238'16,"92"-105"-16,14-67 0,-1 79 15,27 1 1,0-67-16,0 1 0,27-14 16,78 185-1,-65-198-15,0-13 0,52 39 16,-12-39-16,-1-14 15,0-26-15,14-13 16,-27-13-16,40-14 16</inkml:trace>
  <inkml:trace contextRef="#ctx0" brushRef="#br0" timeOffset="42535.54">23072 6522 0,'106'0'15,"-93"0"-15,66 79 0,-39-39 16,26 53-16,-26 12 16,13 1-1,-40-53-15,13 185 16,-26-132-16,0-53 16,-13 40-1,0-54-15,0 1 0,-1-13 0,-12 39 16,-1-27-16,14-25 15,-13 12-15,12-26 0,1 0 16,0 0-16,-27-26 16,14-1-16</inkml:trace>
  <inkml:trace contextRef="#ctx0" brushRef="#br0" timeOffset="42843.58">22966 6125 0,'-13'132'16,"-1"-52"-1,14-27 1,-13-27-16,13 1 0,0-1 16,-13 14-16,13-27 0</inkml:trace>
  <inkml:trace contextRef="#ctx0" brushRef="#br0" timeOffset="43066.3">22794 6416 0,'13'27'16,"0"-14"-16,1 0 0,25 0 15,1 1 1,0-14-16,-1 0 16,-25 0-16,25-14 15,-12 14-15,12-13 16</inkml:trace>
  <inkml:trace contextRef="#ctx0" brushRef="#br0" timeOffset="44771.34">23733 6932 0,'27'0'0,"-1"-13"16,-13 13-16,0 0 0,1 0 15,-1 0-15,0 0 0,0-13 16</inkml:trace>
  <inkml:trace contextRef="#ctx0" brushRef="#br0" timeOffset="44929.16">23680 7064 0,'27'14'0,"-14"-14"0,27-14 16,-1 14 0,-12 0-16,-14 0 0,13-13 15,-12 13-15</inkml:trace>
  <inkml:trace contextRef="#ctx0" brushRef="#br0" timeOffset="45498.38">24355 6800 0,'40'26'15,"-40"-13"-15,-14 14 16,-12-1 0,26-12-1,0-1 1,0 0-16,13 0 15,0 1-15,1 12 16,-14-13 0,-27 14-1,1-14-15,12 0 16,1-13-16,0 13 0,0-13 0,0 0 16,-1 0-16,1 0 0,0 0 15,13-26 1</inkml:trace>
  <inkml:trace contextRef="#ctx0" brushRef="#br0" timeOffset="45764.18">24540 6800 0,'-26'13'15,"12"13"-15,14-12 0,-13-1 16,0 0-16,13 0 0,-13 1 15,13 25-15,0-25 16,13 12-16,0 0 16,0-26-16,-13 14 0,14-14 15,-41-14 32,27 1-31,-13 13-16,0 0 15,13-13-15,-13 13 0</inkml:trace>
  <inkml:trace contextRef="#ctx0" brushRef="#br0" timeOffset="46071.07">24646 6866 0,'-40'0'0,"27"13"15,26 14 17,0-27-32,1 26 0,-1-13 15,-13 1-15,13 12 16,0-26-16,-13 13 0,0 0 0,0 1 15,-13-1-15,13 0 16,-13-13-16,13 13 0,-40 14 16,27-27-16,-13 26 15,-1-12-15,14-1 16</inkml:trace>
  <inkml:trace contextRef="#ctx0" brushRef="#br0" timeOffset="46295.74">24117 7408 0,'145'-53'15,"-92"40"-15,-26 13 16,-1 0-16,14 0 0,0 0 15,-1 0-15,-12 0 16,-14 0-16,0 0 0,-13 13 0,13-13 16,1 14-16</inkml:trace>
  <inkml:trace contextRef="#ctx0" brushRef="#br0" timeOffset="46653.42">24276 7541 0,'26'0'31,"-26"13"-15,0 0-16,0 0 15,-13 1-15,0-1 16,13 13-16,-14-26 16,14 13-16,-13 1 0,13-1 15,0 0 1,-13 0-16,13 1 16,-13-1-16,-1 0 15,1 0-15,0-13 16</inkml:trace>
  <inkml:trace contextRef="#ctx0" brushRef="#br0" timeOffset="46896.17">24395 7607 0,'-14'26'31,"1"-13"-31,13 1 16,0-1-16,13 0 16,-13 0-1,14-13-15,-14 14 0,13-14 16,-26-14 46,-1 1-46</inkml:trace>
  <inkml:trace contextRef="#ctx0" brushRef="#br0" timeOffset="47171.64">24593 7607 0,'-13'13'32,"26"0"-32,-13 14 15,0-14-15,13 0 16,-13 0-16,-13 1 16,13-1-16,-13 13 15,-14-12-15,1-1 16,13-13-16,-1 0 15,1 13 1,0-26 0</inkml:trace>
  <inkml:trace contextRef="#ctx0" brushRef="#br0" timeOffset="47499.74">24884 6654 0,'-278'159'16,"120"-40"-1,105-79-15,-80 92 16,94-92-16,-1-1 15</inkml:trace>
  <inkml:trace contextRef="#ctx0" brushRef="#br0" timeOffset="47726.18">24606 7567 0,'-66'40'0,"40"-27"0,-54 40 15,-12 0 1,-1 13-16,53-26 0,-39 39 16,39-39-1,27-27-15</inkml:trace>
  <inkml:trace contextRef="#ctx0" brushRef="#br0" timeOffset="48005.55">25056 7131 0,'-66'185'16,"53"-159"-1,-14 67-15,27-67 16,-13-13-16,13 54 15</inkml:trace>
  <inkml:trace contextRef="#ctx0" brushRef="#br0" timeOffset="48259.72">25228 7554 0,'-53'13'0,"27"0"0,-41 14 16,1 12-1,40-12-15,-40 13 0,13 13 16,0-27-1</inkml:trace>
  <inkml:trace contextRef="#ctx0" brushRef="#br0" timeOffset="48425.29">25321 7633 0,'-53'40'16,"-106"53"-1,119-67 1,-52 14-16,52-14 0,-26 27 16,13-13-1</inkml:trace>
  <inkml:trace contextRef="#ctx0" brushRef="#br0" timeOffset="69103.85">16523 2249 0,'13'-13'16,"80"-14"-16,-53 14 0,-1 0 16,14 0-16,-13-1 0,66 1 15,-40 0-15,0-14 0,93-12 16,-119 26-16,26-1 16,-13 1-16,-40 13 15</inkml:trace>
  <inkml:trace contextRef="#ctx0" brushRef="#br0" timeOffset="69314.57">16603 2342 0,'13'0'0,"13"0"16,1 0-16,12-14 15,120-12 1,-119 13-16,0-1 16,79-12-16,-80 13 15,41-1 1,-54 14-16</inkml:trace>
  <inkml:trace contextRef="#ctx0" brushRef="#br0" timeOffset="73215.69">16351 6866 0,'-13'0'0,"39"-13"32,1 13-17,-1 0-15,80 0 0,-66 0 0,26 0 16,-13 0-16,0-14 15,13 14-15,119 0 0,-132 0 16,0 0-16,0 0 0,0 0 16,13 0-16,-13 14 15,-13-14-15,-1 0 16,-25 0 0</inkml:trace>
  <inkml:trace contextRef="#ctx0" brushRef="#br0" timeOffset="73535.7">16510 6932 0,'26'0'0,"14"13"16,26-13-1,-13 14-15,53-14 16,-40 0-16,0 0 0,120 13 15,-81-13-15,-52 0 16,0 0-16,-13 0 0,-14 0 16,80 0-1,-93 0-15,1 0 0,12 13 16,1-13 0,-14 0-16,0 0 15,0 0 1,0 0 15</inkml:trace>
  <inkml:trace contextRef="#ctx0" brushRef="#br0" timeOffset="75377.07">10769 7633 0,'132'0'16,"-13"0"0,0 0-1,119 13 1,-159-13-16,252 0 16,-79 14-1,-80-1-15,-80-13 16,80 13-16,0 0 15,-79-13-15,79 0 0,-80 0 16,-12 0-16,92 14 16,39-14-16,-158 0 15,119 0-15,-132 0 16,-14 0-16,1 0 16,-1 0-16,1 0 0,-1 0 15,-13 0 1</inkml:trace>
  <inkml:trace contextRef="#ctx0" brushRef="#br0" timeOffset="75863.85">11761 7871 0,'158'14'15,"-118"-14"-15,225 0 16,-1 0 0,-65 13-16,-1-13 15,-105 0-15,13 0 0,-14 0 16,93 13-16,-13 0 16,-26-13-16,-80 14 0,93-14 15,-119 0 1,-14 0-16,27 13 15,0-13-15,-40 0 16,0 0-16,1 0 0,-1 0 16,13 0-16,1 0 15,-27 13 17</inkml:trace>
  <inkml:trace contextRef="#ctx0" brushRef="#br0" timeOffset="81363.64">4286 10385 0,'27'13'16,"26"-13"-1,0 0-15,-14 0 0,80 0 16,-53 0-16,1 0 0,91-13 16,-92 13-16,-13 0 0,14-13 15,-15 13-15,1 0 0,0-14 16,-13 14-16,26-13 0,-39 13 16,-14 0-16,13-13 15,-12 13-15</inkml:trace>
  <inkml:trace contextRef="#ctx0" brushRef="#br0" timeOffset="81669.66">4366 10557 0,'92'0'16,"-52"0"0,158-13-16,-145 13 0,53 0 15,-53-14-15,0 14 16,-13 0-16,-14 0 0,27 0 16,-27 0-16,-12 0 0,-1 0 0,13 0 15,-12 0 1,12-13-16,-13 13 15,1 0-15,-1 0 0,0 0 16,0 0-16,27-13 16,-27 13-16</inkml:trace>
  <inkml:trace contextRef="#ctx0" brushRef="#br0" timeOffset="85456.68">6641 10372 0,'13'0'15,"1"0"-15,12 0 0,14 0 16,-1 0-16,-12 0 16,26 0-16,0 0 0,0 0 0,158 13 15,-158-13 1,0 13-16,53-13 15,-53 0-15,79 0 16,27 13-16,-14-13 16,-65 0-16,-1 0 0,0 0 0,1 0 15,251-13 1,-252 26-16,0-13 0,14 0 16,-14 0-16,1 0 0,264 0 31,-265 0-31,0-13 0,1 26 0,65-26 15,-65 13-15,-1 13 0,-26-13 16,0 0-16,0 0 0,53 0 16,-1 0-16,-65 0 15,40 14-15,-54-14 0,0 0 16,14 0-16,-13 0 0,-1 13 16,1-13-16,25 0 0,-25 0 15,-14 0-15,0 0 0,27 0 16,-27 0-16,0 0 0,14 13 15,-14-13-15,0 0 16,1 0-16,-1 0 16,0 0-16,0 0 15,1 0-15,-1 0 16,0 0 0,0 0-16,14 0 15,-14-13-15,0 13 16,0 0-16,14 0 15,-14 0-15,14 0 0,-14 0 0,13 0 0,1 0 16,39 0-16,13-13 16,-26 13-16,40 0 15,-40 0-15,-14 0 0,67 0 16,-53 0-16,0 0 16,40-14-16,12 14 15,54 0-15,-93 0 16,-13 0-16,0 0 0,0 0 15,0 0-15,53 0 16,-40 0-16,-13 0 0,0 0 16,0 0-16,53 0 0,-54 0 15,54 0-15,-53 0 0,0 0 16,0 0-16,0 0 0,26 0 16,-26 0-16,-13 0 0,-14 0 15,14 0-15,26-13 0,-26 13 16,13 0-16,-27 0 15,-12 0-15,-1 0 16,0 0-16,27 0 16,-14 0-16,-13 0 15,14 0-15,-14-13 16,13 13 0,-12 0-16,12 0 15,-13 0 1,1 0-16,12 0 15,1 0 1,-14 0 0,0 0-16,0-13 0,0 13 15,14 0-15,-1 0 16,-26-14-16,14 14 16,-1-13-16,0 13 0,0-13 15,-13 0-15,27-14 16,-14 1-16,-13 13 15,13-14-15,-13 1 0,13 12 0,1-38 16,12-28 0,14-39-1,-27 53 1,0 26 0,-13 27-16,0 0 0,0 0 0,14-40 31,-14 39-31,0 1 0,0 0 15,0 0-15,0 0 16,0-1-16,0 1 16,0 0-1,0 0 1,-14-1 0,1 14-1,-13 0 1,-54 0-1,54 0-15,13 0 16,-14 0-16,-13 14 16,14-14-16,-14 0 0,1 0 15,-14 13 1,26-13-16,1 0 16,-40 0-16,-27 0 15,-13 0 1,66 0-16,-12 0 0,-1 0 15,-185-13 1,185 13-16,0-14 16,-66 14-16,-53-13 15,119 13-15,-212-26 16,146 26 0,53-14-16,0 14 0,-40-13 15,-66 0 1,66 0-16,53 13 15,0 0-15,-53-13 16,-52-1-16,52 1 16,-53 13-1,119-13-15,-26 13 0,-40 0 16,1 0 0,52-13-16,0 13 0,-93-14 15,93 14-15,-39 0 16,-14-13-16,0 13 15,53 0-15,-39-13 0,-1 13 16,-53-13 0,107 13-16,-107-14 15,93 1-15,14 13 16,-67 0-16,13-13 16,67 13-16,-40 0 15,13 0-15,13-13 0,-26 13 16,39 0-16,-26 0 0,14 0 15,12-13-15,-92 13 16,53 0-16,26 0 16,-39-14-16,39 14 15,14-13-15,-27 13 16,40 0-16,-40 0 0,26 0 16,-26-13-16,-13 13 15,40 0-15,-1 0 16,-26 0-16,27 0 0,0-13 15,-1 13-15,1 0 0,-27 0 16,13 0-16,-13 0 16,27 0-16,12 0 15,-12-14-15,-14 14 16,-39 0-16,39 0 16,14 0-16,-1 0 0,14 0 15,-13 0-15,-27 0 0,0 0 16,26-13-16,-12 13 15,-14 0-15,26 0 16,-12 0-16,-1 13 16,13-13-16,1 0 15,0 0-15,12 0 16,-39 0-16,40 0 16,-13 0-16,12 0 15,-12 0-15,13 0 16,0 14-16,-1-14 0,-25 0 15,25 0-15,-12 0 16,-27 13 0,27-13-16,-1 0 15,-13 0-15,1 0 16,26 0-16,-1 0 16,1 13-16,0-13 0,-40 0 15,40 0-15,-14 0 16,14 0-16,-13 13 15,12-13-15,-39 0 32,40 0-32,0 0 0,0 0 0,-1 0 15,-25 0-15,26 0 16,-14 14-16,14-14 31,0 0-31,-1 0 16,1 0-16,13 13 15,-13 0 17,13 0-17,-13 14 1,13-14-16,0 0 16,-14 0-16,14 27 15,-13-27-15,13 27 16,0-14-16,-13 14 15,13-27-15,0 27 16,0-27-16,-13 27 16,13-27-16,0 14 0,0 12 15,0-25-15,0 12 16,0 0-16,0 1 0,0-1 16,13 1-16,-13-14 15,-13 27-15,13-27 16,0 13-16,0-12 15,0 39 1,0-27-16,0-13 16,0 40-1,0-40-15,0 14 16,-13-27-16,26 26 16,-13-12-16,0-1 15,-13 0-15,13 27 16,0-27-16,0 0 15,0 14 1,0-14 0,0 0-16,0 0 15,0 1 1,0-1 15,13-13-15,0 0-16,13 0 15,-12 0 1,12 0 0,1 0-16,12 0 15,-12-13 1,-14 13-16,53 0 16,-53-14-16,27 14 0,-13 0 0,-1-13 15,-13 13-15,27 0 16,0-13-16,-1 13 15,1 0-15,-27 0 16,0-13 0,1 13-16,-1 0 15,13 0 1,-12 0 0,-1 0 15,0 0 0,-26-14 125,13 1-140</inkml:trace>
  <inkml:trace contextRef="#ctx0" brushRef="#br0" timeOffset="87895.48">3863 11298 0,'13'13'32,"27"-13"-32,-14 0 15,14 0-15,0 0 0,13-13 16,52 13-16,14-14 15,-39 14-15,-27 0 0,13-13 0,-13 13 16,13 0-16,-13 0 16,66 0-16,0 0 0,-66 0 15,0 13-15,0-13 0,53 0 16,-67 0-16,1 0 16,13 0-16,-27 14 0,14-14 15,-13 0-15,-14 0 16,0 0-1</inkml:trace>
  <inkml:trace contextRef="#ctx0" brushRef="#br0" timeOffset="88330.76">4101 11470 0,'66'0'16,"-13"0"-16,-26 0 15,25-14-15,1 14 0,0 0 16,66 0-16,-66-13 0,80 13 15,-81 0-15,28-13 0,26 13 16,13 0 0,26 0-16,-65 0 15,-41 0-15,14 0 16,-13 0-16,-27 0 16,14 0-16,-14 0 0,0 0 15,0 0-15,1 0 16,-1 0-16,0 0 15,0 0 32,0 0-31</inkml:trace>
  <inkml:trace contextRef="#ctx0" brushRef="#br0" timeOffset="93235.78">6668 11245 0,'26'0'31,"14"0"-15,-14 0-1,-13 0-15,14 0 0,-1 0 0,14-13 16,-14 13-16,1 0 0,52 0 16,14 0-16,-53 0 15,52 0-15,1 0 16,-54 0-16,14 0 0,0 0 16,40 0-16,79-14 15,-53 14-15,-66 0 16,13 0-16,-13 0 15,26-13-15,67 13 0,-80-13 16,79 13-16,94 0 16,-120-13-1,-53 13-15,145 0 16,-144 0-16,-1 0 16,-13 0-16,13 0 0,-13 0 15,198 13-15,-198-13 16,13 0-16,0 0 15,93 0-15,-53 13 16,0-13-16,-53 0 16,0 13-16,-1-13 0,1 0 15,53 0-15,-13 14 16,-54-14-16,54 0 0,-53 13 16,-1-13-16,41 0 15,-40 0-15,65 13 16,14-13-16,-79 0 15,53 13 1,13-13 0,-40 0-16,-40 0 15,54 13-15,-54-13 0,40 0 16,0 0-16,-26 0 16,0 0-16,-1 0 0,1 0 15,26 14-15,-26-28 0,26 28 16,-40-14-16,41 0 15,-28 0-15,27 0 16,40 0-16,-79 0 16,105 0-1,-106 0-15,27 0 0,-13 0 0,26 0 16,14 0-16,-1 0 16,14 0-16,12 0 15,94 0 1,-107 0-1,1 0-15,-40 0 16,92 0 0,14 0-16,-119 0 15,13 0-15,0 0 0,39-14 16,1 14-16,13 0 16,-53 0-16,105-13 15,-105 13 1,40 0-16,66-13 15,-120 13-15,14 0 0,-26 0 16,12 0-16,1 0 0,53 0 16,-27-13-1,13 13-15,-39 0 16,0 0 0,-27 0-16,27 0 15,-27 0-15,0 0 16,0 0-16,1 0 15,12-13 1,-13 26 0,0-26-16,1 26 15,-1-13 1,0 0-16,0 0 16,1 0-1,-1 0-15,0 0 31,0 0-15,1 0 47,-1 0-48,0 0 1,0 0-16,14 0 15,-14 0-15,27 0 16,12 0 0,-12-13-16,0 13 15,-27 0-15,40 0 16,0 0 0,-40 0-16,14 0 15,-14-14 1,0 14-16,0 0 0,1 0 15,-14-13-15,13 13 0,0-13 16,13-27 0,-26 27-16,14-27 15,-1 1-15,0-1 16,-13 13-16,13-25 16,1 12-16,12-26 15,-13 26-15,-13 27 16,0 0-16,13-1 15,-13 1-15,14-27 16,-14 27-16,0-13 16,13 26-16,-13-14 15,0 1-15,0 0 16,0 0 0,-13 13-1,-14 0 1,14 0-16,0 0 0,0 0 15,-14 0-15,-13 0 16,1 0-16,-41 0 16,67 0-1,-13 0-15,-14 0 0,27 0 0,-27 13 16,14-13-16,-27 0 0,0 0 16,26 0-16,-39 0 15,40 0-15,-40 0 16,-40 0-1,40 0-15,39 0 16,-13 0-16,1 0 0,-1 0 0,-39 0 16,-14 0-1,53 0-15,-13 0 0,14 0 0,-14 0 16,-93-13-16,54 13 16,-14-13-16,13 13 15,40-14-15,-52 14 16,52 0-16,-119 0 15,119-13-15,-53 13 16,53 0-16,-53 0 16,-13-13-16,-119 13 15,185 0 1,-53 0-16,-13 0 16,66 0-16,-53-13 15,-13 13-15,66 0 0,14 0 16,-67 0-16,13 0 15,54 0-15,-1-14 16,-39 14-16,-14 0 16,53 0-16,-52-13 15,26 13-15,13 0 16,13 0-16,13-13 16,-12 13-16,12 0 0,1 0 0,-40 0 15,39-13-15,-65 13 16,65 0-16,-12 0 15,-14-13-15,13 13 16,-53 0-16,67 0 0,-67-14 16,27 14-1,26 0-15,14 0 0,-14 0 16,14 0-16,-40-13 16,0 13-16,-14 0 15,27 0-15,14-13 0,-28 13 16,28 0-16,-27 0 15,-14-13-15,41 13 16,12 0-16,-39-14 0,0 14 16,-40-13-1,66 13-15,14 0 16,-14 0-16,-39-13 0,52 13 16,-12 0-16,-81-13 15,81 13-15,-54 0 16,27-14-1,40 14-15,-107-13 16,107 13-16,-40 0 16,-27-13-1,1 13-15,65 0 16,-52-13 0,-1 13-16,-26 0 15,80 0 1,-27-13-16,27 13 15,-80 0 1,53 0-16,26 0 16,1 0-16,-40-14 15,39 14-15,-39 0 16,27 0-16,25 0 16,-65 0-1,39 0-15,1 0 16,12 0-16,-13-13 15,1 13-15,-14 0 16,-13 0 0,52 0-1,-38 0-15,12 0 16,0 0-16,27 0 16,-27 0-16,14 0 15,13 0-15,-40 0 16,26 0-1,1 0-15,-1 0 0,14 0 16,-13 0-16,-14 0 16,-13 0-1,40 0-15,-1 0 0,-12 0 16,0 0 0,12 0-16,-25 0 15,25 0-15,1 0 16,-13 0-1,12 0-15,1 0 16,-13 0 0,13 0-1,-14 0 1,14 13-16,-27-13 16,27 0-16,0 0 15,-27 14-15,27-14 16,-14 0-16,14 0 15,-13 13-15,-40-13 16,52 0-16,-12 13 16,-14-13-1,0 13 1,27-13 0,-26 0-16,25 13 15,-12-13-15,-1 0 16,27 14-16,-13-14 15,-13 0-15,13 0 16,-1 0-16,1 13 16,0-13-1,0 0-15,-1 0 0,1 13 16,-13-13 0,12 0-16,1 13 15,-13-13-15,13 0 0,-1 14 16,-12-14-16,13 0 0,-14 13 15,1-13 1,-14 0-16,14 13 16,12-13-1,1 0-15,0 0 16,0 0 0,-1 13-1,1-13 1,0 0-1,0 0 1,-1 0 0,1 0-16,0 0 0,0 14 15,0-14 1,-14 0 0,14 13-16,0-13 15,-1 13 1,14 27-1,0-14-15,0 1 16,0-14 0,0 0-16,0 40 15,0-27-15,14 27 16,-14-39-16,0 12 16,0 40-1,0-26-15,0 0 16,0-27-1,13 26-15,-13-12 16,0-1-16,0 1 16,0-14-1,0 0-15,13 0 16,-13 1 0,0-1-16,0 0 15,13 0 1,-13 1 15,14-1-15,-14 0-1,13-13 1,0 13 0,0-13-1,14 0-15,-1 0 16,-13 0-16,14 0 0,26 0 15,-14 0 1,28-13-16,-14 13 16,-27 0-16,67 0 15,-67 0-15,-13 0 16,27 13-16,-14-13 16,-26 14-1,14-14-15</inkml:trace>
  <inkml:trace contextRef="#ctx0" brushRef="#br0" timeOffset="95651.42">3717 12343 0,'67'-13'16,"-41"13"0,120-27-16,-80 27 0,0-13 15,0 0-15,0-1 16,0 14-16,80-26 0,-80 26 16,-13-13-16,39 0 0,-39 13 15,40-14-15,-67 14 16,14 0-16,-27-13 0,14 13 0,12 0 15,-25 13-15,-1-13 16</inkml:trace>
  <inkml:trace contextRef="#ctx0" brushRef="#br0" timeOffset="96110.93">3797 12462 0,'238'-27'16,"-93"1"0,1-1-16,-80 14 15,93-13 1,-27 13-16,14-14 16,65 1-1,-131 26-15,-54 0 16,1-14-16,12 14 0,-12 0 15,-1 0-15,-13 0 16,1 0-16,-1 0 31,0 0 16,0 0-31</inkml:trace>
  <inkml:trace contextRef="#ctx0" brushRef="#br0" timeOffset="100171.25">6376 12250 0,'27'0'47,"-1"0"-32,14 0 1,0 0-16,13 0 16,13 0-16,0 13 15,-40-13-15,14 0 0,0 0 16,13 0-16,0 0 0,39 0 16,-39 0-16,0 0 0,0 0 15,0 0-15,66 0 16,-66 0-16,66 0 0,13 0 15,-66 0-15,1 0 16,-1 0-16,0 0 0,0-13 0,79 13 16,94 0-1,-160-13-15,0 13 0,67 0 16,13 0 0,-93 0-16,106 0 0,-27 0 15,-65 0-15,52 0 16,0 0-16,-52 0 15,65 0-15,-26 0 16,-53 0-16,0 0 0,1 0 16,131 13-16,-132-13 15,53 0-15,14 0 16,-14-13-16,-66 13 16,66 0-16,-53 0 15,159 0-15,-172 0 16,52 0-16,1-13 15,0 13 1,-66 0-16,52 0 0,-52 0 16,13-13-16,-13 13 0,118 0 15,-91-14 1,-1 14-16,-27 0 16,28 0-16,25-13 15,14 13 1,-66 0-16,-14 0 0,40 0 15,0 0 1,1 0-16,-41 0 16,0 0-16,54 0 0,-27 0 15,-14 0 1,-12 0-16,66 0 16,-80 0-16,26 0 15,14 0 1,-13 0-16,0 0 0,-14 0 15,1 0-15,-1 0 0,-13 0 16,40 0-16,-26 0 16,-14 0-16,53 0 15,-53 13-15,14-13 0,39 0 16,-13 0 0,0 14-1,-27-14-15,14 0 16,-27 0-16,27 0 15,26 13 1,-53-13-16,27 0 16,-27 0-16,27 0 0,-14 0 15,1 0 1,26 13-16,-40-13 16,13 0-16,1 0 0,12 0 15,-12 0 1,13 0-16,-27 0 15,27-13-15,-14 13 16,-13 0 0,0 0-16,14 0 15,-1 0-15,-12 0 16,25-13 0,-12-1-1,-14 14-15,13 0 16,-12-13-1,-1 13-15,0 0 16,0-13 0,1 0-16,-1-1 15,-13 1 1,13-13-16,0-14 16,-13 14-1,0-14-15,0 13 16,13-12-1,-13-14-15,0 40 16,0-14-16,0 14 0,0-40 16,0 13-1,0 27-15,0-13 16,0 12-16,0 1 16,0 0-16,0 0 0,0-1 15,0 1 1,0 0-1,-13 0 1,13 0 0,-13 13-1,13-14 1,-13 14-16,-14 0 16,14 0-1,-13 0 1,-1-13-16,1 13 15,12 0-15,1 0 16,-13 0-16,-1 0 0,-12 0 16,-1 0-16,0 0 15,1-13-15,-14 13 16,0 0 0,-13 0-16,39 0 15,-26 0-15,0 0 16,27 0-16,-14 0 15,14 0-15,-14 0 0,14 0 16,12 0-16,-12 0 0,-40 0 16,52 0-1,-12 0-15,-14-13 0,14 13 0,13 0 16,-14 0-16,1 0 0,-40 0 16,-14-14-1,54 14-15,-1 0 16,1 0-16,-1 0 0,-39 0 15,40-13-15,-40 13 16,-67-13-16,80 13 16,-39 0-1,39-13-15,-53 13 0,-39-14 16,39 1-16,53 13 16,-66-13-16,13 13 15,27-13-15,-27 13 16,40 0-16,-53-13 15,-1 13-15,1-14 16,0 14-16,-53-13 16,119 13-16,-13 0 15,13 0-15,-105-13 16,52 13-16,53 0 16,-146-13-1,107 13-15,-40 0 16,26 0-1,66 0-15,-13 0 0,13 0 16,-52 13-16,26-13 16,26 0-16,-26 0 15,26 0-15,-26 0 0,13 0 16,-26-13-16,39 13 16,-53 0-16,14 0 0,13 0 15,26 0 1,-26 0-16,0 0 15,-40 0-15,40-14 16,-27 14-16,54 0 16,-1 0-16,-13 0 0,13 0 15,14 0-15,-54 0 0,14 0 16,27 0-16,-1 0 16,0 0-16,-92 0 15,-14 0-15,94 0 16,12 0-16,-13 0 0,13 0 15,14 0-15,-54 0 16,-12 0-16,12 0 16,-12 0-16,39 0 15,13 0-15,1 0 0,-94-13 16,94 13-16,-28 0 16,1 0-16,-26 0 15,65 0-15,-12-13 16,12 13-16,-52 0 15,52 0-15,1 0 0,-27-13 16,0 13 0,40 0-16,-40-14 15,40 14-15,-1 0 16,-12 0-16,13-13 16,-14 13-16,14 0 15,0 0 1,0 0-16,-14 0 15,-13 0 1,14 0 0,13 0-16,-27 0 15,14 13-15,-14-13 16,27 0-16,-14 14 16,-13-1-1,14-13-15,0 0 16,-14 13-1,27-13 1,-14 0 0,14 0-16,0 0 15,13 13 1,-14-13 0,1 0-1,0 0 1,13 14-1,-13-14 1,13 13-16,-13 0 16,-1 0-16,14 1 15,0 12 1,0-13-16,0 14 0,0 39 16,0-53-1,0 14-15,14 65 16,-14-79-16,13 80 15,-13-80 1,0 14-16,13 39 16,-13-13-1,0-40 1,0 13-16,0-12 16,0 12-1,0-13-15,-13 1 16,13 25-1,0-26 17,0 1-32,0-1 15,0 0 1,13 0 0,-13 1 15,13-1-16,0-13 1,27 13 0,-13 0-16,26 1 15,26-1 1,-53-13-16,67 13 16,-27-13-1,0 13 1,-13-13-16,-40 0 0,40 0 15,-39 0 1,-1 0-16,-13 13 0,13-13 16</inkml:trace>
</inkml:ink>
</file>

<file path=ppt/ink/ink18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4:50:12.844"/>
    </inkml:context>
    <inkml:brush xml:id="br0">
      <inkml:brushProperty name="width" value="0.05292" units="cm"/>
      <inkml:brushProperty name="height" value="0.05292" units="cm"/>
      <inkml:brushProperty name="color" value="#0070C0"/>
    </inkml:brush>
  </inkml:definitions>
  <inkml:trace contextRef="#ctx0" brushRef="#br0">5371 6390 0,'-13'13'16,"39"-13"-1,-12 0-15,38 0 16,15 13 0,91-26-1,-78 13-15,-1 0 0,0 0 16,80 0-16,-79-13 16,-1 13-16,0 0 0,1 0 0,-27 0 15,119 0-15,-14 0 16,-131 13-1,92-13 1,-93 0-16,1 0 16,-14 0-16,0 0 15,0 0-15,1 0 0</inkml:trace>
  <inkml:trace contextRef="#ctx0" brushRef="#br0" timeOffset="1331.11">5609 6522 0,'40'13'15,"-14"-13"-15,67-13 16,-40 13-16,26-13 0,67 0 16,-67 13-16,67-14 0,-67 14 15,-13-13-15,53 13 16,-13-13-16,66 13 15,-146 0 1,27 0-16,-13 0 16,0 0-1,-14 0-15,1 0 16,-1 0 0,-13 0-1,1 0-15,-1 0 47,0 0 0,0-13 469</inkml:trace>
  <inkml:trace contextRef="#ctx0" brushRef="#br0" timeOffset="2719.07">14764 6707 0,'158'-26'0,"-91"26"15,158-27-15,-67 27 16,1-13-16,-80 13 15,133 0-15,-93 0 16,-66 0-16,53 0 16,-66 0-16,12 0 15,-12 0-15,-13 0 16,-14 0-16,13 0 16,1 0-1,-14 13-15,0-13 16,0 0-1,1 0 1,-1-13 15,-40 13 141,14-13-156</inkml:trace>
  <inkml:trace contextRef="#ctx0" brushRef="#br0" timeOffset="4759.76">5398 8467 0,'158'0'15,"-12"0"1,-1 0-16,-52-14 15,79 14-15,-80 0 0,80 0 16,80 0 0,-93 0-1,92 0 1,-106 0 0,-118 0-16,-1 0 15,-12 0-15,25 0 0,-12 0 16,-27-13-1,-27 13 1,14 0 0</inkml:trace>
  <inkml:trace contextRef="#ctx0" brushRef="#br0" timeOffset="5382.24">5768 8546 0,'66'0'16,"27"0"-16,39 0 16,13 13-16,-65-13 0,-1 0 15,1 0-15,78 0 16,1 0-16,13 13 16,-66-13-1,-53 0-15,-13 0 0,26 0 16,-27 0-16,-25 0 15,25 0-15,-26 0 0,1 0 16,-1 0 0,13 0-1,1 14-15,-14-14 16,0 0 31,1 0-16,-1-14 32,0 14-1</inkml:trace>
  <inkml:trace contextRef="#ctx0" brushRef="#br0" timeOffset="7227.04">13388 8652 0,'304'-27'31,"-251"27"-31,979 0 32,-913 0-32,410 0 15,-119 14 1,-119-14-16,239 0 31,-398 0-31,397 13 16,-145-13-1,-173 0 1,-52 0 0,-80 0-1,-12 0-15,-28 0 16,-26 0 0,1 0-16,-1-13 15,-13 26 235</inkml:trace>
  <inkml:trace contextRef="#ctx0" brushRef="#br0" timeOffset="9990.87">17661 1244 0,'0'39'16,"13"-12"-1,0 39-15,-13-26 16,0-14 0,14 14-16,-14-27 0,0 13 15,0-12-15,0 25 0,0-25 16,0-1-16,0 0 15</inkml:trace>
  <inkml:trace contextRef="#ctx0" brushRef="#br0" timeOffset="10369.81">17542 1230 0,'13'-26'0,"0"26"16,1-13-1,25 13-15,-12 0 0,-1 0 16,-13 0-16,14 13 16,-1 13-1,-12-26-15,12 53 16,-26-40-16,0 14 16,-13-1-1,0-12-15,-27 25 31,27-39-31</inkml:trace>
  <inkml:trace contextRef="#ctx0" brushRef="#br0" timeOffset="10695.82">18031 992 0,'-26'93'15,"26"-54"-15,-13 41 16,13-27-16,0-14 0,0 28 15,13-1 1,0 13-16,14-26 16,-27-40-1,26 14-15,-13-14 16,27 0 0,-14-13-16,-26-13 15,14 13-15</inkml:trace>
  <inkml:trace contextRef="#ctx0" brushRef="#br0" timeOffset="10953.7">18296 1230 0,'-13'-13'15,"13"40"16,0-14-31,-14 53 16,14-13 0,0-27-1,0 1-15,-13 12 16,13-25-16,0-1 16,13 0-1</inkml:trace>
  <inkml:trace contextRef="#ctx0" brushRef="#br0" timeOffset="11476.22">18243 1270 0,'93'-26'16,"-67"26"0,-26 13-16,13 13 15,-13-13 1,0 1-16,-13 12 16,0-13-16,26 27 31,0-40-31,14 27 15,-14-14 1,0 0 0,-13 0-16,-13 0 15,13 1-15,-13-1 0,0 0 0,-27 14 16,-13-1 0,26-13-1,1-13 1</inkml:trace>
  <inkml:trace contextRef="#ctx0" brushRef="#br0" timeOffset="11953.12">18627 1177 0,'39'159'46,"-39"-132"-30,0-1-16,0 1 0,0-1 16,0 0-16,0 67 15,0-80-15,0 1 0,0-1 16,0 26 0,0-25-1</inkml:trace>
  <inkml:trace contextRef="#ctx0" brushRef="#br0" timeOffset="12550.81">18891 1257 0,'0'39'46,"0"-25"-46,13-1 0,-13 13 16,0 1 0,0 13-16,0-14 15,-13-13 1,26 0 0,-13-52 15,0 26-31,14-1 0,12-105 31,-26 93-31,13-1 0,1-12 16,-1-1-16,13 13 15,-12 14 1,12 13-16,-13 0 16,0 13-16,1-13 15,-1 27-15,0-14 0,14 40 16,-14-26-1,0-1-15,0 14 16,-13-27-16,14 40 16,-14-27-1,0-12 1,-14-1 0</inkml:trace>
  <inkml:trace contextRef="#ctx0" brushRef="#br0" timeOffset="12729.88">18971 1363 0,'53'0'16,"-27"-14"-16,27 14 15</inkml:trace>
  <inkml:trace contextRef="#ctx0" brushRef="#br0" timeOffset="12926.68">19328 1270 0,'13'13'15,"-26"-26"-15,26 39 16,0 1-1,-13-14-15,14 14 16,-14-14-16,0 13 16,13-12-16,-13 25 15,13-39 1,-13 13-16</inkml:trace>
  <inkml:trace contextRef="#ctx0" brushRef="#br0" timeOffset="13597.81">19315 847 0,'53'13'16,"-14"13"-16,-12 1 0,-1-1 15,1-13-15,12 14 0,67 79 16,-79-67 0,-1-12-16,27 79 0,-40-53 15,-26 26 1,13-66-16,-13 40 16,-14-13-16,14-27 15,13 0-15,-13 1 0,0-1 16</inkml:trace>
  <inkml:trace contextRef="#ctx0" brushRef="#br0" timeOffset="13858.79">20108 1072 0,'93'-27'16,"-80"27"-16,27-13 15</inkml:trace>
  <inkml:trace contextRef="#ctx0" brushRef="#br0" timeOffset="14062.58">20122 1230 0,'13'0'15,"40"-13"-15,-40 0 16,53 0-16,-26-1 16</inkml:trace>
  <inkml:trace contextRef="#ctx0" brushRef="#br0" timeOffset="14490.18">20743 939 0,'-13'0'0,"-13"13"16,12 1-16,1 25 15,13-12-15,0 13 32,0-27-32,13 13 0,1 1 15,25-14 1,-25 0-16,12-13 15,14 0 1,-27-13-16,0 0 0,0-1 16,-13 1-16,0-13 15,0 13-15,0-1 0,0-12 16,-13-1-16,13 14 16,-13 0-16,0 0 15,-1-1-15,1 14 16,0 0-1,0 0-15</inkml:trace>
  <inkml:trace contextRef="#ctx0" brushRef="#br0" timeOffset="14662.98">21021 1019 0</inkml:trace>
  <inkml:trace contextRef="#ctx0" brushRef="#br0" timeOffset="15074.87">21339 860 0,'-119'40'15,"105"-40"-15,-25 26 16,25 0-16,28-12 31,-1-14-15,27 0-16,-27 0 16,0 0-16,27-14 15,-27 14-15,0 0 16,0 0-1,1 0-15,-14 14 16,13-1-16,-26 0 16,13 14-16,0-14 0,0 27 15,-14-14-15,14 0 16,0-12-16,14-1 16,-14 0-1</inkml:trace>
  <inkml:trace contextRef="#ctx0" brushRef="#br0" timeOffset="15409.96">21643 847 0,'-66'39'15,"53"-12"1,13-14-16,0 13 16,13-26-1,13 27-15,-13-27 16,1-13 0,-1-1-16,-13-12 15,0 13 1,0-14-1,0 14-15,0 0 16,-13 0 0,-1 26-16,-25 0 15,26 0-15</inkml:trace>
  <inkml:trace contextRef="#ctx0" brushRef="#br0" timeOffset="15767.25">19963 1548 0,'225'-53'15,"-159"40"-15,516-120 16,-516 120-16,225-40 15,-278 53 1,1 0-16,-1 0 0,-26 13 16</inkml:trace>
  <inkml:trace contextRef="#ctx0" brushRef="#br0" timeOffset="16041.83">19883 1759 0,'662'-132'31,"-424"93"-31,-92 12 15,-80 27-15,26-26 16,27-1 0,-92 27-16,12-26 15,-25 26-15,12-27 16,-13 14-16</inkml:trace>
  <inkml:trace contextRef="#ctx0" brushRef="#br0" timeOffset="16304.47">21987 926 0</inkml:trace>
  <inkml:trace contextRef="#ctx0" brushRef="#br0" timeOffset="29681.69">19301 1680 0,'27'13'31,"-14"40"-31,-13-26 0,13-1 16,-13 1-16,14 12 15,-1 14-15,-13-40 16,0 14-16,0-14 0,0 0 0,13 14 16,-13-1-1,0-12-15,0-1 0,0 0 16</inkml:trace>
  <inkml:trace contextRef="#ctx0" brushRef="#br0" timeOffset="29969.95">19354 1654 0,'-13'0'16,"0"13"-16,0 13 16,-1-12-1,14 12-15,-13-13 0,0 14 16,0-14-16,13 0 0,-14 0 16,14 1-16,-13-1 0,13 0 0,-13-13 15,13 13-15,-13 1 16</inkml:trace>
  <inkml:trace contextRef="#ctx0" brushRef="#br0" timeOffset="30205.59">19301 1667 0,'27'0'15,"-14"13"-15,0-13 0,1 13 16,12 1-16,-13-1 16,0-13-16,1 13 0,-1-13 15,-13 13-15,26 0 16,1 1 0,-14-14-16,0 0 15,0 13-15</inkml:trace>
  <inkml:trace contextRef="#ctx0" brushRef="#br0" timeOffset="31273.97">19579 2249 0,'0'-13'16,"13"26"-1,-13 0-15,14 0 16,-1 27 0,-13-27-16,13 1 15,-13 12-15,0-13 16,13-13-16,-13 13 0,0 1 15,0-1-15,14 0 16,-14 0 0</inkml:trace>
  <inkml:trace contextRef="#ctx0" brushRef="#br0" timeOffset="32049.96">19592 2249 0,'0'-13'0,"0"-1"16,14 1-16,-14 0 15,13 13-15,0-13 0,0 13 16,1 0-16,-1-13 16,13 13-16,-13 0 0,1 0 0,12 13 15,1-13-15,-1 13 16,-13-13-16,-13 13 16,0 0-1,0 1-15,-13-1 0,0-13 16,13 13-16,-13-13 15,-1 13-15,1-13 0,0 14 0,0-14 16,-1 13-16,1-13 16,26 13 15,1 0-31,12-13 16,1 14-1,-14-14-15,0 0 0,0 0 16,1 13-16,-1-13 0,0 0 0,13 0 15,-12 0 1,-14 13-16,13-13 0,0 0 16,0 0-16,1 0 31,-1 0-15,-13 13-16,13-13 15,-13-13 63,0 0-62,0-14-16,-13 1 16</inkml:trace>
  <inkml:trace contextRef="#ctx0" brushRef="#br0" timeOffset="32739.07">18336 1879 0,'0'39'32,"13"-12"-17,-13-1-15,0 1 16,0-14-16,0 0 0,0 40 16,13-40-16,-13 14 15,0-1-15,0-13 16,0 1-1</inkml:trace>
  <inkml:trace contextRef="#ctx0" brushRef="#br0" timeOffset="33086.94">18349 1905 0,'-13'13'31,"-1"14"-15,-12 12-1,13-25-15,-1-1 0,14 0 16,-13 0-16,0 1 16,0 12-16,0-13 15,-1 0 1</inkml:trace>
  <inkml:trace contextRef="#ctx0" brushRef="#br0" timeOffset="33381.72">18269 1945 0,'40'0'15,"-27"0"-15,1 13 0,12 0 16,-13 0-16,14 1 0,-14-14 16,0 13-16,0-13 0,1 13 15,12-13-15,-13 13 16,1-13-16,-1 0 15,0 0-15,-13 14 16,13-14 0</inkml:trace>
  <inkml:trace contextRef="#ctx0" brushRef="#br0" timeOffset="34214.54">18362 2408 0,'13'26'16,"-13"-13"-16,0 1 0,0 12 16,14-13-1,-14 1-15,0 12 0,0-13 16,0 14-16,13-27 15,-13 13 1,-13-40 15,13 14-31,0-26 16,-14 25-16,14-25 16,0 25-16,0-12 0,0 13 15,0-14-15,0 14 16,14 13-16,-14-13 0,0 0 0,26 13 15,-26-14-15,26 28 16,-12-14 0,-14 13-1,0 0-15,-14 0 16,14 0-16,-26 14 16,13-14-16,0 0 15,-1 1 1,14-1-1,14 0 1,-1 0 0,0-13-16,0 14 0,0-14 0,14 13 15,-14-13 1,0 0-16,1 13 0,-1-13 16,0 0-16,0 0 15,-13 13-15,14-13 16</inkml:trace>
  <inkml:trace contextRef="#ctx0" brushRef="#br0" timeOffset="35108.68">18666 2606 0,'0'-26'0,"0"12"0,14 1 15,-14 0-15,0 0 0,0 0 16,0-1-16,0 1 0,0 0 15,0 0-15,0-1 0,-14 1 16,14 0-16,-13 0 0,0-14 16,0 14-16,13 0 0,-14 0 15,1-1-15,0 1 0,-27 0 16,14-14-16,-1 27 16,14-13-16,0 13 0,-14 0 15,14-13-15,-13 13 0,13 0 0,-14 0 16,1 0-16,-1 0 0,1 13 15,12-13-15,-12 13 0,13-13 16,0 14-16,-14-1 0,14 0 0,0 0 16,-14 27-16,14-27 15,0 0-15,13 14 0,0-14 0,-13 0 16,13 14-16,13-14 0,-13 14 16,0-14-16,13 13 0,0-13 0,0 14 0,1-14 15,-1 14-15,40-1 16,-14 1-16,-12-27 15,-1 13-15,27 0 0,-13-13 16,-14-13-16,1 13 16,-1 0-16,14-27 0,-13 27 15,12-26-15,-12-1 16,-14 14-16,0 0 16,0-14-16,1 14 0,-1-13 15,0 13-15,-13-14 0,13 1 16,-13 12-16,0 1 15,0 0-15,0 0 0,0-1 16,0-12-16,-13 13 16,0 0-16,0-1 15,-1 14-15,14-13 0,-26 0 16,-1 0-16,14 13 16,0 0-16,0 0 15,0 0 1</inkml:trace>
  <inkml:trace contextRef="#ctx0" brushRef="#br0" timeOffset="36051.12">19804 2064 0,'0'-13'0,"-13"-1"16,0-12-16,-1 26 0,1-13 16,0 13-16,-27-14 0,27 14 15,-27 0-15,14 0 16,-1 14-16,-26-1 15,1 0-15,-15 27 0,41-14 16,-14 27 0,1 0-16,12 26 15,27-12-15,0-15 16,27 15 0,-1-1-16,27 0 15,-27-40-15,1-12 16,13 12-16,-14-13 15,14-13-15,26 14 0,-26-14 0,39-14 16,-53 14 0,1-13-16,39 0 0,-40 0 0,27-1 15,-13-12-15,0-1 16,-27 14 0,0 0-16,27-40 15,-27 40-15,0-27 0,14 0 16,-27 27-16,0 0 15,13-13-15,-13-1 16,0-13-16,0 27 16,-13 0-16,13 0 0,-13-1 0,13 1 15,-27-26-15,1 12 16,26 14-16,-27 0 0,14-1 16,-14-12-16,1 0 15,0 12-15,-1 1 16,1 13-16,12-13 15,-25 13-15,26 0 16,-14 0-16,1 0 16,12 0-16,-25 13 15,25-13-15,1 13 16,0 1-16,0-14 16</inkml:trace>
  <inkml:trace contextRef="#ctx0" brushRef="#br0" timeOffset="37142.81">21788 992 0</inkml:trace>
  <inkml:trace contextRef="#ctx0" brushRef="#br0" timeOffset="37709.22">21206 1336 0,'80'-26'16,"-67"12"-16,0 14 15,0 0-15,1 0 0</inkml:trace>
  <inkml:trace contextRef="#ctx0" brushRef="#br0" timeOffset="37909.8">21272 1482 0,'14'0'0</inkml:trace>
  <inkml:trace contextRef="#ctx0" brushRef="#br0" timeOffset="41614.65">18415 1601 0</inkml:trace>
  <inkml:trace contextRef="#ctx0" brushRef="#br0" timeOffset="43861.62">21140 1323 0,'146'-27'0,"-107"27"16,-12 0-16,-1-13 0,1 13 0,26-13 15,0 13-15</inkml:trace>
  <inkml:trace contextRef="#ctx0" brushRef="#br0" timeOffset="44137.67">21220 1601 0,'105'-13'0,"-65"-1"15,-13 14-15,-1 0 0,-13 0 0,27-13 16,0 13 0</inkml:trace>
  <inkml:trace contextRef="#ctx0" brushRef="#br0" timeOffset="47696.9">3559 12224 0,'-14'0'16,"54"0"0,0 0-1,-14 0-15,14 0 0,119-13 16,-106 13-1,0 0-15,13-14 0,0 14 0,40-13 16,-53 13-16,-1-13 0,1 13 16,-13 0-16,0-13 0,-14 13 15,1 0-15,-14 0 0,13 0 0,-12 0 16,-1 0-16,0 0 16,0 0-16,-13 13 15</inkml:trace>
  <inkml:trace contextRef="#ctx0" brushRef="#br0" timeOffset="48170.39">3784 12369 0,'52'-13'0,"-38"13"15,-1 0-15,40 0 0,-27 0 0,1 0 16,39-13 0,13 13-16,-26-13 0,-13 13 15,0 0-15,39-14 0,14 14 32,-67-13-32,-13 13 0,14 0 0,-14 0 0,0 0 15,0 0-15,1 0 0,-1-13 0,0 13 16,0 0-16,1 0 15,-1 0 1</inkml:trace>
  <inkml:trace contextRef="#ctx0" brushRef="#br0" timeOffset="52017.53">3519 6509 0,'-13'13'0,"39"-13"15,1-13-15,92 13 16,-27-13 0,-52 13-16,0 0 15,39-14-15,-52 14 0,-1 0 16,0 0-16,27 0 0,-39-13 16,12 13-16,-13 0 0,1 0 15,-1 0-15,0 0 0,0 0 16,0 0-16,1 0 15,-1 0 1,0 0 0,0 0 15,-39-13 281,13 13-296,-1 0-16,1-13 16,-13 13-16,-1 0 0</inkml:trace>
  <inkml:trace contextRef="#ctx0" brushRef="#br0" timeOffset="53844.41">3241 8705 0,'53'-13'15,"-26"13"-15,-14 0 0,13 0 16,1 0-16,12 0 0,-12 0 0,39-14 16,-13 14-16,39-13 15,-52 13-15,-13 0 0,-1-13 16,14 13-16,-14 0 0,1 0 16,-1 0-16,1-13 0,-14 13 0,13 0 15,14 0 1,-27 0-16,0 0 0,1-14 15,-1 14-15,0 0 16,0 0 0,1 0-1,-1 0 126,-26 14 500</inkml:trace>
  <inkml:trace contextRef="#ctx0" brushRef="#br0" timeOffset="54962.32">6456 12158 0,'66'-14'15,"-40"14"-15,67 0 0,-53-13 16,-1 13-16,1 0 0,13-13 0,40 13 16,-67 0-16,14-13 0,-14 13 15,1 0-15,-1 0 0,1 0 16,12-14-16,-25 14 0,-1 0 16,0 0-16,0 0 0,-13-13 15</inkml:trace>
  <inkml:trace contextRef="#ctx0" brushRef="#br0" timeOffset="55685.82">6588 12158 0,'80'0'16,"-54"0"-16,-13-14 0,14 14 0,-1 0 15,1-13-15,-1 13 0,0 0 16,27-13-16,-26 13 0,-1 0 16,-12 0-16,12 0 0,-13 0 15,14-13-15,-14 13 0,0 0 0,0 0 16,1 0-16,-1 0 0,0 0 15,0 0 1,1 0-16,-1 0 16,0 0 15,0 0-15,0 0 30,-13-14 142</inkml:trace>
  <inkml:trace contextRef="#ctx0" brushRef="#br0" timeOffset="59933.53">6522 12978 0,'26'13'0,"-12"0"0,12-13 16,1 14-16,-1-14 0,1 13 15,52 0-15,-39 0 16,12-13-16,1 13 0,-13-13 0,13 14 16,-13-14-16,52 0 0,-52 0 15,0 0-15,26 0 0,-40 0 16,14-14-16,-14 14 16,1 0-16,-1-13 0,1 13 0,-1-13 15,-13 13-15,14-13 0,-14 13 0,0-13 16,27-1-16,-27 1 15,1 0-15,-1 0 0,0-1 0,0 1 16,14 0-16,-14-14 16,0 14-16,-13 0 0,13 0 15,1 0-15,-1-1 16,0 1-16,-13 0 0,13 13 0,-13-13 0,14-1 16,-1 1-16,0 0 15,-13 0-15,13-1 0,-13 1 16,27 0-16,-27 0 0,13 0 15,-13-1-15,13 1 0,-13 0 16,13 0-16,1-1 0,-14 1 16,13 0-16,-13 0 0,0-1 0,0 1 15,0 0-15,0 0 16,0 0-16,-13-27 0,13 27 16,-14-14-16,1 14 15,13 0-15,-13-14 0,-14 1 16,14 13-16,0-14 0,0 14 0,-14 0 15,-12-14-15,25 14 16,1 13-16,0-13 0,-14 0 16,-25-1-1,38 14-15,1-13 0,-13 13 16,12 0-16,-12 0 0,-1-13 0,-12 13 16,12 0-16,1 0 0,-14 0 15,14 0-15,-1-13 16,1 13-16,-14 0 0,14 0 15,-1 0-15,1 0 0,-27 0 0,26 0 16,1 0-16,-1 0 16,1 0-16,13 0 0,-67 0 15,27 0-15,27 0 16,0 13-16,-27-13 16,39 0-16,-65 13 15,26-13-15,27 13 16,-1-13-16,14 0 0,-13 14 0,-14-1 15,0 0-15,14-13 16,12 13-16,1 0 0,-40 1 16,27 12-1,13-13-15,-14 14 0,14-14 16,0 0-16,-1 14 0,1-14 16,0 27-16,13-14 15,-13 27-15,13-27 0,26 94 16,-13-94-1,27 40-15,-13-26 0,26 13 16,-27-27-16,14 1 0,-1-14 16,1 13-16,92 14 15,-79-40-15,0 0 0,0 13 16,13-13-16,80-13 0,-1-13 16</inkml:trace>
  <inkml:trace contextRef="#ctx0" brushRef="#br0" timeOffset="67068.58">21643 1482 0,'13'66'31,"0"-13"-31,-13-27 15,14 1-15,-14-1 0,13 14 0,0-27 16,-13 13-16,0 1 0,13-1 16,-13-12-16,14 12 0,-14-13 0,13 1 15,-13-1-15,13 13 0,-13-13 16,0 1 0,0-1-16</inkml:trace>
  <inkml:trace contextRef="#ctx0" brushRef="#br0" timeOffset="67400.78">21590 1826 0,'13'26'15,"-13"-13"-15,13 1 16,1 38-1,-1-38-15,-13 12 0,13-13 0,0 1 16,-13-1-16,27 13 0,-14-26 16,-13 14-16,13-14 15,-13 13-15,14-13 0,12 13 16,-13-26 0,0 0-16,1-14 15,-1 14-15,0-14 0,0 1 0,-13-1 16,14 1-16,-1 0 0,0-1 15,-13 1-15,0 12 0,13 1 0,-13 0 16,0 0-16,14 13 0,-28-14 0,28 1 16,-28 0-1</inkml:trace>
  <inkml:trace contextRef="#ctx0" brushRef="#br0" timeOffset="70782.52">21749 2818 0,'-13'-13'0,"-1"39"31,1-26-15,13 27-16,0-14 0,0 0 15,0 0-15,13 40 16,-13-40-16,27 27 16,-1-27-16,1 0 15,-14-13-15,13 0 16,14 0-16,-27-13 0,1 0 16,-1-13-1,-13-14-15,0 0 16,-13 27-16,13-13 0,-14 12 0,1 1 15,0 0-15,0-14 16,-1 14-16,1 13 0,0 0 16,0 0-1,-1 13-15</inkml:trace>
  <inkml:trace contextRef="#ctx0" brushRef="#br0" timeOffset="70908.85">22013 2844 0</inkml:trace>
  <inkml:trace contextRef="#ctx0" brushRef="#br0" timeOffset="71105.52">22159 2738 0,'-13'27'16,"13"-1"-16,0-12 15,0-1-15,0 0 0,0 14 16,0-14-16,0 0 0,0 0 15,13 0-15</inkml:trace>
  <inkml:trace contextRef="#ctx0" brushRef="#br0" timeOffset="71381.92">22331 2778 0,'-13'40'15,"26"-14"1,0-26-16,-13 14 16,13-14-16,1 0 0,-1 0 15,0 0 1,0 0-16,-13-14 0,13 14 0,-13-13 0,0 0 16,0 0-1,-13-1-15,13-25 16,-13 25-16,0 1 0,0 13 15,-1 0 1,1 13-16,0 1 0,-14 12 0,-26 27 16</inkml:trace>
  <inkml:trace contextRef="#ctx0" brushRef="#br0" timeOffset="71669.66">21577 3426 0,'185'-53'16,"-145"40"-16,26 0 0,40-13 15,26-1 1,0 1-16,-66 12 0,-13 1 15,13 0-15,-26 0 0,0-1 0,26 1 16,-40 13-16,-12-13 16,-1 13-16,0 0 0,0 0 15,1 0-15,-1 0 16</inkml:trace>
  <inkml:trace contextRef="#ctx0" brushRef="#br0" timeOffset="72911.52">22053 3678 0,'13'53'31,"-13"-40"-31,0 13 0,13 1 16,-13-14-16,0 13 16,14-12-16,-14-1 0,0 0 15,0 14-15,13-27 0,-13 13 16</inkml:trace>
  <inkml:trace contextRef="#ctx0" brushRef="#br0" timeOffset="73110.72">22265 3770 0,'-14'-13'16</inkml:trace>
  <inkml:trace contextRef="#ctx0" brushRef="#br0" timeOffset="73454.07">22384 3612 0,'-27'52'15,"27"-38"-15,0 12 16,14-13-16,-14 14 16,13-27-16,0 13 0,13 0 15,-12-13 1,-1-13-16,0 13 15,0-13-15,-13 0 16,0-1-16,0 1 16,0 0-16,0 0 0,-13-1 0,0 14 15,13-13-15,-13 0 0,-1 13 16,1-13-16,0 13 0,0 0 16,0 0-16,-1 0 0,1 0 0,0 13 15,0 0-15,-14 0 0,14 1 16</inkml:trace>
  <inkml:trace contextRef="#ctx0" brushRef="#br0" timeOffset="73703.67">22013 4114 0,'212'-92'16,"-133"65"-1,1 1-15,26-1 16,-93 27-16,26-13 16,-25 13-16,-1 0 15,0 0-15</inkml:trace>
  <inkml:trace contextRef="#ctx0" brushRef="#br0" timeOffset="73902.64">22013 4194 0,'14'0'15,"-1"0"-15,0 0 0,0 0 16,14-14-16,-1 14 0,1 0 15,39-26-15,-27 26 16,-12-13-16,-1 0 0,1 13 0,39-27 16,-40 14-16,27-14 15,-39 14-15</inkml:trace>
  <inkml:trace contextRef="#ctx0" brushRef="#br0" timeOffset="74258.52">23336 3440 0,'13'39'16,"-13"-12"-1,0-14-15,0 0 0,0 0 0,0 14 16,0-14-16,0 0 0,0 1 15,0-1-15,0 0 0,14 0 16,-14 0-16</inkml:trace>
  <inkml:trace contextRef="#ctx0" brushRef="#br0" timeOffset="74577.13">23521 3466 0,'0'-13'0,"-26"26"16,26 0 0,0 0-16,0 1 15,0-1-15,0 0 0,0 0 16,13 1-16,0-14 0,-13 13 16,14-13-16,-1 0 15,0 13-15,14-13 16,-27-13-16,13 13 0,-13-13 0,0-1 15,0 1 1,0 0-16,-13 13 16,-1-27-16,1 14 15,0 13-15,0 0 16,-1-13-16,1 13 16</inkml:trace>
  <inkml:trace contextRef="#ctx0" brushRef="#br0" timeOffset="74841.5">23667 3453 0,'-13'66'16,"13"-53"-16,13 14 15,0-27-15,-13 13 0,13-13 16,1 0-16,-1 0 0,0 13 15,0-26-15,1 13 0,-1-13 16,-13-1 0,0-12-16,0 13 15,-13 13-15,13-14 16,-14 1-16,1 0 16,0 13-16,0 0 15</inkml:trace>
  <inkml:trace contextRef="#ctx0" brushRef="#br0" timeOffset="75039.57">23984 3321 0,'0'13'15,"0"0"1,0 0-16,-13 27 15,0-14-15,13 1 0,-13-1 16,13 1-16,-13-14 16,13 13-16,0-12 15,0-1-15,-14-13 16</inkml:trace>
  <inkml:trace contextRef="#ctx0" brushRef="#br0" timeOffset="75200.97">23826 3387 0,'-14'-14'16,"41"28"15</inkml:trace>
  <inkml:trace contextRef="#ctx0" brushRef="#br0" timeOffset="75347.39">24117 3559 0,'26'-14'16,"-39"1"15</inkml:trace>
  <inkml:trace contextRef="#ctx0" brushRef="#br0" timeOffset="75837.96">22913 3598 0,'26'-13'0,"-12"13"0,12 0 31,14-13-31</inkml:trace>
  <inkml:trace contextRef="#ctx0" brushRef="#br0" timeOffset="76025.75">22886 3744 0,'-13'0'0,"26"0"0,14-13 16,-14 13-1,14 0 1,12-14-16,1 14 16,-27 0-16,27 0 0,-27 0 15</inkml:trace>
  <inkml:trace contextRef="#ctx0" brushRef="#br0" timeOffset="76718.84">23495 3969 0,'251'-40'16,"-198"27"-1,132-27-15,-105 0 16,-27 27-16,66-66 15,-79 66-15,26-54 16,-27 41-16,-12-14 16,52-79-1,-52 40-15,-14 13 16,0 26-16,-13 0 0,0-39 16,0 39-16,-26-52 15,-1 52-15,1 0 0,-40-39 16,39 53-16,-52-27 15,-54 0-15,67 26 16,-92 27 0,12 13-16,80 1 15,13-1-15,-66 27 0,13 13 16,-26 39 0,52-13-16,14 1 15,40-27-15,-27 172 16,66-133-1,0-39-15,27 40 16,-13-54-16,78 81 16,-78-94-1,132 67 1,-120-67-16,27 1 0,-39-14 16,39 0-16,-40 0 15,1-13 1</inkml:trace>
  <inkml:trace contextRef="#ctx0" brushRef="#br0" timeOffset="86836.78">3400 10517 0,'1071'-159'187</inkml:trace>
  <inkml:trace contextRef="#ctx0" brushRef="#br0" timeOffset="87193.16">3519 10358 0,'93'14'16,"-67"-14"-16,424 0 31,-358 0-15,-12 0-16,-41-14 15,-12 14-15,39 0 0,-53 0 16,40-13-16,-40 13 0,1 0 16,-1 0-16</inkml:trace>
  <inkml:trace contextRef="#ctx0" brushRef="#br0" timeOffset="90175.83">6297 10345 0,'27'0'31,"-1"0"-31,-13 0 0,53 0 16,-39 0-16,26 0 0,-14 0 0,14-13 15,-13 13-15,-13 0 16,12 0-16,-12 0 0,12 0 0,-12 0 16,-1 0-16,1-13 0,-14 13 0,13 0 15,1 0-15,-14 0 16</inkml:trace>
  <inkml:trace contextRef="#ctx0" brushRef="#br0" timeOffset="90432.67">6178 10517 0,'132'0'15,"-52"0"-15,-41 0 16,14 0-16,40-13 0,-40 13 15,79 0 1,-105 0-16,12-13 0,-26 13 16,14 0-16,13 0 0,-14 0 15,-13 0-15,1 0 16,-1 0-16</inkml:trace>
  <inkml:trace contextRef="#ctx0" brushRef="#br0" timeOffset="98861.74">9088 4908 0,'0'-13'16,"-13"39"0,13-13-16,0 40 15,13-13-15,-13-27 16,27 53 0,-14-52-16,0-1 15,27 13-15,0-12 16,-27-14-16,0 0 0,14 0 15,12-14-15,-12 1 16,-1 0-16,-26 0 0,13-1 0,1 1 16,-14 0-16,0 0 15,0 0-15,0-1 0,0-12 0,-14 13 0,14-1 16,-26-12-16,0 13 0,12-1 16,1 1-16,0 0 0,-14 13 15,14 0-15,0 0 16,0 0-16,0 0 0,-1 0 0,14 13 0,-13-13 15</inkml:trace>
  <inkml:trace contextRef="#ctx0" brushRef="#br0" timeOffset="99041.62">9604 4974 0</inkml:trace>
  <inkml:trace contextRef="#ctx0" brushRef="#br0" timeOffset="103487.84">9869 4829 0,'0'-14'15,"0"54"-15,0 0 16,13-27-16,-13 40 16,0-13-16,0-14 0,13 1 15,-13 25-15,14-38 16,-14-1-16,0 13 0,13-12 15,-13-1-15,0 0 0</inkml:trace>
  <inkml:trace contextRef="#ctx0" brushRef="#br0" timeOffset="105846.66">8229 6615 0,'568'-93'16,"-449"67"-16,106-14 15,-39 13-15,-94 27 16,-12-13-16,12 0 0,-12 0 16,65-1-16,-52 14 15,-14 0-15,-66 0 0,14 0 16,-14 0-16,0 0 0</inkml:trace>
  <inkml:trace contextRef="#ctx0" brushRef="#br0" timeOffset="106210.79">8387 6747 0,'-66'13'0,"40"-13"0,12 13 16,1-13-16,66-13 16,66-13-1,-39 12-15,131-25 16,173-27-16,-252 52 16,-13 1-16,0-13 0,67 12 15,65-12 1,-172 13-16,-26 13 0,40 0 15,-54-13-15,-12 13 16,13 0-16,-14 0 0,-13 0 16,1 0-16,-41 0 47,14 0-47,-14 0 15,14 0 1,13-14-16</inkml:trace>
  <inkml:trace contextRef="#ctx0" brushRef="#br0" timeOffset="107662.58">8731 8453 0,'119'-13'16,"0"0"-16,-39 13 16,-1-13-16,1 13 0,91-27 15,15 27-15,-94-13 16,-12 13-16,65-13 15,-13 13-15,-79 0 16,27-13-16,-27 13 0,-27 0 16,-13 0-16,14 0 15</inkml:trace>
  <inkml:trace contextRef="#ctx0" brushRef="#br0" timeOffset="107870.6">8943 8678 0,'145'-13'16,"-78"13"-16,-1-13 0,13 0 16,-13 13-16,14-14 0,145-25 15,-159 25-15,106-25 16,-133 12-1,1 14-15,0 0 0,-14-14 0,14-25 16</inkml:trace>
  <inkml:trace contextRef="#ctx0" brushRef="#br0" timeOffset="108417.75">9975 7236 0,'-106'14'16,"79"12"-16,14-13 0,0 0 15,0 14-15,0-14 0,13 0 16,-14 1-16,14-1 0,0 0 15,14 0-15,-1-13 16,0 0-16,13-13 0,1 13 16,-1-13-16,-12 0 0,25-14 15,-12 14 1,-1 0-16,-13 13 0,-13-14 16,14 14-16,-1 14 15,-13-1-15,0 0 16,0 0-16,13 1 0,-13-1 15,0 0-15,0 14 0,0 12 16,13-26-16,-13 1 16,0-1-16,14-13 15,12 0-15,-13 0 16</inkml:trace>
  <inkml:trace contextRef="#ctx0" brushRef="#br0" timeOffset="108882.77">10239 7157 0,'-26'-13'15,"13"26"-15,26 13 16,0-12-16,0 25 15,1 1 1,-1-14-16,0-12 0,-13 12 0,13 1 16,-13 12-1,-13-12-15,13-14 0,-26 27 16,12-40-16,1 13 16,0-13-16,0 0 15,-1-13-15,14-1 16,0 1-16,0 0 15,14-13-15,-14 12 16,13 1-16,13-27 0,1 1 16,-14 25-16,-13 1 0,13-26 15,-13 25 1,0 1-16,0-27 16,0 27-16,-13-13 15,0 26-15,13-13 16,-13 13-16,-14 13 15,14 0-15,0 0 16,13 0-16,0 1 16</inkml:trace>
  <inkml:trace contextRef="#ctx0" brushRef="#br0" timeOffset="109017.26">10438 7276 0,'0'0'16</inkml:trace>
  <inkml:trace contextRef="#ctx0" brushRef="#br0" timeOffset="109353.37">10782 7011 0,'-27'14'15,"14"-1"-15,13 0 16,-13 0-16,-14 40 0,14 0 16,13-26-16,0-1 15,13 1-15,1-1 0,-14-13 0,26 0 16,1 14-16,-1-14 0,-13 0 15,14-13-15,-14 0 0,13 0 16,-12 0-16,-1-13 16,-13 0-1,0 0-15,-13-1 0,-1 1 16,1 0-16,0 13 16,-14-13-16,-12 13 15,26 0-15,-1 13 0,1-13 16,0 13-16,-14 0 15</inkml:trace>
  <inkml:trace contextRef="#ctx0" brushRef="#br0" timeOffset="111233.47">9287 4895 0,'0'159'15,"13"-107"-15,-13 41 16,13-40-16,-13-13 0,14-1 15,-1 41-15,0-54 16,0 1-16,14 12 0,-14-25 16,-13-1-16,13-13 0,0-13 31,-13-1-31,-13-12 0,13-1 0,-13 1 16,0-14-16,-1-13 15,1 0-15,-26-52 0,25 52 16,-25-66-16,25 66 15,14 39-15,-13-12 16,40 79 15,-27-27-31,13 14 0,0 13 16,0-13-16,14 39 0,-14-39 16,0-14-16,14 27 0,-27-26 15,13-14-15,-13 0 0,13-13 16,-13 13-16,-13-52 15,0 12 1,-1-13-16,-25-52 16,-1-1-16,0 1 15,14 39-15,-14-27 16,40 41-16,-13 25 0,0-12 16,13-1-16,0 14 15,26 26-15,-12 1 16,-1-14-16,40 39 15,-27-25-15</inkml:trace>
  <inkml:trace contextRef="#ctx0" brushRef="#br0" timeOffset="111698.7">9644 5014 0,'-13'13'16,"0"0"0,13 1-16,13-1 0,-13 0 15,13-26 32,-26 0-31,0-14-1,-1 27 1</inkml:trace>
  <inkml:trace contextRef="#ctx0" brushRef="#br0" timeOffset="112153.39">9895 4855 0,'14'0'31,"-41"27"1,14-1-17,0 0-15,-1-12 0,-12 12 16,26 1-16,-13-14 15,0 0-15,-1 14 0,14-14 16,0 0-16,0 0 0,-13 14 16,26-14-16,1-13 15,-1 0-15,0 0 16,40-13-16,-27 13 0,14-14 16,-13 1-16,12 0 0,27 0 15,-13-14-15,-39 14 16,12 13-16,0-13 0,-12 13 15,-1-13-15,0 13 0,14-14 16,-14 14-16</inkml:trace>
  <inkml:trace contextRef="#ctx0" brushRef="#br0" timeOffset="112973.49">9856 4921 0,'0'-13'15,"0"0"-15,-14 39 47,14 1-31,0-14-1,0 0-15,-13 0 16,13 1-16,0-1 16,0 0-1,0 0 17,0-39 93,0 13-125,13-1 15,-13 1 16,0 0-31,14 13 16,-14-13-16,-27 26 47,14 0-31,-13 40-1,26-40-15,0 1 16,-14 12-16,1-13 0,13 14 15,0-14-15,0 0 16,0 0-16,0 1 16,13-14-1,1 0-15,12 0 16,-13-14-16,0 14 0,14 0 16,-27-13-16,26 0 15,-12 13-15,-1 0 0,-13-13 0,13 13 16,-13-14-16,13 1 15</inkml:trace>
  <inkml:trace contextRef="#ctx0" brushRef="#br0" timeOffset="113148.86">9895 4948 0,'0'119'15,"-13"-93"1,13 1-16,0-1 0,0 67 16,13-27-1,-13-40-15</inkml:trace>
  <inkml:trace contextRef="#ctx0" brushRef="#br0" timeOffset="113841.41">9618 5556 0,'66'13'16,"-53"-13"-16,93-13 15,-53 13-15,-14-13 16,14 0-16,0 0 0,0-1 0,0 1 15,0-13-15,0-1 0,0 14 0,-13-13 16,-1-1-16,27-13 16,-13-13-16,-26 27 0,-1-14 15,-13 14-15,1-54 16,-1 54-16,-13-14 0,0-13 0,-13 14 16,13-14-16,-14 0 0,1 13 15,0-13-15,0 0 0,-14 14 16,14-1-16,-40-26 0,13 26 0,14 14 15,0-1-15,-27 1 0,26-1 16,-26 14-16,0-13 0,0 12 16,-39 1-16,-67-13 15,40 26 1,-27 13-16,67 0 0,13 0 16,-13 14-16,12-1 0,1 1 0,0 12 15,0-12-15,0 13 0,13 13 16,0-14-16,-13 27 0,26-13 0,0 0 15,1 13-15,12-13 0,1 13 16,13-13-16,-1 0 0,14 0 0,0 0 16,14 0-16,39 40 0,13-14 15,-40-53-15,14 1 16,66 13-16,-53-27 16,66 13-16,-53-26 0,-13 0 15,53 0-15,-67 0 16,54 13-16</inkml:trace>
  <inkml:trace contextRef="#ctx0" brushRef="#br0" timeOffset="114817.99">10147 7673 0,'172'26'16,"-66"-12"-1,-1-14-15,-38 0 16,-15 0-16,28 13 0,-27-13 0,13 0 15,-13 0-15,13-13 0,0 13 16,-13-14-16,0 14 0,-13-13 0,13 0 16,26-27-16,-39 27 0,-1-13 15,-12 12-15,12-12 0,-25-1 16,12 1-16,14-40 0,-27 39 16,0-26-16,1 14 0,-14-1 15,0 0-15,-14 1 0,14-1 16,-26-39-16,13 39 0,-14 0 15,1 1-15,-27-28 16,13 41-16,14-1 0,-14 1 16,0 0-16,-52-14 0,-54-26 15,27 39 1,53 14-16,0 0 0,-67 0 16,81 13-16,-15 0 0,-118 26 15,106-13-15,13 14 16,0-1-16,-14 1 0,1 26 15,13-14-15,-1 14 0,-52 40 16,-39 52-16,118-92 16,0 0-16,1 0 0,12 0 15,-13 40-15,40-54 16,-13 1-16,26 26 0,1-39 0,-1-14 16,13 0-16,-12 0 15</inkml:trace>
  <inkml:trace contextRef="#ctx0" brushRef="#br0" timeOffset="119455.7">12938 4538 0,'13'53'0,"-13"-40"16,14 13-16,-14-13 0,0 14 0,13-1 15,-13 1-15,13 12 0,-13 1 16,13-13-16,-13-14 16,0 0-16,0 14 0,14-27 15,-14 13-15,0 0 0,0 0 32</inkml:trace>
  <inkml:trace contextRef="#ctx0" brushRef="#br0" timeOffset="119724.62">12925 4524 0,'13'-39'0,"0"25"16,1 14-16,-1 0 0,40 0 15,-40 14-15,13-14 0,-12 13 16,-1 0-16,0 0 0,-13 1 16,13-1-16,-13 0 0,0 0 15,0 1-15,-13 12 0,13 0 16,-13-12-16,0-1 0,-1 0 16,-12 0-16,13 1 0,0-14 0,-1 13 15,1-13-15,0 0 0</inkml:trace>
  <inkml:trace contextRef="#ctx0" brushRef="#br0" timeOffset="119988.63">13361 4445 0,'-26'13'15,"13"14"1,0-14-16,13 0 0,-14 14 16,14-1-16,0 1 0,0-1 15,14 27-15,-1-27 0,0 1 16,0-1-16,0-13 0,27 27 16,-27-27-16,1-13 0,25 27 15,-25-27-15,-1 0 16,0 13-16,0-13 0,0-13 15,1 13-15,-1 0 16</inkml:trace>
  <inkml:trace contextRef="#ctx0" brushRef="#br0" timeOffset="120214.33">13586 4498 0,'-13'-13'0,"13"39"16,0-13-16,0 1 0,0-1 16,13 27-16,-13-14 15,0-13-15,14 14 0,-14-14 0,0 27 16,13-14-16,-13-13 16,0 0-16,13 1 0,-13-1 0,13 0 15,-13 0-15,13 1 16</inkml:trace>
  <inkml:trace contextRef="#ctx0" brushRef="#br0" timeOffset="120574.26">13586 4511 0,'53'-53'16,"-40"53"-16,1 0 16,12 13-16,-26 1 15,13-14-15,-13 13 16,0 0-16,-13 14 0,13-14 0,-13 0 16,-14 27-16,14-14 0,0-13 15,-13 14-15,12-14 16,14 0-16,-13 1 0,13-1 15,13 0 17,1-13-32,-1 0 0,0 0 0,13 0 15,-12 0-15,12 0 0,14-13 16,-14 13-16,-12 0 16,-1-13-16,0 13 0,0 0 0,0-14 15,1 14-15</inkml:trace>
  <inkml:trace contextRef="#ctx0" brushRef="#br0" timeOffset="120856.8">13758 4247 0,'27'0'16,"-1"0"-16,27 39 15,-13-26-15,-14 14 16,1-1-16,12 1 0,14 26 16,14 79-1,-67-105-15,0-1 0,0 0 16,-14 27-16,-12 0 16,13-13-16,-1-27 15,1 0-15,0 14 16,0-27-16,-14-13 15</inkml:trace>
  <inkml:trace contextRef="#ctx0" brushRef="#br0" timeOffset="121133.69">14354 4273 0,'13'26'31,"-13"-12"-31,13-1 0,-13 40 16,13 0-16,-13-27 16,14 27-16,-14-26 0,13 26 15,-13-14 1,0-26-16,13 1 0,-13-1 15,0 0-15,0 0 16</inkml:trace>
  <inkml:trace contextRef="#ctx0" brushRef="#br0" timeOffset="121322.39">14235 4577 0,'13'-26'16,"0"13"-16,27-1 16,-27 14-16,66-26 15,-26 13-15,0-1 16,0 1-16,-13 13 16,-1-13-1</inkml:trace>
  <inkml:trace contextRef="#ctx0" brushRef="#br0" timeOffset="121685.45">15055 4207 0,'0'40'16,"0"-27"-16,0 13 15,13-13-15,0 93 16,-13-92-16,13 12 16,1 40-1,-1-39-15,13 12 16</inkml:trace>
  <inkml:trace contextRef="#ctx0" brushRef="#br0" timeOffset="121994.29">15068 4207 0,'26'-93'16,"1"80"-16,-1 26 0,-12-13 15,-1 0-15,0 14 16,14-1-16,-1 13 0,-13-13 16,0 14-16,-13-14 0,0 0 15,0 14-15,0-14 0,-13 0 16,0 0-16,-13 27 0,12-27 16,1-13-16,-27 27 15,27-14-15,-13-13 16</inkml:trace>
  <inkml:trace contextRef="#ctx0" brushRef="#br0" timeOffset="122315.45">15558 3969 0,'-67'119'16,"54"-79"-1,-13 65-15,12-39 16,1-13-16,13-39 15,0 12-15,13-13 0,-13 14 16,0-14-16,27 13 16,-14-12-16,-13-1 0,13-13 0,40 13 15,-26-13 1,26-26-16,-27 26 16,-13-14-16,14 14 0,-14 0 0</inkml:trace>
  <inkml:trace contextRef="#ctx0" brushRef="#br0" timeOffset="122720.99">15822 4471 0,'-26'-66'15,"12"27"-15,14 25 16,14-25-16,-14 25 0,0-12 16,0 13-16,0 0 15,13 13 1,0 0-16,-13 13 16,27 0-16,-27 0 15,26 0-15,14 1 16,-14-1-16,-13-13 15,1 13-15,-1-26 0,0 13 16,0 0-16,-13-13 0,14-1 16,-14 1-16,0 0 15,0-13-15,0 12 16,0-25-16,0 25 0,0 1 16,0-13-16,-14 26 15,14-13-15,0-1 16,0 1-16</inkml:trace>
  <inkml:trace contextRef="#ctx0" brushRef="#br0" timeOffset="123222.02">16153 4075 0,'53'158'16,"-40"-144"-16,-13 12 0,0-13 15,13 27-15,-13-14 16,13 14 0,-13-27-1,-26-39 1,26 13-16,0-1 16,-13-39-16,13 14 15,13-67 1,0 53-16,0 13 15,1 27-15,-120 40 0,225-80 0,-106 39 16,53 14 0,-53 0-16,14 14 15,-14-1-15,-13 0 0,0 0 16,-13 14-16,0-14 16,-14 14-16,1-1 15,13 0-15,-1-12 0,1-14 16,0 13-16,13 0 15,0 14 1,0-14-16,13-13 16,14 13-16,12 0 15,1-13 1,-27 0-16,14 13 16,-14-13-16,13 0 0,1-13 15,-14 13 1,-13-13-16</inkml:trace>
  <inkml:trace contextRef="#ctx0" brushRef="#br0" timeOffset="123482.34">16497 3836 0,'119'67'16,"-93"-41"-16,93 212 16,-132-158-1,-13-14 1,12-53-16,1 27 16,0-27-16,0 0 0,13 14 15,-13-27-15,26-14 16,0 1-1</inkml:trace>
  <inkml:trace contextRef="#ctx0" brushRef="#br0" timeOffset="123672.62">17052 4035 0,'133'-27'15,"-120"27"-15,13 0 16</inkml:trace>
  <inkml:trace contextRef="#ctx0" brushRef="#br0" timeOffset="123874.4">16947 4247 0,'26'13'31,"-13"-13"-31,0-13 0,14 13 16,-14 0-16,40 0 15,-26-14-15,39 14 0,-40-13 0,-13 13 16,14 0-16,-14 0 0,27-13 15,-27 13-15,27-13 16,-27 13-16</inkml:trace>
  <inkml:trace contextRef="#ctx0" brushRef="#br0" timeOffset="124785.74">17806 3889 0,'0'80'15,"0"-67"-15,0 53 16,0-39 0,14 12-16,-14-25 15,0-1-15,13-13 0,-13 13 0</inkml:trace>
  <inkml:trace contextRef="#ctx0" brushRef="#br0" timeOffset="125116.64">17992 3889 0,'-14'-13'15,"1"40"-15,0-27 16,13 13-16,0 0 0,0 14 16,0-1-16,13-13 0,0 14 15,1-14-15,12 0 0,-13-13 16,14 13-16,-14 1 0,14-14 15,-14 0-15,0 0 0,0 0 0,0 0 16,1-14-16,-14 1 16,0 0-16,0 0 0,-14-14 15,1 14-15,-13-13 16,-1 12-16,14 1 0,0 0 16,-14 13-1,14 0-15,0 0 0,13 13 16,26-13-1,-12 0 1</inkml:trace>
  <inkml:trace contextRef="#ctx0" brushRef="#br0" timeOffset="125417.71">18269 3876 0,'-26'27'16,"26"-14"-16,0 0 0,-13 14 0,13-14 15,0 13-15,13-13 16,0 14-16,14-1 16,39 1-16,-13-14 0,-27-13 15,1 0-15,-14 0 16,13 0-16,14-13 0,-13 0 16,-27-14-16,13 14 15,-26-14-15,13 14 0,-14 0 0,1 0 16,-27-40-1,27 53-15,-13-13 0,12-1 0,1 14 16,-26 0-16,12 0 16,1 14-16,-1-14 15,27 13-15</inkml:trace>
  <inkml:trace contextRef="#ctx0" brushRef="#br0" timeOffset="125643.65">18825 3717 0,'13'0'15,"-13"27"1,0-14-16,0 0 0,0 1 16,-13 12-16,13 0 0,0 1 15,-13-1-15,13 1 0,0-1 0,-13 14 16,13-14-16,0 14 15,0-27-15,0 1 0,0-1 16,0 0-16,0 0 16</inkml:trace>
  <inkml:trace contextRef="#ctx0" brushRef="#br0" timeOffset="125794.04">18600 3863 0,'13'-13'16</inkml:trace>
  <inkml:trace contextRef="#ctx0" brushRef="#br0" timeOffset="125952.31">19116 3995 0,'13'0'15,"-13"-13"32</inkml:trace>
  <inkml:trace contextRef="#ctx0" brushRef="#br0" timeOffset="126674.54">13613 5292 0,'0'79'31,"0"-66"-31,0 14 16,0 26-16,13-14 15,-13-25-15,0 12 16,0-13-16,13 14 0</inkml:trace>
  <inkml:trace contextRef="#ctx0" brushRef="#br0" timeOffset="127022.62">13547 5398 0,'53'-80'31,"-53"67"-31,13 13 0,0 0 0,13 0 16,1 0-16,-14 0 16,0 13-16,1 0 0,-1-13 15,-13 14-15,0-1 0,0 0 0,0 0 16,-13 14-16,13-14 0,-14 0 15,1 0-15,13 1 0,-13-1 16,0-13-16,13 13 0,-14-13 0,14 13 16</inkml:trace>
  <inkml:trace contextRef="#ctx0" brushRef="#br0" timeOffset="127382.75">14063 5226 0,'-40'0'16,"27"13"-16,-1 26 15,1-25-15,13 12 0,-13 1 0,13-1 16,-13 1-16,13-1 0,13 40 16,-13-53-16,13 14 15,0-1-15,1-13 16,-1-13-16,0 14 0,0-14 0,27 0 15,-27 0-15,27-14 16,-27 14-16,0 0 16,1-13-16</inkml:trace>
  <inkml:trace contextRef="#ctx0" brushRef="#br0" timeOffset="128882.7">14340 5212 0,'0'-26'15,"-13"13"17,13-1-1,-13 28 94,0-1-125,13 0 15,-13 0-15,13 1 0,-14-1 16,14 0-16,0 0 0,-13 0 0,13 1 16,0 12-16,0-13 15,0 1-15,0-1 16,0 0-16,13 0 0,-13 1 16,14-14-16,-1 13 15,13 0-15,-13 0 16,1-13-16,-1 0 0,0 0 0,0 0 15,1 0-15,12-13 16,0 13-16,-12 0 0,-1 0 0,13-13 16</inkml:trace>
  <inkml:trace contextRef="#ctx0" brushRef="#br0" timeOffset="129328.4">14671 5173 0,'0'-14'0,"0"41"16,0-14-16,0 0 16,0 1-16,13 38 15,-13-25-15,0-14 0,0 14 0,14-14 16,-14 0-16,0 0 0,13 14 16,-13-14-16,13 0 0,-13 0 15,13 1-15</inkml:trace>
  <inkml:trace contextRef="#ctx0" brushRef="#br0" timeOffset="129625.11">14618 5146 0,'53'-66'16,"-40"66"-16,1 0 0,-1 0 0,0 0 0,0 13 16,1-13-16,12 13 0,-26 1 15,13-1-15,0 0 0,1 0 16,-14 1-16,0-1 0,0 0 0,0 27 16,-14-14-16,14-13 15,-13 1-15,0-1 0,13 0 16,-13-13-16,0 13 0,-1 1 15,1-14-15,0 0 16</inkml:trace>
  <inkml:trace contextRef="#ctx0" brushRef="#br0" timeOffset="129882.38">14724 4948 0,'40'0'0,"-27"0"0,0 13 16,14 0-16,26 14 15,-27-14-15,0 13 0,14 40 16,-13-39-16,-14-1 0,-13 1 16,13-1-16,-13 1 0,0-1 15,0 1-15,0-1 0,-13 27 16,0-40-16,-1 27 0,1-27 15,0 0-15,0 1 0,13-1 16,-14 0 0</inkml:trace>
  <inkml:trace contextRef="#ctx0" brushRef="#br0" timeOffset="130217.45">15438 5120 0,'0'53'31,"0"-40"-31,0 13 0,0-12 16,0 25-16,14 1 16,-14-27-16,0 14 0,0-14 0,13 13 15,13 1 1</inkml:trace>
  <inkml:trace contextRef="#ctx0" brushRef="#br0" timeOffset="130433.7">15386 5318 0,'13'-13'16,"0"0"-16,0 13 15,0-14-15,14 14 0,13-13 16,13 0-16,-27 13 0,0-13 16,27 0-1,-26 13-15,-14 0 0,13-14 0,-12 14 0,-1 0 16,13 0-16,-12-13 16</inkml:trace>
  <inkml:trace contextRef="#ctx0" brushRef="#br0" timeOffset="130844.52">16140 5027 0,'0'27'16,"0"-14"0,13 0-16,-13 27 0,13-14 15,-13 1-15,0-14 16,0 13-16,13 1 0,-13-1 16,13 1-1,1-1-15,-1-26 16</inkml:trace>
  <inkml:trace contextRef="#ctx0" brushRef="#br0" timeOffset="131114.68">16140 4961 0,'13'-27'0,"13"14"15,-13 13-15,14 13 16,-1 1-16,-12-1 16,-1-13-16,-13 26 15,13-12-15,-13-1 0,0 0 0,0 0 16,0 14-16,0-1 0,-13-13 16,13 14-16,-13-14 0,-1 0 15,14 1-15,-13-14 0,13 13 16,-13-13-16,13 13 15</inkml:trace>
  <inkml:trace contextRef="#ctx0" brushRef="#br0" timeOffset="131392.68">16510 4842 0,'-53'40'16,"27"-1"0,-1 14-16,14-26 15,0 39-15,13-40 0,-14 27 16,28-26-16,-14-1 0,0 1 16,39 39-1,41-13 1,-67-40-16,13-13 0,1 13 15,-14-13-15,14 0 16,-14 0-16,0-13 0,0 13 0,14 0 0,-14-13 16,0 13-16,0 0 0</inkml:trace>
  <inkml:trace contextRef="#ctx0" brushRef="#br0" timeOffset="132006.64">16708 5027 0,'27'-13'15,"-14"0"1,14 13-16,-14 0 16,27-14-16,-27 14 0,26 0 15,1-13-15,-27 13 16,1 0-16,-1-13 0,0 13 15,0 0-15,0 0 16,1 0-16</inkml:trace>
  <inkml:trace contextRef="#ctx0" brushRef="#br0" timeOffset="132363.69">16960 4961 0,'-13'0'0,"-1"0"16,14 13-1,0 0-15,0 14 16,0-14-16,14-13 0,-14 27 16,0-14-16,0 0 0,0 0 15,0 14-15,0-1 16,0-13-16,-14 1 0,14-1 0,-13 0 16,13 0-16,-13 1 0,13-1 0,-13 0 15,-1 0-15,1-13 16,-13 13-1,13-13 17,39 0-17,-13 0 1,14-13-16,-1 13 0,-13 0 16,14-13-16,12 13 15,1-13-15,-13 13 16,-14-13-16,13 13 0,-12 0 0,25-14 15,-12 1-15,-14 13 16</inkml:trace>
  <inkml:trace contextRef="#ctx0" brushRef="#br0" timeOffset="132652.68">17304 4921 0,'-13'13'31,"13"27"-15,0 0-16,0-27 15,13 0-15,-13 1 0,0 12 0,0 0 16,0-12-16,0-1 0,13 0 15,-13 0-15,0 1 16,0-1 0,13-13-16,-13 13 15</inkml:trace>
  <inkml:trace contextRef="#ctx0" brushRef="#br0" timeOffset="132945.6">17277 4921 0,'0'-66'16,"14"53"-16,12 13 16,14 0-1,-14 13-15,-13 0 16,1 1-16,-1-1 0,-13 0 15,13 13-15,-13-12 0,0-1 16,0 0-16,0 0 0,-13 14 16,0-14-16,-1 14 15,1-14-15,0-13 0,13 13 0,-27-13 16,1 0 0,13-13-1</inkml:trace>
  <inkml:trace contextRef="#ctx0" brushRef="#br0" timeOffset="133257.64">17304 4670 0,'119'13'15,"-80"0"1,-12 14-16,13-1 0,-14 1 0,27 26 16,-13 13-16,-27-40 15,0 1-15,-13-1 0,0 67 16,-13-67 0,0 1-16,-14 12 0,14-12 0,-13-14 0,12 14 15,1-14-15,0 13 16,-14-13-16,27 1 0,-13-14 15,13-27 17</inkml:trace>
  <inkml:trace contextRef="#ctx0" brushRef="#br0" timeOffset="133490.69">18031 4921 0,'53'-13'16,"-26"0"-16,-14 13 15,0 0-15,0 0 16,1 0-16,25 0 0,-25 0 15</inkml:trace>
  <inkml:trace contextRef="#ctx0" brushRef="#br0" timeOffset="133698.53">18031 5054 0,'53'0'16,"-39"-14"-16,52 1 16,-53 13-16,13 0 15,-12-13-15,-1 13 16,0 0-16,13 0 0,-12 0 0,-1 0 16,-13-13-16,13 13 0,0 0 15</inkml:trace>
  <inkml:trace contextRef="#ctx0" brushRef="#br0" timeOffset="134573.68">18957 4776 0,'0'39'31,"0"-25"-31,0-1 0,0 40 16,0-40-1,0 13-15,0 1 0,0-14 16,0 0-16,0 1 0,0-1 0,0 0 16,0 0-16,14-13 15,-1 0-15</inkml:trace>
  <inkml:trace contextRef="#ctx0" brushRef="#br0" timeOffset="134897.38">19156 4789 0,'-27'-13'16,"14"26"0,0-13-16,0 13 15,13 14-15,0-14 0,0 0 16,0 14-16,66-120 0,-106 199 15,67-93-15,-14 0 0,13 0 16,27 1-16,-26-14 16,-14 0-16,13-14 0,-12 14 15,-1-13-15,0 0 16,-13 0-16,0 0 0,0-1 0,-13 1 16,13 0-16,-27-14 15,14 14-15,-13 0 16,-1 0-16,14-1 0,0 14 15,0-13-15,39 13 32,-13 0-17,0 0-15</inkml:trace>
  <inkml:trace contextRef="#ctx0" brushRef="#br0" timeOffset="135154.84">19368 4776 0,'13'39'16,"-13"-25"-16,13 25 15,0-25-15,14-1 16,-1 0-16,-13-13 16,14 13-16,-14-13 0,13 0 15,-12 0-15,12-13 0,-13 13 0,27-13 16,-27 0-16,-13-1 16,0 1-16,-13-13 15,0-14-15,-14 27 16,1-14-16,13 14 15,-14 13-15,14 0 16,-13 0-16,12 0 0,1 0 16,0 13-16,13 0 15,-13-13-15</inkml:trace>
  <inkml:trace contextRef="#ctx0" brushRef="#br0" timeOffset="135414.76">20055 4591 0,'-13'13'16,"0"13"-16,-14 54 31,1-28-31,0 15 16,12-28-1,14-25-15,-13-1 16,0 13-16</inkml:trace>
  <inkml:trace contextRef="#ctx0" brushRef="#br0" timeOffset="135634.46">19989 4789 0,'27'13'15,"-14"-13"1,0 0-16,-13-13 0</inkml:trace>
  <inkml:trace contextRef="#ctx0" brushRef="#br0" timeOffset="135746.66">20188 4802 0,'13'0'16,"-40"-13"15</inkml:trace>
  <inkml:trace contextRef="#ctx0" brushRef="#br0" timeOffset="136739.93">15002 5636 0,'-27'0'16,"14"0"0,13 13-16,-40 0 15,40 0-15,-13 1 0,0-14 16,0 26-16,13 0 16,13-26-1,0 0 1,0-13-16,14 0 15,-14 0-15,0 13 16,1-13-16,-1 13 31,0 13-31,-13 0 16,0 0-16,0 40 16,0-13-1,0-27-15,0 0 0,13 14 16,-13-14-16,0 0 0,0 0 15</inkml:trace>
  <inkml:trace contextRef="#ctx0" brushRef="#br0" timeOffset="137078.15">15187 5662 0,'-26'27'16,"26"65"15,13-79-31,0 14 16,27-27-16,-14 13 16,14-26-1,-27 0-15,14-1 16,-27-12-1,-146-80-15,292 185 0,-146-118 16,-27 12 0,1 1-16,12 13 15,1 13-15,0 0 16,0 0-16,0 0 16,13 13-1</inkml:trace>
  <inkml:trace contextRef="#ctx0" brushRef="#br0" timeOffset="137270.39">15478 5569 0,'27'14'15,"-41"105"1,14-53-1,0-53 1,0 0-16,0 1 0,-13 25 16,13-25-16</inkml:trace>
  <inkml:trace contextRef="#ctx0" brushRef="#br0" timeOffset="137434.03">15386 5649 0,'13'13'32</inkml:trace>
  <inkml:trace contextRef="#ctx0" brushRef="#br0" timeOffset="137583.29">15690 5781 0,'0'0'62,"13"0"-62</inkml:trace>
  <inkml:trace contextRef="#ctx0" brushRef="#br0" timeOffset="138073.76">16140 5530 0,'13'66'32,"0"-40"-17,0 14-15,-13-13 0,0-14 16,13 13-16,1 27 16,-1-40-16,-13 1 15,0-1-15</inkml:trace>
  <inkml:trace contextRef="#ctx0" brushRef="#br0" timeOffset="138263.38">16140 5715 0,'0'-13'0,"13"13"15,13-13 1,-13 13-16,14 0 15,13-14-15,-14 14 16,-13 0-16,53-13 0,-290 66 16,501-106-16</inkml:trace>
  <inkml:trace contextRef="#ctx0" brushRef="#br0" timeOffset="138457.38">16841 5517 0,'13'13'16,"-13"0"0,-13 0-16,13 14 15,0-1-15,0 27 16,0-40-16,0 1 16,0 12-16,13-13 15</inkml:trace>
  <inkml:trace contextRef="#ctx0" brushRef="#br0" timeOffset="138755.64">16960 5596 0,'-27'26'15,"67"41"16,-27-67-15,14 13-16,-14-13 0,0-13 0,27 13 16,0-14-1,-27 1-15,-13 0 16,-13-27 0,-1 27-16,1-14 15,0 27-15,-106 27 0,211-67 16,-105 40-16,0 0 15,0 0 1</inkml:trace>
  <inkml:trace contextRef="#ctx0" brushRef="#br0" timeOffset="138946.76">17449 5398 0,'0'52'16,"-26"41"15,52-238-31,-52 316 0,13-118 0,13-26 16,-14 26-16,14-40 0,0 13 16,-13-12-16,13-1 15</inkml:trace>
  <inkml:trace contextRef="#ctx0" brushRef="#br0" timeOffset="139105.6">17277 5503 0,'-13'-13'16,"0"0"-16,26 39 31,-13-12-16</inkml:trace>
  <inkml:trace contextRef="#ctx0" brushRef="#br0" timeOffset="139256.31">17489 5649 0,'-212'-146'47,"437"279"-31</inkml:trace>
  <inkml:trace contextRef="#ctx0" brushRef="#br0" timeOffset="141017.34">19010 5173 0,'-13'0'0,"40"0"31,-1-14-31,14 14 0,-1 0 0,14 0 16,0-13-16,93 0 15,79 0-15,-159-1 16,159 1-16,-159 0 15,-13 13-15,53 0 16,-14-13-16,-12 13 16,-41 0-16,1-13 15,-14 13 1,-12 0-16,-1-14 16,0 1-16,0 0 15,-13 0 1,14-1-16,-1-25 15,-13 25-15,13 1 0,0-13 0,0-27 16,-13 26-16,27-65 16,-27 39-1,13 26-15,-13-12 0,13 12 16,-13 1-16,0 13 16,0-14-16,0 14 15,0 0 1,-13-1-16,0 14 15,0-13 1,-14 13-16,14 0 16,0-13-16,-53 0 15,-14 0-15,-12-1 16,-80 1-16,39 0 16,1-14-1,66 27-15,-13-13 0,12 13 16,-184-26-16,185 26 15,13 0-15,13-14 16,-105 14-16,105 0 16,-53 0-16,67 0 15,0 0-15,12 0 0,1 0 16,-13 0-16,-1 0 16,14 14-16,0-14 15,-1 26 1,1 1-16,-13 26 15,13-14-15,-1-12 16,1 12-16,-13 41 0,12-41 16,1 1-16,0 53 15,-13 26-15,26-40 16,13 1 0,-13-28-16,13-12 15,0-27-15,-13 14 0,13-14 16,-13 0-16,14 1 15,12-28 1,-13 1-16,14-13 16</inkml:trace>
  <inkml:trace contextRef="#ctx0" brushRef="#br0" timeOffset="142013.68">17952 4339 0,'291'-26'16,"-66"-1"-1,13 1-15,-159 26 16,1-13-16,52-1 0,-79 1 16,0 13-16,40-13 15,-14-14-15,-39 14 16,-14-13-1,-13 26-15,1-27 16,12 1-16,-26 13 16,13-1-16,-13-25 15,13 25-15,-13 1 16,-13-13-16,13 13 0,0-14 16,-13 14-16,13 0 15,-13-14-15,-27-39 16,40 40-16,-40-67 15,40 66-15,-13-12 16,0-14-16,-27-27 16,27 54-1,-13-14-15,12 27 16,1 0-16,-53-14 16,39 27-16,-92-26 15,93 26-15,-14 0 16,1 0-16,-67-13 0,0 26 15,-79 0 1,39 0-16,93-13 16,-145 14-16,-54-1 31,173-13-15,0 13-1,65-13-15,-12 0 16,0 0-16,26 13 15,-14 14 1,1-14-16,13 0 0,-13 14 16,13-14-16,-13 13 0,-14 80 15,14-26 1,0-41-16,-1 133 16,14-119-1,0-26-15,14 79 31,-1-67-31,0-26 0,0 1 16,14-1 0</inkml:trace>
  <inkml:trace contextRef="#ctx0" brushRef="#br0" timeOffset="143369.95">19963 3215 0,'159'-53'16,"-146"53"-1,13 13-15,-13-13 0,14 13 16,-14 0-16,27 40 0,-27-26 0,-13 13 16,13-1-16,-26 54 15,13-1-15,0-39 0,0 53 16,0-53-16,0-13 16,13-1-16,1 1 0,-1 0 15,0 0-15,27-1 0,13 1 16,-27-40-16,1 0 0,-1 0 0,0 0 15,67-27 1,-53 1-16,-14 13 0,1-14 0,-14 14 16,0 0-16,14-14 15,-1 1-15,-26 13 16,13 13-16,-13 26 16,-13 1-1,13 12-15,0 94 16,0-80-1,0-1-15,26 134 0,-12-133 16,25 52-16,-25-52 16,39 93-1,-14-67-15,-12 40 16,-27-106-16,0 14 16,-14-1-16,1 14 15,0-27-15,-40 27 16,27-27-16,-27 0 15,39-13-15,1-13 16,0 13-16</inkml:trace>
</inkml:ink>
</file>

<file path=ppt/ink/ink18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4:52:49.075"/>
    </inkml:context>
    <inkml:brush xml:id="br0">
      <inkml:brushProperty name="width" value="0.05292" units="cm"/>
      <inkml:brushProperty name="height" value="0.05292" units="cm"/>
      <inkml:brushProperty name="color" value="#0070C0"/>
    </inkml:brush>
  </inkml:definitions>
  <inkml:trace contextRef="#ctx0" brushRef="#br0">4167 9168 0,'27'0'15,"26"13"-15,-14-13 16,67 0-16,93-13 15,-54 13-15,-66 0 16,1 0-16,-14 0 0,13-13 16,40 13-16,-13 0 15,-53 0-15,0 0 0,-13 13 16,52-13 0,-78 0-16,12 0 0,0 0 15,-12 0-15,-1 0 16</inkml:trace>
  <inkml:trace contextRef="#ctx0" brushRef="#br0" timeOffset="397.21">3916 9419 0,'66'0'15,"-26"0"-15,-1-13 0,28 13 16,-1 0-16,26-13 16,-12 13-16,-1 0 0,14 0 0,-1-14 15,-12 14-15,12 0 0,1 14 0,-1-14 16,67 0-16,-93 0 15,0 13-15,-13-13 0,0 0 0,40 13 16,-27-13-16,13 13 16,-65-13-1,-1 0-15,13 0 0,-12 0 16,-1 0-16,0 0 0,0 14 16,0-14-1,1 0 1,-1-14-1,0 1 1</inkml:trace>
  <inkml:trace contextRef="#ctx0" brushRef="#br0" timeOffset="5668.06">11893 7302 0,'-26'-26'16,"12"26"-16,1 0 0,0 0 15,0 0-15,-1 0 0,-12 0 0,13 0 16,-40 0-16,40 0 15,-14 0-15,14 0 0,-14 0 16,14 13-16,0-13 16,0 0-16,0 13 0,-1-13 0,1 14 15,0-1-15,0 0 0,13 0 16,-14 1-16,-12 12 0,13 1 0,-1-1 16,1 0-16,0 1 0,0 13 15,0-1-15,-14 1 0,14 0 16,-14 13-16,14-14 0,0 1 0,-14 39 15,1-12-15,13-28 16,0-12-16,13 12 0,-14-12 16,14-1-16,0-13 0,0 14 0,0-1 15,0 1-15,0-14 0,0 27 16,0-27-16,0 0 0,0 14 16,0-14-16,27 40 15,-14-40-15,0 0 16,40 27-16,-26-27 15,-1 0-15,-13 1 0,27-1 16,39 0-16,-39 0 0,13-13 16,-13 0-16,26 0 0,-13 0 15,13-13-15</inkml:trace>
  <inkml:trace contextRef="#ctx0" brushRef="#br0" timeOffset="6394.94">13705 7302 0,'-13'0'15,"40"14"17,-14-1-32,0-13 15,0 26-15,14-12 0,-14 25 0,13-12 16,27 39-16,-26-13 16,-1-13-16,-12 12 0,38 147 15,-52-159-15,-13 13 16,13-14-16,-13 14 0,-13 40 15,12-54-15,1 1 16,-13 0-16,-1 13 0,14-27 0</inkml:trace>
  <inkml:trace contextRef="#ctx0" brushRef="#br0" timeOffset="7283.64">14208 7091 0,'-185'238'0,"132"-119"16,0 0-16,40-53 16,13 0-16,0 1 0,0-1 15,13 0-15,0-13 0,14 13 16,-1-13-16,27 39 0,-13-39 15,-14-13-15,14 0 0,0-1 16,-1-12-16,41 13 0,-1-27 16,-26 0-16,0-13 0</inkml:trace>
  <inkml:trace contextRef="#ctx0" brushRef="#br0" timeOffset="7946.96">17251 7117 0,'211'133'15,"-131"-41"1,-40-52-16,-1 13 0,1 0 15,13 53-15,-27-1 16,1 41 0,-40-53-16,-1-54 0,-12 1 15,-27 52-15,26-52 16,1-13-16,0-1 0,-1 1 16,1-1-16</inkml:trace>
  <inkml:trace contextRef="#ctx0" brushRef="#br0" timeOffset="13055.67">21101 2500 0,'0'40'31,"0"-27"-31,0 0 0,0 14 16,0-1-16,0 1 0,0-1 0,0 14 15,0-14-15,0 1 0,0-1 16,0 1-16,0-1 0,0 1 0,0-1 15,0 1-15,0 12 0,0-25 16,0-1-16,0 0 0,0 0 16,0 0-16</inkml:trace>
  <inkml:trace contextRef="#ctx0" brushRef="#br0" timeOffset="13359.86">21021 2540 0,'40'-40'0,"-27"40"0,14 0 16,-14 0-16,13 0 0,-13 0 0,14 14 15,13-1-15,-27 0 16,13 13-16,-13 1 0,-13-14 16,0 0-16,0 1 0,-26 25 15,13-12-15,0-14 16,-1 0-16,1 14 0,-27-1 16,27-26-16,0 13 0,0 1 0,0-14 15,-1 0 1</inkml:trace>
  <inkml:trace contextRef="#ctx0" brushRef="#br0" timeOffset="13620.97">21471 2500 0,'-27'14'0,"27"-1"16,-13 0-16,0 13 0,0 1 15,0-1-15,-1 41 0,1 12 16,0-13-16,26-39 16,-13 12-16,0 1 0,13-14 15,1 1-15,12 26 16,-13-40-16,14 13 0,-14-12 0,0-14 16,14 13-16,-14 0 15,0-13-15,0 0 0,1 0 0,38-26 16,-38 12-1,-1 1-15</inkml:trace>
  <inkml:trace contextRef="#ctx0" brushRef="#br0" timeOffset="13851.83">21815 2593 0,'0'-13'0,"0"26"15,0 0 1,-13 0-16,13 14 0,0-1 0,-14 14 15,14-14 1,-13 27-16,13 0 0,0-26 16,-13-1-16,13 14 15,0-27-15,0 0 0,0 1 16,0-1-16,0 0 16,0 0-16</inkml:trace>
  <inkml:trace contextRef="#ctx0" brushRef="#br0" timeOffset="14298.58">21775 2646 0,'66'-40'16,"-52"40"-16,12 0 16,-13 0-16,1 13 0,-1 1 0,-13-1 15,0 0-15,-27 14 16,27-14-16,-13 13 15,0-13-15,13 1 16,13-1 0,0-13-16,1 13 15,-1-13-15,0 13 0,0-13 0,0 0 16,1 14-16,-1 12 16,0-26-16,-13 13 0,0 1 15,-13 12 1,-14 0-16,14-26 15,0 14-15,0-1 0,-14-13 16,14 13-16,0-13 0,0 0 16,-14 0-16,-13-13 0,27 0 15</inkml:trace>
  <inkml:trace contextRef="#ctx0" brushRef="#br0" timeOffset="14538.75">21868 2275 0,'172'40'16,"-133"-13"-1,81 78-15,-81-52 16,1 40-16,-14 66 16,-39-67-1,0-39-15,-14-13 16,-25 52-16,25-52 15,-13 0-15,-52 26 0,12 0 16,41-53-16,-14-992 0,66 1985 16,-53-993-16,-39-13 0</inkml:trace>
  <inkml:trace contextRef="#ctx0" brushRef="#br0" timeOffset="146404.95">14168 1072 0,'0'-14'0,"-13"14"16,26 14 15,1 38-15,-14-25-16,0-1 16,13 27-16,-13-26 15,0 12-15,0-25 0,0 12 0,0 1 16,0-14-16,13 40 15,-13-14 1,0-25-16,0-1 16</inkml:trace>
  <inkml:trace contextRef="#ctx0" brushRef="#br0" timeOffset="146782.31">14155 1111 0,'0'0'0,"0"-13"0,0 0 15,13 0 1,-13-1-16,14 14 0,-1 0 0,13-13 16,-12 13-16,-1 13 15,0-13-15,0 0 0,1 14 0,12-1 16,-13 0-16,0 0 16,-13 0-16,0 1 0,0-1 15,-26 27 1,26-27-16,-13 0 0,0 0 15,13 1-15,-14-14 0,1 13 16,0 0-16,0-13 0,-1 13 16</inkml:trace>
  <inkml:trace contextRef="#ctx0" brushRef="#br0" timeOffset="147682.45">14618 926 0,'-13'13'16,"0"27"0,0 0-16,13-1 0,0 14 15,0-13-15,0 0 0,0 13 0,0 26 16,13-39-16,13 52 15,-26-79 1,27 27-16,-27-27 0,13-13 16,0 14-16,14-1 15,26-26 1</inkml:trace>
  <inkml:trace contextRef="#ctx0" brushRef="#br0" timeOffset="148167.26">14909 1124 0,'0'-13'15,"0"40"1,0-1-1,0 1-15,0-14 0,0 13 0,0-12 0,0 52 16,0-53-16,0 13 16,0 1-1,13-27-15,-13 13 0,0 0 16,-13-39 15,0-67-15,13 54-16,13-67 15,0 79-15,14-39 16,-1 40 0,-12 12-16,-14 1 0,26 13 15,-13 0-15,1 0 0,12 13 16,-13 1-16,-13-1 0,13 0 16,1 0-16,-1 1 0,0 12 15,0 14-15,1-14 16,-14 1-1,13-14-15,-13 0 0,0 0 0,13 14 16,-13-14 0,13-13-1</inkml:trace>
  <inkml:trace contextRef="#ctx0" brushRef="#br0" timeOffset="148657.22">14936 1244 0,'26'-14'47,"-13"14"-47,1-13 0,12 13 15,-13-13-15,40 0 16,-13 13-16,-14-14 16,-12 14-16</inkml:trace>
  <inkml:trace contextRef="#ctx0" brushRef="#br0" timeOffset="148854.44">15359 1151 0,'13'13'16,"1"14"0,-14-1-1,13-13 1,0 14 0,-13-14-16,0 0 15,13-13 1</inkml:trace>
  <inkml:trace contextRef="#ctx0" brushRef="#br0" timeOffset="149165.53">15306 847 0,'40'0'0,"-27"13"15,80 27-15,-27 12 16,-40-52-16,1 40 16,-1-13-16,27 65 15,-26-12 1,-27-54-16,-14 14 0,14-1 15,0-25-15,-13-1 0,0 27 16,13-27 0</inkml:trace>
  <inkml:trace contextRef="#ctx0" brushRef="#br0" timeOffset="149405.57">16034 1019 0,'66'-14'15,"-53"1"-15,0 13 0,1 0 0,25 0 16,-26 0 0,1 0-16</inkml:trace>
  <inkml:trace contextRef="#ctx0" brushRef="#br0" timeOffset="149589.65">16047 1164 0,'79'-26'0,"-52"26"15,-14 0-15,53-14 16,-39 14-16,12 0 16,-25 0-16,-1 0 0,26 0 15</inkml:trace>
  <inkml:trace contextRef="#ctx0" brushRef="#br0" timeOffset="150363.22">17291 728 0,'52'-27'16,"-78"40"15,-53 27-15,52-27-16,14 1 15,0-14-15,-1 13 0,1-13 0,0 13 16,0 0-16,13 0 16,39 1-1,-25-1-15,-1-13 16,13 13-16,-12-13 0,39 27 15,-40-27 1,0 13-16,0 0 0,-13 0 16,-13 0-16,0-13 0,-40 27 15,0-1 1,26-12-16,1-1 0,13 0 16,-14-13-16,14 0 0,0 13 0,0-13 15,-1 0-15</inkml:trace>
  <inkml:trace contextRef="#ctx0" brushRef="#br0" timeOffset="150589.03">17661 675 0,'0'39'0,"-13"-25"15,-40 91-15,0-12 16,26-67-16,1 27 16,-67 93-16,67-106 15,-1 13-15,1-27 0,0 0 0,-1 14 16,14-13-16,-27 12 16,27-12-16,0-14 0,-1 0 15,1-13-15</inkml:trace>
  <inkml:trace contextRef="#ctx0" brushRef="#br0" timeOffset="151102.46">17595 1138 0,'13'-14'0,"0"1"15,0 13 1,14 0-16,-1 0 15,-26 13-15,14-13 16,-14 40 0,-14-27-16,1 1 15,13-1-15,0 0 16,0 0 0,13-13-16,27 0 15,-13 14-15,-14-14 16,0 0-16,0 0 0,0 13 0,1-13 15,-14 13-15,13-13 0,0 26 16,-26-12 0,13-1-16,-13 0 0,-1 0 0,1 1 15,0-14-15,0 13 0,0 0 16,-27 0-16,27 1 16,-1-14-16,1 0 0,13-14 15</inkml:trace>
  <inkml:trace contextRef="#ctx0" brushRef="#br0" timeOffset="151415.31">18005 1005 0,'-13'14'0,"-1"-1"0,14 0 16,-13 0-16,13 1 0,-13 12 0,0 14 15,13-14-15,0 14 16,13 0-16,0-14 16,-13-13-16,13 0 0,1 1 0,-1-14 15,0 13-15,0-13 16,1 0-16,-1 0 16,0 0-16,0 0 0,-13-13 15,0-1 1,-13 1-1,0 0-15,0 13 0,-1-13 16,1 13 0,0-13-1</inkml:trace>
  <inkml:trace contextRef="#ctx0" brushRef="#br0" timeOffset="151746.73">18375 1005 0,'-53'14'15,"40"-1"-15,0 0 16,13 0-16,13 1 15,0-1-15,1-13 16,12 13-16,27 0 16,-40 0-16,0-13 0,1 14 15,-1-1-15,0 0 0,-13 0 16,0 1-16,-13-1 16,0 0-16,-27 14 0,14-14 0,-1 13 15,1-13-15,-14 14 0,0-14 0,14 14 16,-14-14-16,0 0 0,-12 0 15</inkml:trace>
  <inkml:trace contextRef="#ctx0" brushRef="#br0" timeOffset="152621.56">14433 2725 0,'-13'-13'0,"26"39"16,-13 1 0,0-14-16,13 27 0,-13 52 15,13-12 1,-13-54-16,0 14 16,0-27-16,14 27 15,-14-27-15,0 0 16,0 1-1</inkml:trace>
  <inkml:trace contextRef="#ctx0" brushRef="#br0" timeOffset="152889.53">14354 2778 0,'53'-53'0,"-40"53"16,13 0-1,14 13-15,-27-13 0,27 53 16,-27-26 0,-13-14-16,-13 14 15,0-14-15,13 0 0,-53 53 31,39-66-31,14 13 16,-13-13-16</inkml:trace>
  <inkml:trace contextRef="#ctx0" brushRef="#br0" timeOffset="153122.16">14803 2580 0,'-39'53'16,"26"-27"-16,-1 1 0,1 12 0,0 67 15,13-79-15,0-1 16,0-13-16,13 14 0,14 39 16,-1-40-1,27-13 1,0-13-1</inkml:trace>
  <inkml:trace contextRef="#ctx0" brushRef="#br0" timeOffset="153534.29">15094 2659 0,'-13'0'0,"13"40"16,0-14-1,0 1-15,0-1 16,0 1-16,0-1 0,0 40 16,0-53-16,0 14 15,0-14-15,0 0 0,0 1 16,0-1-16,0 0 0,0 0 0,-13-92 47,13 52-47,0-25 15,13-68 1,14 28-16,-14 65 16,40-12-1,-40 39-15,0 0 0,14 0 16,-14 0-16,0 13 0,0 0 0,14 0 16,13 40-1,-27-26-15,0-1 0,-13-13 16,13 14-16,-13 26 15,0-40 1,0 0-16,0 14 16</inkml:trace>
  <inkml:trace contextRef="#ctx0" brushRef="#br0" timeOffset="153713.81">15134 2897 0,'-13'0'16,"39"-13"0,-12 0-16,25 0 15,-25 13-15,12 0 0,27-14 16,-40 1-16,0 13 16,1 0-16,12 0 15,-13 0-15</inkml:trace>
  <inkml:trace contextRef="#ctx0" brushRef="#br0" timeOffset="153995.12">15610 2712 0,'27'13'16,"-14"-13"-16,-13 13 0,0 1 15,0-1 1,0 0-16,-13 0 0,-14 40 15,14-39-15,13-1 0,-13 13 16,13-13-16,0 1 16,0-1-1,13-13-15,14 0 16,12-13 0,1-1-1,-27 1-15,0 0 16,-13 0-16,0 0 15</inkml:trace>
  <inkml:trace contextRef="#ctx0" brushRef="#br0" timeOffset="154245.35">15610 2447 0,'133'40'16,"-107"-27"-16,1 14 0,26 12 16,-27-12-16,-13-1 15,14 41-15,-27-54 16,0 13-16,-14 1 0,14-1 0,-13-13 16,0 14-16,0-14 0,13 0 15,-13 27-15,-1-27 16,1-13-16,13 13 0</inkml:trace>
  <inkml:trace contextRef="#ctx0" brushRef="#br0" timeOffset="154485.35">16140 2619 0,'0'-13'16,"13"0"-16,0 13 0,0 0 16,27-13-1,-14 13-15,-12 13 16</inkml:trace>
  <inkml:trace contextRef="#ctx0" brushRef="#br0" timeOffset="154656.1">16113 2778 0,'27'0'15,"25"-26"1,-25 26-1,-14-14-15,0 14 0,14 0 0,-14-13 16,0 13-16,1 0 0,-1 0 16</inkml:trace>
  <inkml:trace contextRef="#ctx0" brushRef="#br0" timeOffset="155348.19">17079 2328 0,'26'0'0,"27"0"16,-26 0-16,-14 14 15,-13-1-15,0 0 0,0 0 16,0 0-16,-27 14 16,14-14-16,0 14 15,0-14-15,26 0 32,13-13-32,-12-13 15,12 13-15,-13 0 0,1 0 0,25 0 16,-25 0-16,-1 0 15,26 26 1,-52 1-16,0-14 16,0 0-16,-14 0 0,-65 54 31,52-54-31,27-13 0,-14 13 16,14 0-1,0-26-15</inkml:trace>
  <inkml:trace contextRef="#ctx0" brushRef="#br0" timeOffset="155670.42">17410 2262 0,'-40'27'16,"40"-14"-16,-27 53 15,27-53-15,0 14 0,14-14 16,-14 0-16,13 27 16,0-27-16,27 0 0,-27 1 15,0-14-15,0 0 0,14 0 0,-14 0 16,0 0 0,1-14-16,-28 1 31,14 0-31,-39 0 15,12 13 1,14 0 0,0 0-16</inkml:trace>
  <inkml:trace contextRef="#ctx0" brushRef="#br0" timeOffset="155983">17674 2236 0,'-26'26'15,"12"-13"-15,14 1 16,0-1-16,0 0 0,0 40 16,14-40-1,-1 0-15,0 1 0,14-14 0,-14 13 0,13-13 16,-12 0-16,-1 0 0,0 0 15,13-13-15,-12 13 16,-1-14-16,-13 1 0,0 0 16,0-27-16,-13 27 0,-14-27 15,14 40 1,13-13-16,-13 13 0,0-13 16,-14 26-16,14 0 15,0 1 1,-1 12-16</inkml:trace>
  <inkml:trace contextRef="#ctx0" brushRef="#br0" timeOffset="156301.15">17132 2990 0,'211'-106'0,"-144"80"16,12-1-16,-13 1 0,13-1 0,14-13 15,-27 14-15,80-27 16,-67 27-16,40-14 0,-66 13 0,-13 14 15,-1 0-15,-12 13 0,-1-13 16,-12 13-16,-1-13 0,0 13 16,-39 13-1,12 0-15</inkml:trace>
  <inkml:trace contextRef="#ctx0" brushRef="#br0" timeOffset="156797.37">17568 3149 0,'53'-14'0,"-40"14"16,1 0-16,-1 14 15,-13-1 17,13 0-32,0 0 15,1-13-15,-1 0 16,0 13-16,0-13 0,1 0 16,-1 14-16,0-14 0,0 0 15,0 26 1,-26-13-16,13 1 15,-13-1-15,-27 13 16,27-26-16,0 14 16,0-14-16,-1-14 15</inkml:trace>
  <inkml:trace contextRef="#ctx0" brushRef="#br0" timeOffset="157100.34">17939 3003 0,'-27'13'31,"27"0"-31,-26 80 0,26-80 0,0 1 0,13 25 16,-13-26-16,13-13 15,1 14-15,-1-1 0,0-13 0,0 0 16,0 0-16,14 0 15,-14 0-15,0 0 0,1-13 16,-14-1-16,-14 1 16,1 13-1,0-13-15,0 13 16,-27-13-16,27 13 16,0 0-1</inkml:trace>
  <inkml:trace contextRef="#ctx0" brushRef="#br0" timeOffset="157406.97">18243 2963 0,'-26'0'0,"12"14"0,1-14 0,0 13 15,0 0 1,13 0-16,0 0 0,0 1 16,13-14-16,13 13 15,-12 0-15,12-13 0,-13 13 16,14 1-16,-14-14 0,40 39 16,-40-39-16,-13 14 15,0-1-15,0 0 16,-13 0-16,-53 27 15,26-14 1,14-12-16,-1-14 0,1 13 16,-14-13-16,0 13 0</inkml:trace>
  <inkml:trace contextRef="#ctx0" brushRef="#br0" timeOffset="160503.16">6376 2051 0,'0'-14'0,"0"41"16,14-14-16,-14 0 15,0 0-15,13 14 0,-13 13 16,0-27-16,13 13 16,-13-13-16,0 14 0,13-14 0,-13 14 15,0-14-15,0 0 0,0 0 0,0 27 16,14-40-1</inkml:trace>
  <inkml:trace contextRef="#ctx0" brushRef="#br0" timeOffset="160777.99">6310 2037 0,'66'-66'15,"-52"66"-15,-1 0 0,0 0 16,0 13-16,40 1 16,-39-1-16,-14 0 0,26 53 31,-39-53-31,13 1 0,0-1 15,-13 0-15,-1 0 0,14 1 0,-13-1 16,-13 13-16</inkml:trace>
  <inkml:trace contextRef="#ctx0" brushRef="#br0" timeOffset="161221.06">6694 1879 0,'-26'26'0,"12"0"16,14-12-16,-13 39 0,13-14 0,0 1 15,0 0-15,13 79 16,1-40 0,-1-52-16,0-1 0,-13 0 0,13-12 15,0 12-15,1-13 0,-1-13 0,0 14 16,0-14-16,1 0 0,-1 0 16,0 0-16,27-14 15,-27 1-15</inkml:trace>
  <inkml:trace contextRef="#ctx0" brushRef="#br0" timeOffset="161474.06">6906 2024 0,'0'-13'15,"0"39"16,0-12-31,13-1 0,-13 0 16,0 0-16,13 0 0,-13 14 0,0-14 16,0 0-16,0 14 0,13 39 15,-13-53 1,14 14 0,-14-14-16</inkml:trace>
  <inkml:trace contextRef="#ctx0" brushRef="#br0" timeOffset="162146.68">6932 2064 0,'66'-40'0,"-53"40"16,27 13-1,-40 14 1,-13-1 0,0-13-16,-1 27 15,1-40-15,13 13 16,13-13-1,14 14 1,-14-14-16,0 13 16,1-13-16,-1 0 0,27 26 15,-27-13 1,-26 27 0,-1-27-16,-12 14 15,-1-14-15,14 0 0,0-13 16,0 14-16,-14-14 15,1 0-15,13 0 16,-1-14-16</inkml:trace>
  <inkml:trace contextRef="#ctx0" brushRef="#br0" timeOffset="162882.07">7197 1865 0,'26'80'16,"-26"-67"-16,13 27 0,40 105 31,-40-118-31,1 12 0,-1 1 0,0-14 0,14 14 16,-27-13-16,13-14 16,13 26-1,-26-25-15,14-41 31,-1 27-31</inkml:trace>
  <inkml:trace contextRef="#ctx0" brushRef="#br0" timeOffset="163386.14">7620 1945 0,'0'39'0,"0"-25"0,0 25 15,13-25-15,-13 12 16,0-13-16,0 0 15,0 1-15,13 12 16,-13-13-16,0 1 16,0-54 15,-13-13-15,13 27-1,0-41-15,13 54 16,-13-13-16,0 12 0,0 1 0,14 0 15,-1-13-15,0 26 16,0-14-16,1 28 16,-1-14-16,13 13 0,-12 0 0,38 40 31,-52-40-31,14 0 0,-1 1 16,-13-1-16,13 0 0,-13 0 0,0 1 0,13-14 15,-13 13-15,0 0 16,14 0-16,-14 0 15</inkml:trace>
  <inkml:trace contextRef="#ctx0" brushRef="#br0" timeOffset="163580.4">7673 2103 0,'-13'0'16,"39"-13"0,-13 13-16,1 0 0,12-13 15,1 13-15,-14 0 16,0-13-16,0 13 0,14 0 0,-14-13 0,0 13 16</inkml:trace>
  <inkml:trace contextRef="#ctx0" brushRef="#br0" timeOffset="163749.4">8030 1971 0,'0'-13'0,"13"53"15,-13-27 1,14 13 0,-14-12-16,0-1 0,13 0 15,-13 0-15,0 0 0,13-13 16,-13 14-16,13-1 15</inkml:trace>
  <inkml:trace contextRef="#ctx0" brushRef="#br0" timeOffset="164094.41">7832 1561 0,'39'0'0,"-25"13"15,78 14 1,1 12-16,-40-12 15,0-1-15,-14 14 0,14 0 0,-13-14 16,-14 14-16,1 0 0,13 52 16,-27-65-1,-26 39-15,-1-27 0,-39 54 16,27-67-16,-1 1 16,14-14-16,-26 14 15,-1-14-15,13 0 0,1-13 0</inkml:trace>
  <inkml:trace contextRef="#ctx0" brushRef="#br0" timeOffset="165386.26">6932 1998 0,'0'-27'47,"0"14"-31,-13 0-1,13-1-15,-13-25 16,13 26-16,-14-1 0,14 1 0,0 0 16,-13-14-16,13 14 0,0 0 0,-13 0 15,13-1-15,-13 1 16,13-13 0,-14 13-1,14-1 1</inkml:trace>
  <inkml:trace contextRef="#ctx0" brushRef="#br0" timeOffset="165841.19">6839 1879 0,'0'13'0,"14"-13"16,-14 13-16,13 0 15,0 14 1,0-14-16,1-13 16,-14 13-16,13-13 0,-13 13 15,13-13-15,14 14 16,-14-1 0,0-13-1,0 0 1,0 0-1,-13-13-15,14-1 16,-14 1 0,0 0-16,0 0 15,13-1-15,-13 1 0,0 0 32,13 0-17</inkml:trace>
  <inkml:trace contextRef="#ctx0" brushRef="#br0" timeOffset="167873.44">6535 1495 0,'-13'0'15,"39"13"17,-12 0-17,-14 1-15,13-1 16,0 0-1</inkml:trace>
  <inkml:trace contextRef="#ctx0" brushRef="#br0" timeOffset="168170.48">6548 1389 0,'14'-26'15,"-14"12"-15,13 14 0,-13-13 0,13 13 16,0 0-16,1 13 16,-1-13-16,0 14 15,-13-1-15,0 0 0,13-13 16,-13 13-16,-13 1 15,13-1-15,0 0 0,-13-13 0,13 13 16,-13 0-16,13 1 16,-14-14-1</inkml:trace>
  <inkml:trace contextRef="#ctx0" brushRef="#br0" timeOffset="168709.97">7567 1548 0,'-13'-13'0,"26"26"0,-26-13 31,13 26-31,13 14 16,0-27-1,-13 0-15,14 27 16,-1-13-16,-13-14 16,13 0-16,-13 13 0</inkml:trace>
  <inkml:trace contextRef="#ctx0" brushRef="#br0" timeOffset="168962.1">7607 1773 0,'13'26'47,"27"-26"-16,-27-13-15,0 13-16,0-13 0,-13-1 15,0 1-15,0-13 32,0 13-32,0-1 0,0 1 0,-13 0 0,13 0 15</inkml:trace>
  <inkml:trace contextRef="#ctx0" brushRef="#br0" timeOffset="169674.06">9181 1984 0,'13'0'15,"14"-26"1,-1 13-16,1 13 0,12-14 15,-25 1-15,12 0 16,-13 13-16,14-13 0,-14 13 0,0-13 16,27-1-1,-27 14-15</inkml:trace>
  <inkml:trace contextRef="#ctx0" brushRef="#br0" timeOffset="169879.87">9340 1746 0,'26'-13'16,"1"13"-16,26 13 15,-40 0-15,13-13 0,1 14 16,-14-1-16,27 27 16,-27-14-16,-13-13 0,13 1 15,-13 25 1,0-26-16,0 1 0,-13-1 0,13 0 15,-13-13-15,13 13 0</inkml:trace>
  <inkml:trace contextRef="#ctx0" brushRef="#br0" timeOffset="170457.1">10054 1535 0,'-40'-14'0,"14"28"16,13-1-16,0 0 15,-1 0-15,1 1 0,-13 25 16,26-26-16,0 1 15,-14-1-15,14 0 0,14 0 16,-1-13-16,0 0 16,27 0-16,13-26 31,-40 13-31,13-1 16,-12 14-1,12 27 1,-26 13-1,13-27-15,-13 40 16,0-40-16,14 13 16,-14-12-16,0 25 15,13-25 1,0-14-16,-13 13 0,13-13 16</inkml:trace>
  <inkml:trace contextRef="#ctx0" brushRef="#br0" timeOffset="170938.18">10332 1561 0,'-13'13'0,"-14"1"15,14 25 1,0-26-16,13 14 0,0-14 15,0 14 1,0-14-16,13 26 16,0-39-16,1 0 0,-1 14 0,0-14 15,0 0-15,0 0 0,40-27 32,-26 1-32,-27 13 15,0-1-15,0 1 0,0 0 16,-13 0-16,-14-27 15,14 27-15,0-14 0,-14 14 16,14 0-16,0 13 16,-27 26-1,27-26-15,0 14 16,13-1-16</inkml:trace>
  <inkml:trace contextRef="#ctx0" brushRef="#br0" timeOffset="171239.17">10636 1733 0,'-13'-13'31,"13"0"16,13-1-31</inkml:trace>
  <inkml:trace contextRef="#ctx0" brushRef="#br0" timeOffset="171930.53">10769 1416 0,'-14'26'15,"14"-13"-15,-13 14 0,13-14 0,-13 27 16,0-14-16,-1 1 0,-25 78 15,25-78-15,1 12 16,0-12-16,13-14 0,-13 0 16,13 1-16,-13-1 0,13 0 15,-14 14 1</inkml:trace>
  <inkml:trace contextRef="#ctx0" brushRef="#br0" timeOffset="172089.2">10438 1535 0</inkml:trace>
  <inkml:trace contextRef="#ctx0" brushRef="#br0" timeOffset="172228.23">10821 1733 0,'0'13'31</inkml:trace>
  <inkml:trace contextRef="#ctx0" brushRef="#br0" timeOffset="172563.77">11430 1495 0,'53'-40'0,"-40"40"16,0-13-16,27 0 15,-13 13-15,-14 0 0,0 0 0,13-13 16,-12 13-16,-1 0 0</inkml:trace>
  <inkml:trace contextRef="#ctx0" brushRef="#br0" timeOffset="173064.29">11642 1230 0,'66'27'0,"-53"-14"0,0-13 16,14 13-16,-14 0 0,0 1 0,0-1 15,1 0-15,-1 0 0,0 1 16,-13-1-16,13 0 0,-13 14 15,0-14-15,0 0 16,-13 13-16,0-12 16,13-1-16,-13 0 0,13 0 0,-14 1 15,1-1-15</inkml:trace>
  <inkml:trace contextRef="#ctx0" brushRef="#br0" timeOffset="173385.39">12052 1244 0,'-40'66'0,"27"-53"0,26 27 15,0-27 1,-13 0-16,14 0 15,-1 1-15,13-14 0,-13 13 0,1-13 0,25 0 16,-25 0 0,-1 0-16,0-13 0,14-1 0,-27 1 15,0 0-15,0 0 16,0-1-16,-14 1 0,14 0 0,-13-14 16,0 14-16,0 0 0,-1 0 15,-12 0-15,13-1 16,-1 14-16,1 0 0,0 0 15,0 0-15,0 14 16</inkml:trace>
  <inkml:trace contextRef="#ctx0" brushRef="#br0" timeOffset="173529.22">12303 1270 0</inkml:trace>
  <inkml:trace contextRef="#ctx0" brushRef="#br0" timeOffset="173846.81">12515 1111 0,'-119'40'15,"105"-27"1,-12 14-16,26-14 0,0 0 16,13-13-1,0 0-15,1 0 0,-1 0 16,0 0-16,0 0 0,1 0 0,-1 0 15,0 0-15,14 13 16,-1 1-16,-13-1 16,0 0-16,-13 0 0,14 14 15,-14 12-15,0-25 0,13-1 16,-13 13-16,0-12 0,13 38 16,0-12-1,-13-27-15</inkml:trace>
  <inkml:trace contextRef="#ctx0" brushRef="#br0" timeOffset="174796.42">6800 3268 0,'39'53'15,"-39"-40"-15,0 13 0,14 1 0,-14-1 16,13 1-16,-13-1 0,13 27 15,-13-13-15,0-14 0,13-13 16,-13 1-16,0-1 0,0 0 16,0 0-16</inkml:trace>
  <inkml:trace contextRef="#ctx0" brushRef="#br0" timeOffset="175085.22">6747 3281 0,'53'-27'0,"-14"27"15,-12 0-15,-14 14 0,14-14 16,-14 13-16,0 0 15,-13 0-15,13 1 0,-13-1 0,14 0 16,-14 0-16,-27 53 16,14-39-16,0-14 15,-1 0-15,14 0 0,-13 1 0,0-14 16,13 13-16,-13-13 0</inkml:trace>
  <inkml:trace contextRef="#ctx0" brushRef="#br0" timeOffset="175353.46">7144 3096 0,'-27'26'0,"27"-13"16,-13 1-16,13-1 0,-13 79 15,0-52-15,13 0 16,13-1-16,-13 1 0,13 39 16,0-39-16,1-13 0,-1-1 15,13 1-15,-13-1 0,1-13 0,12 0 16,-13-13-16,1 14 0,-1-1 16,13-13-16,-13 0 0,40 0 15,-53-13-15,14 13 16</inkml:trace>
  <inkml:trace contextRef="#ctx0" brushRef="#br0" timeOffset="175593.8">7461 3241 0,'0'27'15,"0"-14"-15,0 79 16,13-65-16,-13-1 0,0 1 0,0-1 16,0-13-16,0 40 15,0-26-15,0-14 16,0 0-16,0 1 0,14-14 0</inkml:trace>
  <inkml:trace contextRef="#ctx0" brushRef="#br0" timeOffset="176010.06">7435 3307 0,'53'-13'32,"-40"26"-32,0 1 15,-13-1 1,0 13-1,13-13 1,1-13 0,-1 14-16,0-1 15,0 0-15,-13 0 16,0 1-16,0-1 0,0 40 16,-13-40-1,13 0-15,-26 27 16,12-40-16,1 13 15</inkml:trace>
  <inkml:trace contextRef="#ctx0" brushRef="#br0" timeOffset="176244.19">7646 3135 0,'40'40'32,"-40"-27"-32,53 120 15,-53-94-15,0-12 0,13 52 16,-13-53 0,14-12-16,-14-1 0,0 13 0,0-12 15,0-1-15,13 0 0,13-26 31</inkml:trace>
  <inkml:trace contextRef="#ctx0" brushRef="#br0" timeOffset="176745.36">7990 3360 0,'0'27'16,"0"-14"-16,0 0 15,14 40 1,-14-27-16,0-12 0,0 12 15,0-13-15,0 1 16,0-28 15,-14 1-15,1-53-16,13 40 16,0-14-16,0 13 0,-13 1 0,26 0 15,-13-1-15,0 1 0,0 12 16,13-12-16,-13 13 0,14-1 15,-1 1-15,13 13 16,-12 0-16,-1 0 16,0 13-16,0 1 0,0-1 0,14 13 15,-14 14-15,0-13 16,1-14-16,-14 13 0,13-13 16,-13 1-16,0 12 0,13-13 0,-13 1 15,0-1-15,0 0 0,13-13 0,-13 13 16,0 0-1</inkml:trace>
  <inkml:trace contextRef="#ctx0" brushRef="#br0" timeOffset="176938.11">7964 3466 0,'13'-26'16,"0"26"-16,1 0 0,39-14 16,-40 1-16,0 13 0,13-13 15,1 13-15,-14 0 16,0-13-16,1 13 0,-1 0 0</inkml:trace>
  <inkml:trace contextRef="#ctx0" brushRef="#br0" timeOffset="177259.34">8374 3321 0,'53'0'0,"-40"0"15,-13 13-15,0 0 0,0 0 16,-13 14-16,13-14 0,-26 27 15,26-27-15,-14 0 16,14 0-16,-13-13 0,13 13 0,0 1 16,-13-14-16,13 13 0,0 0 15,0 0 1,13-13 0,0 0-16,14-13 15,-14 13-15,27-13 16,-14-14-16,1 14 15,-14 0-15,-13 0 0,0 0 16</inkml:trace>
  <inkml:trace contextRef="#ctx0" brushRef="#br0" timeOffset="177509.69">8295 2884 0,'53'13'0,"-40"-13"16,27 13-16,-1 14 0,14-1 0,-13 1 15,79 52 1,-93-39-16,1-14 0,-14 14 16,0-14-16,0 14 0,-13 0 0,0 0 15,0 12-15,-39 54 16,12-79-16,14-1 0,0 1 0,0-14 15,13 0-15,-14-13 16</inkml:trace>
  <inkml:trace contextRef="#ctx0" brushRef="#br0" timeOffset="177914.22">9194 3135 0,'40'-13'0,"-27"0"16,-66 39-16,133-52 0,-67 26 0,13 0 15,-12-13-15,-1 13 0,0-14 0,53 1 32,-53 13-32,1-13 0,-1 13 15</inkml:trace>
  <inkml:trace contextRef="#ctx0" brushRef="#br0" timeOffset="178144.98">9393 2871 0,'39'13'0,"14"13"0,-39-12 16,12-1-16,0 0 0,1 0 0,-14 14 16,14-14-16,-14 0 0,0 14 0,-13-14 15,13 13 1,-13 1-16,0-14 0,0 0 0,0 14 0,-13-14 15,13 0-15,-13 0 0,0 1 16,-1 12-16</inkml:trace>
  <inkml:trace contextRef="#ctx0" brushRef="#br0" timeOffset="178801.37">10253 2659 0,'13'13'16,"0"1"-16,-13-1 15,0 0-15,13 0 0,-13 14 0,0-14 16,14 13-16,-14 14 16,0-27-16,13 1 0,-13 12 0,0-13 15,13-13-15,-13 13 0</inkml:trace>
  <inkml:trace contextRef="#ctx0" brushRef="#br0" timeOffset="179122.51">10451 2672 0,'-13'-13'15,"13"53"1,0-27-16,0 0 0,13 0 16,-13 1-16,13-1 0,1 0 0,-1 0 15,0 1-15,13-14 0,-12 13 0,12-13 16,27 0-1,-40-13-15,0 13 16,1-14-16,-14 1 0,0 0 16,0 0-16,-14-1 0,1 1 0,13 0 15,-13 0-15,-27 0 16,27-1-16,-13 1 0,12 13 16,1 0-16,0-13 0,0 13 15,0 13-15,-1-13 0,1 13 16,0-13-16</inkml:trace>
  <inkml:trace contextRef="#ctx0" brushRef="#br0" timeOffset="179345.31">10835 2487 0,'13'0'0,"-13"13"15,0 1-15,0-1 0,0 0 0,0 0 16,-13 14-16,13-14 0,0 13 16,0 1-16,-14-1 0,14 1 0,0-14 15,0 13-15,-13-12 0,13 12 16,0 1-16,0-14 16,0 0-1,0 0-15</inkml:trace>
  <inkml:trace contextRef="#ctx0" brushRef="#br0" timeOffset="179768.32">10716 2619 0,'-14'0'16,"28"14"15</inkml:trace>
  <inkml:trace contextRef="#ctx0" brushRef="#br0" timeOffset="179922.02">10993 2778 0</inkml:trace>
  <inkml:trace contextRef="#ctx0" brushRef="#br0" timeOffset="180209.78">11681 2474 0,'14'0'0,"25"-13"16,-25-1-1,12 14-15,-13-13 16,0 13-16,1-13 0,-1 13 16,0 0-16,-13-13 0,13 13 0</inkml:trace>
  <inkml:trace contextRef="#ctx0" brushRef="#br0" timeOffset="180435.07">11787 2342 0,'13'-14'0,"1"14"15,-1 14-15,0-14 0,0 13 16,40 13-1,-26 14-15,-27-27 16,0 14-16,0-14 0,-27 79 31,1-65-31,13-14 16</inkml:trace>
  <inkml:trace contextRef="#ctx0" brushRef="#br0" timeOffset="180916">12343 2196 0,'-13'-13'15,"-1"26"-15,1 0 0,13 0 16,-13-13-16,13 14 0,0-1 0,0 0 15,0 0-15,0 1 16,13-1-16,-13 0 0,13 0 0,1 1 16,-1-14-16,0 0 0,0 0 15,14 0 1,-14 0-16,0-14 16,-13 1-16,13 13 0,-13-13 15,0 0-15,-13 13 0,13-14 0,0 1 16,-13 0-16,-14-14 15,14 14-15,-13 13 16,13 0 0,13 13-1</inkml:trace>
  <inkml:trace contextRef="#ctx0" brushRef="#br0" timeOffset="181044.02">12422 2236 0,'27'0'16,"-27"13"-1</inkml:trace>
  <inkml:trace contextRef="#ctx0" brushRef="#br0" timeOffset="181256.24">12700 2037 0,'13'53'16,"-13"-26"-16,13 26 16,-13-40-16,14 40 15,-14-27-15,0-13 16,13 1-16,-26-1 0,26 0 0,-13 0 15,0 1-15,13-1 0</inkml:trace>
  <inkml:trace contextRef="#ctx0" brushRef="#br0" timeOffset="184614.65">5980 1707 0,'-53'13'16,"26"0"-16,14-13 0,-13 13 15,12 0-15,1 14 0,0-14 0,13 14 16,-13-1-16,13-13 0,13 14 0,0 12 16,-13 1-16,66 66 15,-53-66-15,1-14 0,12 14 16,-13-1-16,1-12 0,-1 13 15,0-14-15,-13-13 0,13 14 0,-13-14 16,0 0-16,13 0 0,-13 1 16,14-1-1,12-13 1,1-13 0,12 39-1,1 14-15,-27 0 0,14-1 16,-14 14-1,0 13-15,-13-13 0,13 13 0,1 1 0,-14-1 16,13-13-16,-13-1 0,0 1 0,13 93 31,0-106-31,1 39 0,-1-39 0,-13-1 16,13-12-16,0-14 0,0 13 16,1-12-16,25 39 15,-25-27-15,-1-26 0,0 13 16,0 1-16</inkml:trace>
  <inkml:trace contextRef="#ctx0" brushRef="#br0" timeOffset="185649.57">18944 423 0,'66'93'0,"-66"-53"0,0-1 15,0 14-15,-13 0 0,0 13 0,0 0 16,-14-13-16,14 13 0,0-26 0,-1 0 15,14 0-15,-13-1 0,13-12 16,0-1-16,0 27 16,0-26-16,13-14 0,1-13 15,-1 13-15,0-26 16,27 0-16,13-14 0,-27 14 16,1 13-16,-14-13 0,0-1 15,27 1-15,-27 13 16,-13 13-16,13-13 0,-13 14 15,14 12-15,-1 14 0,-13-1 0,0 1 16,13 145-16,0-118 16,-13 12-16,13-13 0,1 0 15,-14 0-15,13 0 0,0 1 0,0-1 16,1-13-16,-1 13 0,0-13 0,0-14 16,1 54-16,-14-53 15,-14 39-15,1-39 0,0-14 16,-14 14-16,14-14 0,-13 1 0,-14-1 15,14 1-15,-80 26 16,79-40-16,1-13 0,-1 0 16</inkml:trace>
  <inkml:trace contextRef="#ctx0" brushRef="#br0" timeOffset="187706.23">8744 10067 0,'80'-13'0,"-54"13"0,27 0 16,-13 0-16,13-13 16,0 13-16,225-13 15,-212 13-15,-13 0 16,26 0-16,-13 0 16,14 0-16,-1 0 0,-13 0 0,225 0 15,-225 0 1,0 0-16,14 0 0,-27 13 15,13-13-15,-13 0 0,13 0 0,132 0 32,-158 0-32,-14 0 0,14 0 0,-13 0 15,-1 0-15,1 0 0,-1 0 0,0 0 16,-12 0-16,12 0 0,-13 0 16,40 0-1,-26 0-15,-14 0 0,0 0 16,0 0-16,14 0 15,-14 0 1,-13 13 0,13-13-16,1-13 15,-1 13 17</inkml:trace>
  <inkml:trace contextRef="#ctx0" brushRef="#br0" timeOffset="188474.28">15425 10041 0,'-13'0'15,"79"13"1,-39-13-16,12 0 0,1 0 0,158 0 16,-118 0-1,12 0-15,14-13 0,-13 13 16,13 0-16,145 0 0,-119 0 16,1 0-16,-14 0 0,-14 0 15,266 13 1,-265-13-16,0 0 0,-14 0 0,1 0 0,-1 13 15,1-13-15,0 0 0,-27 0 16,13 14-16,27-14 0,-53 0 16,26 13-16,-66-13 0,14 0 15,-1 0-15,-12 0 16,-1 0-16,0 0 0</inkml:trace>
  <inkml:trace contextRef="#ctx0" brushRef="#br0" timeOffset="189366.98">8176 11099 0,'26'13'0,"-13"-13"0,27 0 16,-14 0-16,1 0 0,13 0 15,-1 0-15,27 0 0,-13-13 16,13 13-16,40-13 0,-53 13 16,106-13-16,-106 13 15,-13 0-15,-14 0 0,1 0 16,-1-13-16,-13 13 0,14 0 0,12 0 15,-25 0 1,-1 0 0,0 0-16,0 0 15,1 0-15,-1 0 16,0 0 15,0-14-15,0 14-16,1 0 15</inkml:trace>
  <inkml:trace contextRef="#ctx0" brushRef="#br0" timeOffset="190201.21">10385 10993 0,'132'-13'16,"-105"13"-16,39 0 15,-27 0-15,1 0 0,-13 0 16,12 0-16,-12 0 0,12 0 0,-12 0 16,-1 0-16,-12 0 0,-1 0 0,0 0 15,0-13-15,1 13 0,-1 13 16,0-13-16,0 0 15,0 0-15,1 0 47,12-13-31</inkml:trace>
  <inkml:trace contextRef="#ctx0" brushRef="#br0" timeOffset="193105.31">13018 10993 0,'39'0'32,"-26"0"-32,1 0 0,12 0 15,1 0-15,-1 0 0,0 14 16,133-14 0,-119 0-16,0 0 0,-1-14 0,-12 14 15,26 0-15,-14 0 16,14 0-16,40-13 0,-53 13 0,52-13 15,1 13 1,-67 0-16,27 0 16,-13 0-16,-27 0 15,27-13-15,-27 26 16,0-26-16,0 13 0,1 13 16,-1-13-1,0-13-15,0 13 16,1 0 31,-1 13-16</inkml:trace>
  <inkml:trace contextRef="#ctx0" brushRef="#br0" timeOffset="194481.99">15266 11060 0,'239'-14'31,"-173"14"-31,-40 0 0,40 14 16,-39-14-16,12 0 15,-12 0-15,-14 0 0,67 13 16,-67-13-1,13 0-15,-13 0 16,1 0-16,-1 0 16,0 0-16,0 0 15,1 0-15,-1 13 32,0-13-1,0-13 594,1 13-625</inkml:trace>
  <inkml:trace contextRef="#ctx0" brushRef="#br0" timeOffset="195483.58">17820 11020 0,'39'-13'15,"-25"13"1,39 0-16,-1 0 16,-12 0-16,0 0 0,0 0 15,12 0-15,1 0 0,133 13 16,-14-13-1,-133 0 1,-12 13-16,-1-13 0,14 0 0,-14 0 16,1 0-16,12 0 15,14 0-15,-26 0 16,-14 0 0,0 0-16,14 0 15,-14 0-15,0 0 16,0 0 15,-13 13 63</inkml:trace>
  <inkml:trace contextRef="#ctx0" brushRef="#br0" timeOffset="197711.25">20069 10980 0,'172'-13'16,"-146"13"-16,80 0 15,-66 0-15,-14 0 0,14 0 16,-14 0-16,1 0 0,-14 0 16,80 0-1,-80 0-15,0 0 0,13 0 16,-12 0 0,-1 0-1,0 0 1,0 0 15,-13 13 32,-39-13 671,25 0-718</inkml:trace>
  <inkml:trace contextRef="#ctx0" brushRef="#br0" timeOffset="198871.02">10266 11880 0,'92'-27'0,"-52"27"16,0 0-16,13-13 15,-14 13-15,67-13 0,-66 13 16,13-13-16,-13 13 0,-1 0 0,-12-14 16,-1 14-16,1 0 0,26-13 15,-40 13 1,0 0-16,-13-13 0</inkml:trace>
  <inkml:trace contextRef="#ctx0" brushRef="#br0" timeOffset="199111.68">10888 11642 0,'105'53'0,"-65"-14"16,0-12-16,-27-1 16,0 14-16,0-27 0,-13 0 15,0 27 1,-13-14-16,-13 41 0,13-54 16,-14 27-16,27-27 15,-13 0-15</inkml:trace>
  <inkml:trace contextRef="#ctx0" brushRef="#br0" timeOffset="199499.62">12528 11853 0,'13'14'15,"-13"-1"-15,0 53 16,0-40-16,0 54 16,0-54-1,-13 1-15,13-14 0,0 13 16,0-12-16,13-1 15</inkml:trace>
  <inkml:trace contextRef="#ctx0" brushRef="#br0" timeOffset="199723.32">12753 11867 0,'0'39'16,"0"-26"0,0 27-1,0-27-15,0 54 0,-13-54 16,13 0-16,0 0 0,0 0 0,0 40 31,0-39-31</inkml:trace>
  <inkml:trace contextRef="#ctx0" brushRef="#br0" timeOffset="199980.38">12925 12158 0,'0'-14'15,"13"14"-15</inkml:trace>
  <inkml:trace contextRef="#ctx0" brushRef="#br0" timeOffset="200254.24">13229 11840 0,'0'106'16,"-13"-66"0,13-27-16,-13 27 15,13 12-15,0-38 16,-14 12-16,14 14 15</inkml:trace>
  <inkml:trace contextRef="#ctx0" brushRef="#br0" timeOffset="200487.72">13758 11867 0,'-26'13'16,"26"0"-16,-13 0 0,-27 67 15,27-54 1,-1 1-16,-38 65 16,38-65-16,-12-1 15,13 14 1,-1-40-16</inkml:trace>
  <inkml:trace contextRef="#ctx0" brushRef="#br0" timeOffset="200657.86">13401 11959 0,'-13'0'16,"0"13"-16,26 1 16,0-14-16</inkml:trace>
  <inkml:trace contextRef="#ctx0" brushRef="#br0" timeOffset="200795.51">13705 12118 0,'14'-13'32</inkml:trace>
  <inkml:trace contextRef="#ctx0" brushRef="#br0" timeOffset="201501.97">14592 11880 0,'-119'79'31,"105"-66"-31,-12 106 16,26-105-16,26 12 16,1-13-16,39 1 15,-53-14 1,14 0-16,-1-27 0,27-13 16,-13 1-1,-14-27-15,-26 26 16,27-66-16,-14 53 15,0 27-15,-13-14 16,13 27 0,-26 53 15,13-14-31,0 0 16,-13-12-16,13 12 0,0 40 15,0-39 1,0-1-16,0-13 15,0 14-15,0-14 16,13 0-16,0-13 16,14 14-1,-14-1 1,14 0-16,-1 0 16,27-13-1,-27 0-15,54 0 16,-54-13-1,-13 13-15</inkml:trace>
  <inkml:trace contextRef="#ctx0" brushRef="#br0" timeOffset="202205.91">15253 11946 0,'-92'0'15,"78"13"1,-12 0-16,13 1 16,-14 12-16,14-13 15,13 1 1,0-1-16,13 0 16,0-13-16,1 0 15,25-13 1,-25 13-16,12-13 15,-13-14 1,1 27-16,-1-13 16,0 13-1,0 0 1,0 13 0,-13 0-1,14 1 1,-14-1 15,13-13 0,0 0-15,0 0 0,14-13-1,-14 26 1,14-13-1,-14 0 1,0 0-16,0 0 16,0 0-16,14 0 15,-1 0 1,-12-13-16</inkml:trace>
  <inkml:trace contextRef="#ctx0" brushRef="#br0" timeOffset="202559.1">15729 11919 0,'-26'0'0,"13"14"16,-40 12-1,53-13-15,-13 1 16,13 12-1,13-13-15,79-119 0,-171 212 16,106-92-16,-14-14 0,0 0 16,40-14-1,-40 1-15,0 13 16,1 0 0,-14 13-1,13-13 1,-13 14-16,13-1 15,0 0 1,40 0-16,-40-13 16,14-13-16,13 13 15</inkml:trace>
  <inkml:trace contextRef="#ctx0" brushRef="#br0" timeOffset="203209.44">16695 11840 0,'0'13'15,"0"1"-15,-13 78 16,13-26 0,-13-26-16,13-14 15,0 27 1,0-39-16,0-1 16</inkml:trace>
  <inkml:trace contextRef="#ctx0" brushRef="#br0" timeOffset="203550.62">16894 11800 0,'0'-13'16,"0"40"-1,0 12-15,0-12 16,-14-14-16,14 0 16,0 14-16,0-1 15,0-13 1,0 1 0,14-1-1,-1 0-15,13 0 16,1 1-1,-14-14-15,13 13 16,-12-13 0,-1 0-16,0 0 15</inkml:trace>
  <inkml:trace contextRef="#ctx0" brushRef="#br0" timeOffset="203728.23">16722 11946 0,'158'0'31</inkml:trace>
  <inkml:trace contextRef="#ctx0" brushRef="#br0" timeOffset="204376.56">17317 11972 0,'-93'14'16,"80"-1"-16,-27 13 31,54 1 0,-14-14-31,53-26 16,-40 13-16,0 0 15,0 0-15,27 13 32,-27-13-1,67-26-15,-67 12-1,79-131 1,-78 92-1,-1 13 1,0 14 0,-13 52-1,0 14 1,13 52 0,-13-78-1,14 25-15,-14-12 16</inkml:trace>
  <inkml:trace contextRef="#ctx0" brushRef="#br0" timeOffset="204553.08">17304 11919 0,'198'-13'62,"-171"13"-46,26 0-16</inkml:trace>
  <inkml:trace contextRef="#ctx0" brushRef="#br0" timeOffset="204799.63">18349 11919 0,'-13'106'16,"-1"-92"-16,14-1 16,0 0-1</inkml:trace>
  <inkml:trace contextRef="#ctx0" brushRef="#br0" timeOffset="204958.2">18296 11761 0,'0'-13'16</inkml:trace>
  <inkml:trace contextRef="#ctx0" brushRef="#br0" timeOffset="205183.34">18759 11708 0,'-13'106'15,"13"-93"1,0 79 0,0-65-16,13 13 15,-13-27-15,0 0 0,0 0 16</inkml:trace>
  <inkml:trace contextRef="#ctx0" brushRef="#br0" timeOffset="205382.43">18534 11946 0,'53'-13'0,"-27"13"15,27 0-15,-13 0 0,-212 13 0,384-40 16,-173 27-16,147-13 31</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7.794"/>
    </inkml:context>
    <inkml:brush xml:id="br0">
      <inkml:brushProperty name="width" value="0.025" units="cm"/>
      <inkml:brushProperty name="height" value="0.025" units="cm"/>
      <inkml:brushProperty name="ignorePressure" value="1"/>
    </inkml:brush>
  </inkml:definitions>
  <inkml:trace contextRef="#ctx0" brushRef="#br0">115 0,'-72'75,"66"-68,1 0,0 1,0 0,1 0,0 0,1 1,-6 16,9-22,-1-1,1 1,0 0,0-1,0 1,0 0,0-1,0 1,1-1,0 1,-1-1,1 1,0-1,0 1,0-1,0 0,1 1,-1-1,1 0,-1 0,1 0,0 0,0 0,0 0,0-1,0 1,0-1,0 1,0-1,1 0,-1 0,5 2,-2-2,-1 1,1-1,0 0,-1-1,1 1,0-1,0 0,9-1,-14 1,1 0,0 0,-1-1,1 1,0 0,-1 0,1 0,0-1,-1 1,1 0,0-1,-1 1,1 0,-1-1,1 1,0-1,-1 1,0-1,1 1,-1-1,1 1,-1-1,1 0,-1 0,0 0,0 0,0-1,0 1,-1 0,1 0,-1 0,1 0,-1 0,1 0,-1-1,1 1,-1 0,0 0,0 1,0-1,1 0,-1 0,0 0,0 0,-1 0,-31-20,15 11</inkml:trace>
</inkml:ink>
</file>

<file path=ppt/ink/ink19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4:57:52.625"/>
    </inkml:context>
    <inkml:brush xml:id="br0">
      <inkml:brushProperty name="width" value="0.05292" units="cm"/>
      <inkml:brushProperty name="height" value="0.05292" units="cm"/>
      <inkml:brushProperty name="color" value="#0070C0"/>
    </inkml:brush>
  </inkml:definitions>
  <inkml:trace contextRef="#ctx0" brushRef="#br0">2725 2394 0,'40'0'32,"13"0"-17,-27 0-15,1 0 0,-1 0 16,67 0-1,-67 0-15,1 0 0,-1 0 0,-13 0 0,14 0 16,-14 0-16,0 0 16,1 0-16,-1 0 0,0 0 15</inkml:trace>
  <inkml:trace contextRef="#ctx0" brushRef="#br0" timeOffset="616.44">2805 2328 0,'39'0'16,"-12"-13"-1,-14 13-15,13 0 0,27-13 16,-26 13-16,-1-13 16,14-1-16,-14 14 0,-12-13 15</inkml:trace>
  <inkml:trace contextRef="#ctx0" brushRef="#br0" timeOffset="1168.42">2937 1693 0,'13'-39'47,"-13"25"-31,13 14-16,-13-39 0,0-1 15,0 0-15,0 27 16,-13-27-16,13 27 16,-13 0-16,13-13 0,-13 12 15,13 1-15,-14 26 16,1 1-16,13 25 15,0 14 1,0-26-16,0-1 0,0 14 16,0-1-16,0-12 0,13 26 15,-13-27-15,0 1 0,14-1 16,-14 1-16,13 12 16,0-25-1</inkml:trace>
  <inkml:trace contextRef="#ctx0" brushRef="#br0" timeOffset="1704.45">2791 1839 0,'-13'-13'16,"13"-1"-1,13 14 1,1-13-16,-1 13 0,0-13 15,14 0-15,12-1 16,-26 1-16,1 13 16,-1-13-16,13 0 15,-12 13-15,-1 0 16,0 0-16,0 0 16,0 13-16,-13 0 15,14 0-15,-1 14 16,-13-14-1,0 14 1,13-54 15,0 14-15,-13 0-16,14-1 16,-14 1-16,13-13 15,0 13-15,0-1 16,-13 1-16,14 13 0,-14-13 15,13 13-15,0 0 0,0 0 16,0 0 0,1 0-16,-1 13 15,0 0 1,-13 1 0,13-1-1,-13 13 1,0-13-1</inkml:trace>
  <inkml:trace contextRef="#ctx0" brushRef="#br0" timeOffset="1835.51">3254 1548 0,'-13'-13'15,"26"26"-15</inkml:trace>
  <inkml:trace contextRef="#ctx0" brushRef="#br0" timeOffset="2392.55">3387 1746 0,'0'-26'32,"0"13"-32,0-1 47,-14 41-32,1-1 16,26-13-15,14-26 15,-14 13-31,27-26 32,-14 13-1,-13 26-31,14 0 15,-1 0 17,-12 0-17,-1-26 17,0 13-32,0-13 15,1 0 1,12 13-1,-13-13 17,27-1-17,-40 1 1</inkml:trace>
  <inkml:trace contextRef="#ctx0" brushRef="#br0" timeOffset="2909.5">3850 1389 0,'13'27'31,"-13"-14"-31,0 53 32,13-40-32,-13 1 15,13-1 1,-26-12 0,13-1-16,-13-13 15,-27 26 1,14-13-16,13 1 15,-1-1 1,1 0 0,26 0-16,14-26 15,-14 13 1,0 0-16,27-13 0,26 0 16</inkml:trace>
  <inkml:trace contextRef="#ctx0" brushRef="#br0" timeOffset="3056.02">4233 1601 0,'14'-13'31,"-28"-1"-31</inkml:trace>
  <inkml:trace contextRef="#ctx0" brushRef="#br0" timeOffset="5896.86">4233 5398 0,'-26'52'0,"26"-38"0,-13 25 16,13-12-16,-14 39 15,14-40 1,0 1-16,0-1 16,-13-12-16,13-1 15,13-40 16,-13 14-31,14-40 16,-1-26-16,0 52 16,-13-12-16,13 12 0,14-12 15,-14 12-15,-13 14 0,26 0 16,-12-1-16,12 14 16,-13 14-16,27 12 15,-27 1-15,1-14 0,-14 13 16,39 40-16,-26-13 15,-13-40 1,14 40-16,-1-26 0,-13-14 16,13 0-16,-13 14 15,0-14 1,13 0-16</inkml:trace>
  <inkml:trace contextRef="#ctx0" brushRef="#br0" timeOffset="7270.8">4538 5755 0,'26'-80'31,"1"27"-31,-27 27 16,26-40-16,-13 39 0,0-26 15,14 1 1,-14 38-16,0-12 16,1 13-16,-1 13 15,0 0-15,13 26 16,-26-13-16,14 27 15,-14-14-15,13 27 16,-13 13-16,0-26 16,0-27-1,0 27-15,0-13 16</inkml:trace>
  <inkml:trace contextRef="#ctx0" brushRef="#br0" timeOffset="7451.46">5001 5569 0,'-14'53'16,"14"-39"-1,-13 39-15,0-14 16,13-26-1,40-185-15,-93 358 0</inkml:trace>
  <inkml:trace contextRef="#ctx0" brushRef="#br0" timeOffset="7599.98">4974 5477 0,'-26'-13'0,"12"26"16</inkml:trace>
  <inkml:trace contextRef="#ctx0" brushRef="#br0" timeOffset="7813.74">5186 5345 0,'0'53'32,"0"-40"-32,0 26 0,0-25 15,-40 158 1,14-80 15,26-79-31,13 1 16</inkml:trace>
  <inkml:trace contextRef="#ctx0" brushRef="#br0" timeOffset="8096.49">5437 5517 0,'-79'26'16,"52"-26"-16,-12 26 15,-1-12 1,-26 52 0,66-53-1,-13 0-15,13 1 16,13 12 15,0-26-31,66 0 16,-65-13-1,52 13 1</inkml:trace>
  <inkml:trace contextRef="#ctx0" brushRef="#br0" timeOffset="8400.16">5636 5728 0,'39'-79'16,"-65"79"15,-1 26-15,14 14-1,13-27 1,0 27 0,40-27-1,-14 0-15,27-13 32,-40 0-32,1-13 0</inkml:trace>
  <inkml:trace contextRef="#ctx0" brushRef="#br0" timeOffset="8748.92">6191 5649 0,'133'0'31,"-120"0"-16,26 0-15,14 0 16,-39 0-16,25 0 16,-25 0-1,-14-13-15,13 13 16</inkml:trace>
  <inkml:trace contextRef="#ctx0" brushRef="#br0" timeOffset="8991.92">6469 5517 0,'106'52'0,"-53"-12"16,-27-13-1,-12-1-15,-14-13 16,13 1-16,-13-1 0,0 0 0,-13 13 15,-1-12-15,1 12 16,0-13-16,0-13 16,-1 14-16,1-14 0</inkml:trace>
  <inkml:trace contextRef="#ctx0" brushRef="#br0" timeOffset="12303.78">8176 2381 0,'211'0'16,"-145"0"-16,80 0 15,-67 0-15,186 0 16,-159 0-16,251 13 16,-172 14-1,-26-14 1,-93 0-16,146 14 0,-159-27 15,39 13 1,27 14-16,-79-27 16,-14 0-16,-12 0 15,-1 0-15,0 13 16,0-13-16,1 0 16</inkml:trace>
  <inkml:trace contextRef="#ctx0" brushRef="#br0" timeOffset="16280.69">13163 2368 0,'40'0'32,"13"0"-32,-14 0 15,-12 0-15,12 0 0,-12 0 16,92 0-1,-66 13-15,39-13 0,-39 0 16,0 0-16,0 0 0,0 0 16,53 13-16,159 1 15,-160-1 1,54-13 0,-119 13-16,13-13 15,0 0-15,0 13 0,39-13 0,-39 0 16,-13 0-16,52 14 15,-39-14-15,-13 0 0,0 0 16,39 0-16,0 0 16,-52 0-16,52 13 15,-52-13-15,65 0 16,-65 0-16,79 0 0,-80 0 16,80 0-1,-40 13-15,-26-13 16,13 0-16,-27 0 15,1 0-15,12 0 0,-12 0 16,-1 0-16,40 0 16,-39 0-16,26 13 15,-14-13-15,1 0 16,13 0-16,0 0 16,-27 0-16,27 0 15,0 14 1,-40-14-16,40 0 0,-13 0 15,-13 0-15,39 0 16,-27 13-16,1-13 16,-27 0-16,1 0 15,-1 0-15,40 0 16,-40 0-16,0 0 16,14 0-16,-14 0 15,0 0-15,0 0 16,0 0-1,1 0 1,-1 0 15,0 0-15,0 0 0,1 0 15,-14-13-16,13 13-15,0-14 16,0 14-16,1-13 16,-14 0-16,26 0 15,-26-1 1,13 14-16,-13-13 0,13 0 16,-13 0-16,14-1 15,-14 1-15,13 0 0,0 0 16,0-14-16,-13 14 15,14-13 1,-1-1-16,-13 14 16,13-14-16,-13 1 15,13 0 1,-13 12-16,14-12 16,-14 13-1,0-1-15,0 1 16,0 0-1,0-13-15,13 12 16,-13-12 15,0-1-15,0 14 0,0-13-1,-13 12 1,13 1-1,-14 0-15,-12 0 16,13 0 0,-1-1-16,-12 1 15,-14 0 1,-13 0-16,40-1 16,-27 1-16,1 13 15,25-13-15,-52 0 16,13-1-1,-13 1 1,40 0-16,-54 0 16,41 0-1,12 13-15,14-14 0,-13 14 16,-14 0-16,-13-13 16,40 13-16,-14-13 15,-26 13 1,40-13-16,-53 13 15,0-14-15,53 14 16,-67-13 0,1 0-16,52 13 15,1 0-15,0-13 0,-67 13 16,66-13-16,-52 13 16,26-14-1,27 14-15,-1 0 0,-12 0 16,12 0-16,1-13 0,-14 13 0,-26 0 15,-66-13 1,92 13-16,-26-13 16,0 13-1,26 0-15,-26 0 0,0-14 16,-1 14 0,1 0-16,0 0 15,26-13-15,-65 13 16,38 0-16,41 0 15,-27 0-15,27 0 0,-1-13 16,1 13-16,-27 0 0,0 0 16,26 0-16,1 0 15,-27 0-15,27 0 16,-27 0-16,0 0 0,26 0 16,-26 0-16,27 0 15,-80 0 1,80 0-16,12 0 0,-65 0 15,53 0 1,-1 0-16,1 0 16,12 0-16,1 0 0,0 0 0,0 0 15,-27 13-15,14-13 16,12 0-16,-12 0 16,13 0-16,-27 0 0,14 13 15,12-13-15,-12 0 16,-14 0-1,0 14-15,14-14 16,13 0-16,0 0 16,-14 0-16,1 0 15,12 13-15,-12-13 16,-1 0-16,27 13 16,-13-13-16,-13 0 15,13 0 1,-1 13-16,1-13 15,0 0 1,-14 14 0,14-14-16,13 13 15,-13-13-15,-13 0 16,12 13-16,1-13 16,0 0-16,-27 13 15,27-13 1,-14 13-1,14-13-15,0 0 16,-13 14 0,12-1-16,1 0 15,0-13 1,0 13-16,13 1 0,-14-1 16,1 0-1,13 0 1,-13 0-1,13 1-15,-13-1 0,13 0 16,0 0 0,-14 14-16,1-1 15,0 1 1,13-1 0,-13-13-16,13 14 15,-13-14 1,13 14-16,0-14 15,0 13-15,-14-26 16,14 14-16,0 12 16,0 14-1,0-14-15,0-13 16,14 1 0,-14 12-1,13-13-15,0-13 16,0 13-1,0 1 1,-13-1-16,14-13 16,-1 0-1,-13 13-15,13-13 16,0 13 0,1-13-1,-1 14 1,0-14-16,0 13 15,14-13 1,-14 13 0,0-13-16,0 0 15,1 0-15,12 13 16,-13-13-16,1 0 0,-1 14 16,0-14-16,14 0 15,-14 13-15,13-13 16,-13 0-16,1 13 0,-1-13 15,13 0-15,-26 13 16,27-13-16,-14 13 16,0-13-16,0 0 15,1 14-15,-1-14 0,0 0 16,0 13 0,1-13-1,-1 13 1,0-13-1,-13-13 32,13 13-31,14-13 0,12-1-16</inkml:trace>
  <inkml:trace contextRef="#ctx0" brushRef="#br0" timeOffset="33584.56">609 1693 0,'-53'-13'16,"39"13"-16,-25 0 31,-1 13-31,27 14 16,-40 12-1,26-25 1,1 25-16,-80 67 31,66-66-15,40-27 0,-52 80-1,52-80 1,-14 40-1,14-27-15,0-12 0,0 25 16,0-26-16,14 14 16,-1 13-1,26 13 1,1-14 0,0-12-1,13-1 1,0-26-1,-40 13-15,13-13 16,40-13 0,-39 13-16,39 0 15,27-13 1,-1-14 0,-52 27-16,79-13 15,-93 0-15,133 0 47,-132 13-47,237-27 31,-237 27-31,145-26 32,-146 26-17,93-13 16,-106 13-31,173-40 32,-160 40-17,1 0-15,105-27 16,-53 14 0,-52 13-1,92-13 1,-66 13-16,26-13 15,0 13 1,-52 0 0,171 0 46,-184 0-46,105 0-1,-93 13 1,67 0 15,-54-13-15,-12 13-16,26-13 16,-40 14-1,40-1 1,-40-13-16,80 13 31,-80-13-31,40 0 16,-40 0-16,27 0 15,13-13-15,-27 13 16,27 0-16,-26 0 16,-14 0-16,79 0 15,-65 0-15,-1 0 16,-12 0-16,12 0 0,27 0 15,-27 0-15,1 0 0,-1 0 16,14 0-16,-14 0 0,1 0 16,-1 0-16,27 0 15,-26 0-15,-1 0 0,27 0 16,13 13-16,-39-13 16,12 0-16,14 13 15,-13-13-15,13 14 16,13-14-16,-39 0 0,12 13 15,-12-13-15,78 13 16,-52-13 0,-13 0-16,211 13 31,-211-13-31,-13 0 16,12 0-16,-12 0 0,-14 0 15,13 0-15,1 0 0,-1 0 0,27 14 16,0-14-16,-40 0 15,14 0-15,39 0 16,-13 13-16,13-13 16,-39 0-16,12 13 0,27-13 15,-26 0-15,39 13 16,-52-13-16,105 13 16,-92 1-16,39-14 15,14 13-15,-27-13 16,-13 13-16,13-13 0,-26 0 15,-1 13-15,41-13 16,-1 14-16,-39-14 16,0 0-16,26 13 0,-27-13 15,1 0-15,39 13 16,-26-13-16,14 13 16,-15-13-16,1 14 15,0-1 1,-26-13-16,12 0 0,-12 0 0,26 13 15,-40-13-15,13 0 16,14 13-16,0-13 16,13 0-16,-27 0 15,1 0-15,-14 0 16,27 0-16,13 0 16,-14 0-1,-26 0-15,1 0 0,12 0 0,-13 0 16,1 0-16,39 0 15,-27 0-15,0 0 16,1 0-16,13-13 16,-1 13-16,-26 0 15,14 0-15,13 0 16,-14-13-16,1 13 16,25 0-1,-38 0-15,12 0 16,14-13-16,-27 13 15,0 0-15,27 0 0,-14 0 16,14-14 0,39 1-1,-52 13-15,13-13 16,-27 13-16,27 0 16,-14-13-16,0 13 15,27-14-15,-39 14 16,-1 0-16,13 0 0,14 0 15,0-13-15,52 13 16,-65 0 0,12 0-16,1 0 0,40-13 15,-14 13-15,13 0 16,-26 0-16,-13-13 0,26 13 16,-40 0-16,54 0 15,-54 0-15,40 0 0,-26 0 16,-14 0-16,40 0 15,-39 0-15,105-14 16,-105 14 0,26 0-16,-40 0 15,13 0-15,40 0 16,14 0-16,-67 0 16,14 0-16,12 0 15,14 0-15,13 0 16,-39 0-1,26-13-15,-27 13 0,40 0 16,40 0 0,-93 0-1,67 0-15,-67 13 16,53-13-16,-39 0 16,12 0-16,1 0 15,-27 0-15,53 14 16,-26-14-16,-27 0 15,40 0 1,-13 13-16,26-13 16,-53 0-1,14 0-15,26 0 0,-40 13 16,66-13-16,14 0 16,-40 13-1,53-13 1,-40 14-16,-27-14 15,-12 0-15,26 0 0,105 13 16,-78 0 0,39 0-1,-79-13-15,12 14 0,68-1 16,-41 0 0,0 0-16,-39-13 15,39 13-15,54 1 16,-14-1-1,-40 0 1,40 0 0,-79-13-16,0 14 0,79-1 15,-93-13-15,1 0 0,12 13 16,67 0 0,-66-13-16,79 14 15,-40-1-15,-13 0 16,14-13-16,-27 13 15,39 0 1,-39-13-16,-13 0 16,0 14-16,-14-14 15,40 0-15,-26 13 16,-27-13-16,27 0 16,-27 0-16,0 0 0,0 0 0,14 0 15,-14 0 1,0 0-16,1 0 15,-1 0-15,0 0 16,0 0 0,0 0 15,1 0 0,-14-13-15,0-1-1</inkml:trace>
  <inkml:trace contextRef="#ctx0" brushRef="#br0" timeOffset="34528.56">17357 1746 0,'0'-13'16,"-14"53"-16,14-14 15,-39 40-15,12 0 16,1-39-16,13 13 0,-1-14 16,-12 53-16,-14-12 15,27-41-15,0 0 0,-27 54 16,27-40-16,0-14 16,13-13-16,-14 14 15,1-14-15,13 0 0,-26 27 16,12-27-16,1 14 0,13-14 15,-13-13-15,13 13 16,-13-13-16,13 13 0,-13 0 16,39-39 15,-26 13-15</inkml:trace>
  <inkml:trace contextRef="#ctx0" brushRef="#br0" timeOffset="51311.48">16325 1005 0,'0'-13'0,"-13"53"31,13-27-31,-14 40 0,14-27 16,-13 41-16,0-28 0,0 41 31,13-54-31,0 1 0,-14 12 16,14 1-16,0-27 0,-13 14 15,13-14-15,-13 0 16,13 0-16,0 1 0</inkml:trace>
  <inkml:trace contextRef="#ctx0" brushRef="#br0" timeOffset="51632.41">16047 1402 0,'0'0'16,"0"14"-16,0-1 15,-13 0-15,13 13 0,0 14 16,0-27-16,0 1 0,0 12 16,0-13-16,0 1 0,13 12 15,0 0-15,-13-12 16,13-14-16,1 0 0,-1 13 16,0-13-16,14-13 15,-1-1-15,-13 14 0,14-26 16,-14 26-1,-13-13-15,13 0 0,0-1 0,14 1 16,-14-13-16,0 26 16,1-27-16,-1 27 15,0-13-15,-13 0 16,13 13-16</inkml:trace>
  <inkml:trace contextRef="#ctx0" brushRef="#br0" timeOffset="52477.46">16523 688 0,'-13'53'16,"0"-40"-1,13 0-15,0 1 16,0-1-16,0 13 0,0-13 0,-13 1 15,13 12-15,0-13 16,0 1-16</inkml:trace>
  <inkml:trace contextRef="#ctx0" brushRef="#br0" timeOffset="52650.66">16431 595 0,'-27'-13'0,"27"0"16,-13 13-16,0 13 16</inkml:trace>
  <inkml:trace contextRef="#ctx0" brushRef="#br0" timeOffset="53002.63">16563 701 0,'0'53'16,"0"-40"-16,0 1 15,0-1-15,0 0 16,13 0 0,14-13-1,-27-13 1,39 0 0,-25 13-16,-1-13 15,0 13-15,0 0 16,0 13-16,1-13 15,-14 13-15,13-13 0,0 13 16,-13 0-16,13 1 16,-13-1-16,14-13 15,-14 13-15</inkml:trace>
  <inkml:trace contextRef="#ctx0" brushRef="#br0" timeOffset="53449.78">16960 569 0,'-40'40'16,"40"-14"-16,0 0 0,0 1 16,0-1-16,-13 1 0,13 26 15,0-27-15,13 27 0,-13-26 16,0-1-16,0 0 16,0-12-16,0 12 15,-13-13-15,13 1 0,0-1 0,-27 13 16,-12-12-1,26-14 1,-14-14-16,14 14 16,0-13-16,13 0 15,0 0-15,13-1 16,-13 1-16,13 0 16,0 13-16,1-27 15,-1 27-15,13 0 0,-13-13 0,1 13 16,-1-13-16,40-13 15</inkml:trace>
  <inkml:trace contextRef="#ctx0" brushRef="#br0" timeOffset="53750.57">17119 714 0,'13'-13'16,"-40"26"15,27 1-31,-13-1 0,13 0 15,0 0-15,0 1 16,13-1-16,-13 13 16,14-26-16,-1 13 0,0-13 15,0 14-15,0-14 16,1 0-16,-1-14 0,0 14 16,-13-26-1,-13 13-15,13 0 0,0-1 16,-13 1-16,-1 0 0,14 0 15,-13 13-15,13-14 0,-13 14 16,0 0-16,0 0 16,13 14-16,-14-14 15</inkml:trace>
  <inkml:trace contextRef="#ctx0" brushRef="#br0" timeOffset="54172.31">17608 661 0,'13'-26'0,"-13"13"15,13 0 1,1-1-16,-1-25 16,0 25-16,-13 1 15,13-13 1,-13 65 15,0-25-31,0-1 16,0 0-16,0 0 0,14 1 15,-14 12-15,0 0 16,13 1-16,-13-14 0,0 0 16,13-13-16,-13 14 0,0-1 15,13 0-15</inkml:trace>
  <inkml:trace contextRef="#ctx0" brushRef="#br0" timeOffset="54371.37">17595 820 0,'13'-13'16,"0"13"-16,0 0 15,1-13-15,12 13 0,-13 0 0,54-27 16,-54 27 0,13 0-16,-13 0 0,1 0 0,-1-13 15,0 13-15,0 0 0</inkml:trace>
  <inkml:trace contextRef="#ctx0" brushRef="#br0" timeOffset="54771.92">16735 1204 0,'145'-27'16,"-105"14"-16,145-27 16,-119 27-1,-13 0-15,80-13 0,-80 12 0,-1 14 16,41-13-16,-53 0 15,-1 13-15,-12-13 0,-1 13 0,-12 0 16,25 0-16,-25 0 16,-1 0-16,-40 13 31,14-13-31,-13 13 16</inkml:trace>
  <inkml:trace contextRef="#ctx0" brushRef="#br0" timeOffset="55027.44">16682 1349 0,'40'-13'16,"-1"13"-16,1-13 16,0 0-16,26-1 15,0 1-15,66-13 0,14-1 16,-14 1-16,-66 13 15,40-1-15,-53 1 16,-13 0-16,13 13 0,-27 0 16,-13-13-16,27 13 0,-27 0 15,0 0-15,1 0 16</inkml:trace>
  <inkml:trace contextRef="#ctx0" brushRef="#br0" timeOffset="62810.37">6152 6919 0,'13'-13'16,"-26"39"-1,13 1-15,0-1 16,-14 0-16,14 14 16,0-13-16,0-14 0,-13 13 15,13 1-15,0-14 16,-13 0-16,13 0 0,0 1 0,0-1 0,0 0 16,0 0-1,0 1 1</inkml:trace>
  <inkml:trace contextRef="#ctx0" brushRef="#br0" timeOffset="63276.48">6125 6879 0,'13'-13'0,"14"13"16,-14 0-16,0 0 15,14 0-15,12 26 16,-25-26-16,-1 14 15,-13-1-15,13 13 0,-13-12 0,0-1 16,0 0-16,-13 13 16,0 14-16,-1-27 0,1 1 15,-27 25-15,27-39 0,13 14 0,-13-1 16,-13 0 0</inkml:trace>
  <inkml:trace contextRef="#ctx0" brushRef="#br0" timeOffset="63541.03">6522 6839 0,'-40'27'16,"27"-14"-16,0 14 15,-14-1-15,14 14 0,0-14 16,-14 107 0,27-107-16,0 0 0,0-12 0,0 12 15,14 14-15,-14-27 16,13 0-16,0 0 0,-13 1 0,13-1 16,1-13-16,-14 13 0,13-13 15,0 0-15</inkml:trace>
  <inkml:trace contextRef="#ctx0" brushRef="#br0" timeOffset="64229.59">6694 7117 0,'0'-13'16,"-13"40"31,13-14-16,0 0-31,0 0 0,0 0 15,0 1 1,0-1-16,13-13 16,0 0-16,27-13 15,-40-1 1,13 14-16,0 0 16,-13-13-16,14 13 0,-1 0 15,0 0-15,0 0 16,0 13-16,1 1 15,-1-14 1,-13 13-16,13-13 0,0 0 16,1 0-1,-1-13-15,0 13 16,-13-14-16,13 1 0,-13 0 16,14 13-16,-14-13 0,0 0 15,0-1-15,0 1 16,0 0-16,0 0 15,-14 13 1,1-14 0,0 14-16</inkml:trace>
  <inkml:trace contextRef="#ctx0" brushRef="#br0" timeOffset="64496.42">7011 6734 0,'93'92'16,"-80"-65"-16,1-1 16,25 80-16,-26-53 15,-13-27-15,0-12 0,0 39 16,-13-27-16,0 14 15,0-14-15,-14 1 0,1 12 16,-1-12-16,14-14 16,0-13-16</inkml:trace>
  <inkml:trace contextRef="#ctx0" brushRef="#br0" timeOffset="64834.59">7885 7038 0,'105'0'31,"-91"0"-15,12 0-16,-13 0 15,1 13-15,-1-13 16</inkml:trace>
  <inkml:trace contextRef="#ctx0" brushRef="#br0" timeOffset="65027.23">7832 7223 0,'66'0'16,"-53"0"-16,27 0 0,-14 0 16,-13 0-16,14 0 0,26 0 15,-27 0 1</inkml:trace>
  <inkml:trace contextRef="#ctx0" brushRef="#br0" timeOffset="74296.08">8837 6906 0,'0'-14'16,"13"14"0,1 0-16,-1-13 15,0 13-15,0 0 16,-26 13 15,-40 1-15,27-1-1,12-13-15,-12 0 0,-1 13 16,14-13-16,0 13 0,0-13 16,0 0-16,-1 14 15,28-1 1,-1-13-16,0 13 0,0-13 16,14 26-16,-1-12 15,-13-1-15,1 0 0,-1 14 16,0-27-16,-13 13 0,13 0 15,-13 0-15,0 1 16,-13-1-16,-13 0 16,12 0-16,1-13 0,0 0 15,0 13-15,-14-13 16,1 0-16,-1 0 0,14 14 16,0-14-1,0-14-15</inkml:trace>
  <inkml:trace contextRef="#ctx0" brushRef="#br0" timeOffset="74699.52">9062 6932 0,'-40'13'0,"27"1"16,13-1-16,-13 0 16,13 0-16,-13 0 0,13 1 0,0-1 15,0 0-15,0 14 16,0-1-16,13-13 16,0 1-16,14-1 0,-14-13 15,26 0-15,-12 0 16,-1-13-16,-12 13 15,25-27-15,-39 14 16,0 0-16,0-1 0,0 1 16,0 0-16,0 0 0,-13-1 15,-13-12-15,26 13 16,-14 13-16,1-13 0,0-1 0,0 14 0,-1-13 16,1 13-16,0 0 0,0 0 15,0 0-15,-1 0 0,1 0 16,13 13-16,-13 1 15</inkml:trace>
  <inkml:trace contextRef="#ctx0" brushRef="#br0" timeOffset="74961.49">9684 6906 0,'-27'13'16,"14"0"-1,0 14-15,0-14 0,-14 26 16,1 1-16,12-27 16,1 27-16,0-27 15,0 14-15,0-1 16,-1-13-16,1 1 0,13-1 15</inkml:trace>
  <inkml:trace contextRef="#ctx0" brushRef="#br0" timeOffset="75140.35">9379 6985 0,'-13'-26'16,"40"52"15,-14-26-31</inkml:trace>
  <inkml:trace contextRef="#ctx0" brushRef="#br0" timeOffset="75277.42">9723 7183 0</inkml:trace>
  <inkml:trace contextRef="#ctx0" brushRef="#br0" timeOffset="76055.38">7091 7501 0,'595'-13'16,"-277"13"0,-80 0-16,-132 0 0,92 0 15,-105 0-15,-14 0 0,93 0 16,-106 0-16,-13 13 16,0-13-16,0 0 0,-27 0 0,41 13 15,-54-13 1</inkml:trace>
  <inkml:trace contextRef="#ctx0" brushRef="#br0" timeOffset="76318.96">7474 7633 0,'530'-13'15,"-332"13"-15,-105 13 0,-1-13 16,1 0-16,-14 0 0,1 13 0,65-13 16,-26 14-16,-66-14 15,0 13-15,13 0 16,-26-13-16,0 13 15</inkml:trace>
  <inkml:trace contextRef="#ctx0" brushRef="#br0" timeOffset="83667.49">17621 2394 0,'0'-13'16,"0"0"-1,-13 13 1,0 0-1,0 0 1,-14 0-16,14 0 0,-14 13 16,14-13-16,0 13 15,-14 1-15,14-1 0,-13 13 0,-1-12 16,14 12-16,-40 27 16,40-27-16,0 14 0,-14-13 0,14-1 15,0 27-15,13-13 16,0-14-16,0-13 0,0 14 0,13-1 15,-13-12-15,27 25 16,-14-12-16,0-14 0,0 0 16,0 14-16,14-14 15,-14 0-15,0-13 16,-13 13-16,14-13 0,12 13 16</inkml:trace>
  <inkml:trace contextRef="#ctx0" brushRef="#br0" timeOffset="85601.38">18071 2990 0,'0'13'16,"40"0"-1,-27-13-15,0 0 0,14 0 0,-14 0 16,27 0-16,-14 0 0,14 0 16,13 13-16,-14-13 0,14 0 15,0 0-15,13 0 0,-13 0 0,27 0 16,-1 0-16,80 14 0,-80-14 15,0 0-15,14 0 0,185 13 16,-186-13 0,1 0-16,0 0 0,-1 0 0,1 0 15,-1 13-15,14-13 0,-13 0 16,0 0-16,-1 13 0,1-13 0,-1 0 16,1 14-16,0-14 0,-14 0 0,14 13 15,-14-13-15,0 13 0,14-13 16,52 13-16,-65 1 0,-14-1 15,13-13-15,-13 13 0,1-13 0,-14 0 16,-1 13-16,1-13 16,0 13-16,-13-13 0,0 0 0,-1 0 0,-12 0 15,12 14-15,-12-14 0,13 0 16,-14 0-16,-13 0 0,14 0 16,-14 0-16,27 0 0,-27 13 15,0-13-15,0 0 0,1-13 16,-1 26-1,0-13-15,0 0 0,1 0 16,-1 0 0,0 0-1,-13-27 95</inkml:trace>
  <inkml:trace contextRef="#ctx0" brushRef="#br0" timeOffset="90136.38">4591 3545 0,'-14'0'16,"54"0"-1,0 0 1,-14 0-16,1 0 0,-1 0 16,14 0-16,-1 0 0,14 0 15,0 0-15,66-13 0,-66 13 16,13 0-16,1 0 0,-15 0 16,1-13-16,14 13 0,-15 13 15,1-13-15,0 0 0,0 0 0,-13 0 16,13 0-16,53 0 0,-67 13 15,1-13-15,-14 0 0,1 0 16,-1 0-16,1 0 0,-1 0 0,14 0 16,-27 0-16,0 0 0,1 0 15,-1 0-15,0 14 16,0-14-16,1 0 16,-1 0-16,0 0 15,0 0 16,0 0-15,1 0 15,-1 0-15,0-14 46,0 1-30,-13 0-17,0 0 1,14 13 0,-14-14-16,13 1 15,-13 0-15,0 0 0,13 0 16,0-1-16,-13 1 0,14-13 15,-1 12-15,0 1 16,0-13-16,-13 13 16,13-1-16,-13 1 0,14-27 15,-1 27 1,-13 0-16,0 0 0,13-1 16,-13 1-1,0 0-15,13 0 0,-13 0 16,0-1-16,0 1 0,14 0 15,-14 0 1,0-1-16,0 1 16,0 0-1,0 0 1,13 13 0,-26-14-1,-1 1 16,1 13 1,0 0-32,0 0 0,-1 0 15,1 0-15,0 0 16,0 0-16,0 0 16,-14 0-16,14 0 0,0 0 15,-14 0-15,14 0 16,0 0-16,-1-13 0,1 13 0,0 0 15,0 0-15,0 0 0,-14 0 16,14 0-16,-14 0 0,14 0 0,-13 0 16,12 0-16,-38 0 15,12 0-15,13 0 0,14 0 16,-26 0-16,-28 0 16,14 0-1,27 0-15,13 0 0,-14 0 16,-12 0-16,-1 0 15,27 0-15,-14 0 0,14 0 16,0 0-16,-14 0 0,14 0 16,-13 0-16,-1 0 0,1 0 15,13 0-15,-14 0 0,14 0 16,-27 0-16,27 0 16,0 0-16,-14 13 0,14-13 0,0-13 15,0 13-15,-27 0 0,13 0 16,14 0-16,0 0 15,-14 0-15,1 0 0,0 0 16,-1 0-16,14 0 0,-27 0 16,27 0-16,0 0 15,-1-13-15,-12 13 0,13 0 0,0 0 16,-1 0-16,-12 0 0,13 0 16,-1 0-16,1 0 15,0 0-15,0 0 0,-1 0 0,1 0 16,0 0-16,0 0 0,0 0 15,-1 0-15,1 0 16,0 0-16,0 0 16,-1 0-16,1 0 15,0 0-15,0 0 16,0 0-16,-1 0 16,1 0-16,-13 0 15,12 0 1,1 0-1,0 0 1,0 0-16,-1 0 16,1 13 15,0 0 0,13 0-15,0 1-16,-13-14 15,13 13-15,0 0 0,0 0 16,0 1-16,0-1 16,-13 0-16,13 14 0,0-1 0,0 0 15,0-12-15,0-1 16,0 0-16,0 0 0,0 1 16,0 25-16,0-12 15,0-14-15,0 0 0,0 0 16,0 1-16,0-1 15,0 13-15,0-12 16,0-1-16,0 0 16,0 0-1,0 0 17,0 1-1,0-1 31,0 0-46,13 0 0,0-13 15,0-13-31,0 13 15,1 0 1,-1 0-16,0 0 16,0 0-16,14 0 15,-1 0 1</inkml:trace>
  <inkml:trace contextRef="#ctx0" brushRef="#br0" timeOffset="92900.3">5305 2990 0,'0'-13'0,"0"-1"16,-13 14-1,13-13 1,0 0-1,0 0 17,0-1-32,-14 14 0,14-26 15,0 13-15,0 0 16,-13 13-16,13-14 0,0-12 16,-13-14-1,13 27 1,0 0-16,0-1 0,-13 1 15,13 0-15,0 0 0,-13-27 16,13 27 0,0 0-16,0-1 0,-14-12 15,14 13 1,0-1-16,0 1 16,0 0-1,0 0-15,0 0 16,0-1-1,14 1-15,-14 0 16,13 0 0,0 13-16,-13-14 0,13 14 15,0-13-15,1 0 16,-1 13-16,-13-13 16,13 13-16,0-14 15,1 14-15,-1-13 0,13 0 16,-12 0-1,-1 13-15,13-13 16,-13 13-16,1-14 0,-1 14 16,0-13-16,0 0 15,14 0-15,-14 13 16,-13-14-16,13 1 0,0 13 0,-13-13 16,14 13-16,-1-13 15,0-14-15,0 27 0,-13-13 16,14 13-16,-14-13 0,13 0 15,0-1-15,-13 1 16,13 13-16,1-26 0,-14 12 16,13 14-16,-13-13 0,0 0 15,13 13-15,-13-13 0,26-27 16,-12 27-16,-1 0 16,-13-1-16,13 1 15,0-13-15,-13 12 16,14 14-16,-14-13 0,13 0 15,-13 0 1,0 0-16,13 13 0,0-27 16,-13 14-1,14 13-15,-14-13 0,13-1 16,-13 1-16,13 0 16,-13 0-16,0-1 15,13 14-15,-13-13 16,13 0-16,-13 0 15,0 0-15,0-1 16,14 1 0,-14 0-1,0 0-15,0-1 16,0-12 0,0 13-16,0 0 0,0-14 15,0 14 1,0 0-1,0-1-15,0 1 32,0 0-1</inkml:trace>
  <inkml:trace contextRef="#ctx0" brushRef="#br0" timeOffset="93128.53">5953 1468 0,'-40'0'16,"27"0"-16,-13 27 15,13-14-15,-1-13 0,1 13 0,-13 14 16,12-27-16,14 13 15,-13 0-15,0 1 0,13-1 16,-13 0-16,-1 0 0,1 0 16,13 1-16,-13-14 15</inkml:trace>
  <inkml:trace contextRef="#ctx0" brushRef="#br0" timeOffset="93317.13">5808 1521 0,'39'14'15,"-25"-14"-15,-1 13 16,0 0-16,13 0 16,-12-13-16,-14 14 0,13-14 15,0 13-15,0-13 0,-13 13 16,14 0-16,-1-13 0</inkml:trace>
  <inkml:trace contextRef="#ctx0" brushRef="#br0" timeOffset="93976.23">6429 1402 0,'14'27'16,"-14"-14"-1,0 13 1,0 1-1,0-14-15,0 0 16</inkml:trace>
  <inkml:trace contextRef="#ctx0" brushRef="#br0" timeOffset="94151.18">6403 1191 0,'-13'-14'15,"26"28"-15,-26-41 16</inkml:trace>
  <inkml:trace contextRef="#ctx0" brushRef="#br0" timeOffset="94508.3">6496 1416 0,'-14'66'15,"14"-53"1,0 0 0,14-13-1,12-13 1,-13 0-16,0-1 16,1 14-1,-1 0-15,0 0 0,0 0 16,-13 14-1,14-1-15,-1 0 16,0 0-16,0 1 16,1-14-16,-1 13 15</inkml:trace>
  <inkml:trace contextRef="#ctx0" brushRef="#br0" timeOffset="94904.66">6866 1204 0,'-13'-13'0,"-1"39"15,1-13-15,13 40 16,0-40-16,0 54 0,0-41 15,0 1-15,0-1 0,0 0 16,0 1-16,13-1 0,-13 1 16,0-1-16,0 14 0,0-27 15,-13 14-15,13-14 16,0 0-16,-13 0 0,0-13 16,0 0-1,-1 0-15,1-13 16,13 0-16,-13 0 15,13-1 1,13 14-16,-13-13 0,13-13 16,1 13-16,-1-14 15,0 27-15,0-13 16,14-14-16,-1 1 0,-13 26 16,14-13-16</inkml:trace>
  <inkml:trace contextRef="#ctx0" brushRef="#br0" timeOffset="95224.2">7038 1336 0,'-27'0'16,"27"13"0,-13 1-16,13-1 15,0 0-15,-13-13 0,66-53 0,-93 133 0,40-67 16,0 0-1,13 0-15,14 14 16,-14-27-16,0 13 0,1-13 16,-1 0-16,0 0 15,0 0-15,-13-27 16,0 14 0,-13 0-16,13 0 15,-13 13-15,13-13 0,-13-1 16,-1 14-16,1-13 15,0 26 1</inkml:trace>
  <inkml:trace contextRef="#ctx0" brushRef="#br0" timeOffset="95975.6">7435 1310 0,'13'-27'16,"13"40"0,1 1-1,-27-1-15,13-13 16,-13 13-16,0 0 16,0 14-1,-13-14-15,13 0 0,-13 1 16,13-1-1,-14-13-15,14 13 0,-13 0 16,13 0 0,13-13-1,14 14 1,-14-14-16,0 0 0,1 0 16,-1 0-16,13 0 15,-12 0-15,12 0 0,-13 0 16,0-14-16,1 28 15,-1-14-15,0 0 16</inkml:trace>
  <inkml:trace contextRef="#ctx0" brushRef="#br0" timeOffset="96572.19">6839 1654 0,'93'-14'16,"-66"14"-16,12 0 0,94-26 16,-41 26-1,1-13-15,-54 0 16,1 13-16,-13 0 0,25 0 16,-12 0-16,-13-14 15,-1 14-15,-13 0 0,1 0 16,-1 14-1</inkml:trace>
  <inkml:trace contextRef="#ctx0" brushRef="#br0" timeOffset="96836.22">6919 1773 0,'66'0'0,"-40"-14"0,14 14 16,0-13-16,52 0 15,1 0 1,-40 13-16,13-13 0,13-1 16,-26 14-1,-39-13-15,12 13 0,1 0 16,-1 0-1</inkml:trace>
  <inkml:trace contextRef="#ctx0" brushRef="#br0" timeOffset="102310.06">14777 3545 0,'26'14'16,"1"-14"-16,-14 0 15,27 0-15,-14 0 0,80 0 16,-53 0-16,0 13 0,0-13 15,0 0-15,0 0 0,-14 0 16,28 13-16,-28-13 0,14 0 0,0 0 16,0 13-16,-13-13 0,-1 0 0,-12 0 15,12 0-15,-12 0 0,-14 0 0,14 0 16,-14 0-16,0 0 0,27 0 16,-27 0-16,0 0 15</inkml:trace>
  <inkml:trace contextRef="#ctx0" brushRef="#br0" timeOffset="102607.26">15055 3638 0,'119'0'16,"-93"0"-16,1 0 0,26 0 15,0 0-15,-14 0 0,14 13 16,0-13-16,-13 0 0,0 0 0,39 13 16,-53-13-16,1 0 0,-1 0 15,1 0-15,-1 0 0,1 0 16,-14 0-16,0 0 15,0 14-15,1-14 0,-1 0 16</inkml:trace>
  <inkml:trace contextRef="#ctx0" brushRef="#br0" timeOffset="106780.48">4643 4128 0,'53'0'16,"0"0"-1,-26 0-15,26 0 0,13 0 16,93 0-16,-1-14 15,-65 14-15,-14 0 0,14 0 16,-1 0-16,1 14 0,0-14 16,171 0-16,-171 0 0,-14 13 15,1-13-15,-1 0 0,0 0 16,-26 0-16,0 13 0,0-13 16,0 0-16,-13 0 0,39 0 15,-52 0-15,-1 0 0,0 0 16,-12 0-16,12 0 0,-13 0 0,14 0 15,-14 0-15,0 0 16,1 0 0,-1-13-16,0 13 31</inkml:trace>
  <inkml:trace contextRef="#ctx0" brushRef="#br0" timeOffset="107103.58">6945 4167 0,'212'13'15,"-172"-13"1,-1 0-16,14 0 0,-26 14 0,12-14 16,14 0-16,-26 0 0,-1 0 15,-13 13-15,14-13 0,-14 0 0,0 0 16,14 0-16,-14 0 15,0 0-15,1 0 16</inkml:trace>
  <inkml:trace contextRef="#ctx0" brushRef="#br0" timeOffset="109531.36">8572 3625 0,'-79'-27'16,"53"27"-16,-1 0 16,1 0-16,13 14 0,-1-14 0,1 0 0,0 0 15,0 0-15,-1 0 16,1 0-16,0 0 0,0 0 0,-1 13 16,1-13-16,0 13 15,13 0-15,-13 0 16,13 1-16,0-1 0,-13 0 15,13 14-15,0-14 0,0 0 16,0 0-16,0 1 0,0-1 0,0 13 16,0-13-16,0 14 0,0-14 15,0 27-15,0-27 0,0 14 16,0-14-16,0 0 0,0 27 16,0-27-16,0 0 0,0 0 15,0 1-15,13-1 0,-13 0 16,0 0-16,0 1 0,0-1 15,13 0-15,-13 0 0,13-13 16,-13 13-16,13-13 0,1 14 16,-1-14-16,0 0 0,0 13 0,27-13 15,0 13-15,-14-13 16,-13 0-16,14 13 0,-1-13 16,-12 0-16,-1 0 0</inkml:trace>
  <inkml:trace contextRef="#ctx0" brushRef="#br0" timeOffset="110535.14">1693 4220 0,'40'0'16,"-27"0"-16,0 0 16,1 0-16,39 13 15,-27-13-15,14 0 0,-14 0 16,1 0-16,-1 0 0,1 0 16,12 14-16,-25-14 15,-1 0-15,-13 13 16,13-13-16,-13 13 0,0 13 15,0-12 1,0-1-16,0 0 0,0 14 16,0-14-16,0 13 0,13 14 15,-13 13-15,13-40 16,-13 14-16,14-1 0,-14-13 16,26 40-16,-26-26 15,13-1-15,1-13 0,-14 1 16,0-1-16,0 13 15,-14-13-15,-12 14 16,13-14-16,-1-13 0,-38 27 16,12-14-16,-26 13 15,-14 1-15,14-1 16,-26 1 0,52-27-16,0 13 0</inkml:trace>
  <inkml:trace contextRef="#ctx0" brushRef="#br0" timeOffset="114902.05">19659 5384 0,'13'0'0,"-13"14"16,0-1-16,0 0 15,0 13-15,0-12 16,0 12-16,-13 27 0,13-27 15,0 1-15,-14-1 0,14 1 0,-13 26 16,13-14-16,-13-25 16,13-1-16,0 13 0,-13-12 15,13-1-15</inkml:trace>
  <inkml:trace contextRef="#ctx0" brushRef="#br0" timeOffset="115228.1">19619 5318 0,'66'-40'16,"-53"40"-16,14 0 16,-14 0-16,13 0 0,1 14 0,-1-1 0,1 0 0,-14 0 15,13 14-15,-12-14 0,-14 14 16,13-14-16,-13 0 0,0 13 16,0 1-16,-13-1 0,-1-12 15,-12 25-15,13-26 0,0 1 16,-1-1-16,-12 0 15,13 0-15,-14 1 0,14-14 16,0 0-16,-1 13 16</inkml:trace>
  <inkml:trace contextRef="#ctx0" brushRef="#br0" timeOffset="115571.48">19910 5543 0,'26'13'0,"-26"0"15,-26-39-15,66 66 0,-40-27 16,0 0-16,0 0 0,13 1 16,-13-1-16,-13 0 0,13 0 0,0 1 15,0 12-15,0-13 0,0 0 0,0 1 16,0-1-16,-14 0 15,28-53 17,-1 27-17,-13 0-15,0 0 0,13 0 0,0-1 16,-13 1-16,13 0 16,-13 0-16,14 13 0,-14-14 15,13 14-15,0-13 0,0 13 16,1 0-16,-1 0 0,0-13 15</inkml:trace>
  <inkml:trace contextRef="#ctx0" brushRef="#br0" timeOffset="115845.32">20214 5569 0,'0'27'0,"-13"-14"15,13 0-15,0 14 16,0-14-16,0 0 0,0 1 15,13-1-15,0 0 16,-13 0-16,14-13 0,-1 13 16,0-13-16,14 0 0,-14 0 15,13 0-15,-26-13 16,0 0-16,13 13 0,-13-26 16,0 12-16,-13 1 15,13 0-15,-13 13 0,13-27 16,-26 14-16,26 0 15,-14 13-15,14-13 0,-13 13 16,0 0-16,0-14 16</inkml:trace>
  <inkml:trace contextRef="#ctx0" brushRef="#br0" timeOffset="116259.46">20571 5305 0,'-26'40'0,"26"-27"15,-13 0-15,-14 40 0,14-27 16,0 1-16,0 13 0,-14 12 16,27-25-16,-13-1 0,0-12 15,13 25-15,-14-25 16,14 12-16,27-39 47,-14 0-47,0-1 0,14 1 15,-14 0-15,13 13 16,-12 0-16,-1 0 16,0 0-16,0 0 0,1 13 15,-14 0-15,13-13 0,-13 14 16,0-1-16,-13-13 15,13 13-15,-14 0 0,1 0 16,0-13-16,0-13 31,13 0-15</inkml:trace>
  <inkml:trace contextRef="#ctx0" brushRef="#br0" timeOffset="118174.36">21034 5503 0,'-26'14'31,"26"-1"-31,0 0 16,0 0-1,0 0-15,0 14 0,13-14 16,0 0-16,1-13 16,-1 0-16,0 0 15,0-13 1,1 0-16,-14 0 0,0-14 16,0 14-16,0 0 15,-14 0-15,14-1 0,0 1 16,0 0-16,0 53 31,0-27-31,0 40 16,0-27-16,0 1 0,0-1 15,0 14-15,0 13 0,-13 26 16,13-52-16,-13 12 16,0 1-16,13-14 0,-14-12 15,14 12-15,-13-13 16,13-39 15,13-1-31,1 14 0,-14 0 16,13 0-16,27-27 0,-27 27 15,0 0-15,0-1 0,0 1 16,1 13-16,-1-13 0,13 0 16,-12-1-16,12 14 0,-13 0 15,0-13-15,1 0 0,12 13 0</inkml:trace>
  <inkml:trace contextRef="#ctx0" brushRef="#br0" timeOffset="118850.37">21855 5278 0,'0'-13'15,"0"79"1,0-39-16,0 13 15,-14-14-15,14 0 0,-13 1 0,13-1 16,0 1-16,-13-14 16,0 13-16,13 14 0,-14-27 15,14 1-15,-13 12 16,13-13-16,13-26 31,1 0-15,-14 0-16,13-1 0,13 1 15,-12 0-15,-1 13 16,-13-13-16,26 13 0,1 0 16,-14 13-1,0 0 1,0 0-16,1-13 16,-1 14-16,0-14 15,0 0-15,27 0 16,-27 0-16,0 0 0,1-14 15,-1 1-15,13 0 0,-12 0 16,-1-1-16,-13 1 16,13 13-16,-13-13 15,-26 26 17,12-13-32,14 13 0,-13 1 15,13 12-15,13-26 16,-13 13-16,14-13 15,12 14-15,-13-1 0,14 0 16,-1-13-16,-13 0 16</inkml:trace>
  <inkml:trace contextRef="#ctx0" brushRef="#br0" timeOffset="119224.84">22701 5464 0,'-66'-14'0,"40"14"15,12 0-15,1 14 0,0-14 16,0 13-16,13 0 15,0 14-15,13-27 16,0 39-16,27 14 16,-27-26-16,0-1 15,1-13-15,12 14 16,-26-14-16,0 0 0,0 0 16,0 1-16,0-1 15,-13 0-15,0-13 0,-1 13 16,-12 1-16,13-14 15,-14 0-15,14 0 16,13-14-16,0 1 16</inkml:trace>
  <inkml:trace contextRef="#ctx0" brushRef="#br0" timeOffset="119647.51">22873 5424 0,'13'26'16,"-39"54"0,13-41-16,0-12 0,-1 13 0,14-1 15,-13 1-15,0 0 0,0 39 16,-1-39-16,1-1 16,13-12-16,-13-14 0,13 14 15,-13-14-15,13 0 16,0 0-16,-14-39 15,28-1 1,-14 14-16,13-27 0,0 1 16,14-41-16,12 14 15,1 0-15,-14 53 0,-12 0 16,-1-1-16,13 1 16,1 0-16,-14 26 15,-13 0 1,0 1-16,-13-1 15,0 0-15,-1 0 0,-12 14 16,26-14-16,-13-13 0,-1 13 16,14 0-16,-13-13 15,26 14 1,14-28-16,-14 14 16</inkml:trace>
  <inkml:trace contextRef="#ctx0" brushRef="#br0" timeOffset="119924.23">23191 5609 0,'-27'27'16,"14"-27"-1,0 26-15,13-13 16,0 1-16,0-1 0,13-13 16,-13 13-16,40-119 0,-67 212 15,41-93-15,-1-13 0,0 0 0,0 0 16,14 0-16,-14-13 15,-13 0 1,13 0-16,-26-1 16,13 1-16,-13-13 15,-1 26-15,-12-14 0,-14 1 16,27 13 0,0 0-16,-14 0 0,14 0 0,0 0 15</inkml:trace>
  <inkml:trace contextRef="#ctx0" brushRef="#br0" timeOffset="120140.08">23442 5424 0,'0'-13'0,"0"39"15,0-13 1,-26 27-16,26-27 0,-14 27 0,-12-14 15,-1 27-15,1 0 16,13-39-16,13 12 0,-13-13 16,-1 14-16,14-14 0,-13 0 15,26 0 1,1-13-16</inkml:trace>
  <inkml:trace contextRef="#ctx0" brushRef="#br0" timeOffset="120398.09">23680 5583 0,'-132'13'16,"105"0"-16,-12 0 15,26 1-15,-14-1 16,14 0-16,13 0 15,0 1 1,26-14-16,-26 13 16,27-13-16,-14 0 0,0 13 15,14-13-15,-14 0 16,0 13-16,0-13 0,-13 13 16,14-13-16</inkml:trace>
  <inkml:trace contextRef="#ctx0" brushRef="#br0" timeOffset="120658.71">23773 5768 0,'53'-27'0,"-40"14"16,0 13-16,-13-13 0,13 13 16,-13-13-16,-13 13 31,-13 0-31,12 13 15,1-13-15,13 13 0,-13 0 0,0-13 16,13 14-16,0-1 16,13 0-16,0-13 15,0 0-15,1 13 0,39-13 16,-40 0-16,13 14 0,1-14 16,-14 0-16,27 0 0</inkml:trace>
  <inkml:trace contextRef="#ctx0" brushRef="#br0" timeOffset="121187.37">19897 6363 0,'13'0'16,"-26"13"-16,13 1 0,-14-1 16,14 13-16,-13-12 0,13 12 0,-13 1 15,13-1-15,0 0 0,-13 1 16,13-14-16,-13 40 0,13 0 16,0-40-16,0 0 15,0 1-15,0-1 16</inkml:trace>
  <inkml:trace contextRef="#ctx0" brushRef="#br0" timeOffset="121593.22">19725 6628 0,'-14'-13'0,"28"-1"16,12 14-16,-13-13 15,14 13-15,-14 0 0,14-13 0,52 0 16,-53 13 0,-12 0-16,25-14 0,-12 14 15,-1 0 1,-13 0-16,1 14 16,-14-1-16,0 0 0,0 0 15,0 1-15,13-1 16,-13 0-16,13 0 15,0 1-15,1-14 16,12 0-16,-13 0 16,14 0-16,-14-14 15,0 1-15,-13 0 16,-13 0-16,13-1 16,0 1-16,-13 13 0,-1-13 15,1 0-15,0 13 0,0 0 16,0 0-1,-1 13-15,1 0 16</inkml:trace>
  <inkml:trace contextRef="#ctx0" brushRef="#br0" timeOffset="121986.27">20624 6588 0,'-66'0'0,"53"0"16,0 13-1,-1-13-15,14 14 0,0-1 16,0 0-16,14-13 16,-1 13-1,13-13 1,14 0-16,-27-13 16,1 13-1,-1 0-15,0 13 0,0-13 16,0 0-16,1 0 15,-1 14-15,0-14 16,0 0-16,1 0 0,-1 0 16,0 0-16,0 0 0</inkml:trace>
  <inkml:trace contextRef="#ctx0" brushRef="#br0" timeOffset="122626.11">21405 6548 0,'-27'27'15,"14"-1"1,0 1 0,13-14-16,0 14 15,13-27-15,-13 13 0,13 0 16,1-13-16,-14 13 16,39-13-16,-26-13 15,1 13-15,-1 0 0,13 0 16,-12 0-1,-1 13 1,0-13-16,0 13 16,1-13-16,-1 0 15,0 0-15,0 0 16,0-13-16,1 13 0,-14-13 0,26 0 16,-26 0-1,13-1-15,-13 1 0,14 0 0,-14 0 16,0-14-16,13 14 15,-13 0 1,13-1-16,0 14 31,1 0-31</inkml:trace>
  <inkml:trace contextRef="#ctx0" brushRef="#br0" timeOffset="122892">21881 6575 0,'0'40'0,"0"-27"16,13 0-16,-13 0 15,14-13-15,-14 14 0,13-14 0,0 13 16,0 0-16,0-13 16,1 0-16,-1 0 15,0-13-15,-13 0 16,0-1-1,0-12-15,-26-1 16,12 27 0,14-13-16,-13 13 15,0 0-15,0 0 16</inkml:trace>
  <inkml:trace contextRef="#ctx0" brushRef="#br0" timeOffset="123378.83">22079 6588 0,'27'40'0,"-27"-14"16,0-12-16,0 12 31,0-13-15,13-13-16,0-13 31,1 0-15,-1 13-16,0-13 0,0 13 15,1 0-15,-1 0 16,0 0 0,-13 13-16,13-13 0,-13 13 15,13 0-15,-13 0 16,14 1-1,-1-28 17,0 14-17,0-13-15,1 13 16,-1-13-16,0 13 0,0 0 16,1 0-1,25 0-15,14 0 31,-40 0-31,14 0 16,-14 13 0,0 0-16,0 1 15</inkml:trace>
  <inkml:trace contextRef="#ctx0" brushRef="#br0" timeOffset="124036.38">22648 6773 0,'27'-13'0,"-14"-13"16,0 26-1,-13-14-15,13-12 0,1 0 16,-14 12-1,0 1-15,13 13 16,-40 13 15,27 1-15,0-1 0,0 0-16,14 0 15,-1-13 1,0-13-1,0 13 1,1 0-16,-1 0 16,0 0-16,0 0 15,1 13 1,-1 0 0,-13 1-16,0-1 31,13-13-31,-13 13 15,13-26 1,0 13 0,1 0-1,-1 0 1,0 0-16,0 0 16,1 0-16,-1 0 15,0 0 1,14 0-16,-14 0 15,0 0 1,0 0-16,27-13 16,-27 13-1,0-14 1,-52 28 0,25-14-1</inkml:trace>
  <inkml:trace contextRef="#ctx0" brushRef="#br0" timeOffset="124359.53">20968 6906 0,'424'-40'31,"-332"40"-31,173-13 0,79 13 16,-186 0-1,-38 0-15,-81 0 16,14 0-16,-13 0 15,-27 0-15,-39 13 32,-27-13-32</inkml:trace>
  <inkml:trace contextRef="#ctx0" brushRef="#br0" timeOffset="124611.18">21074 7025 0,'212'26'16,"-67"-26"-1,-52 0-15,79 13 0,0-13 16,-80 14-16,67-14 16,-93 0-16,53 0 15,-39 0-15,-27 0 16,-27 0-16,-13 0 0,1 0 15,-1 0 1,-26-14 0,-1 1-1</inkml:trace>
  <inkml:trace contextRef="#ctx0" brushRef="#br0" timeOffset="132340.28">6694 7064 0,'13'27'110,"-26"-14"-79,13 0-31,0 1 31,0-1-31,0 0 0,0 0 16,0 0 15,13-13-31,-13 14 16,13-14-16,1 0 31,-1 0-16,0 0 1,0-14 0,1 14 15,-14-13-31,13 13 31,0 13 16,-13 1-31,13-14-16,0 26 31,1-26-15,-1 13-16,0-13 15,0 0-15,14 0 31,-14 0-31,0-13 16,1 0-16,-1 0 16,-13-14-1,13 14 1,-13-13-16,13 12 16</inkml:trace>
  <inkml:trace contextRef="#ctx0" brushRef="#br0" timeOffset="135551.04">7858 7051 0,'-13'-13'0,"39"13"47,-12 0-47,-1 0 0,0 0 0,0 0 15,1 0-15,12 0 0,0 0 16,-12 13 0,-1-13-16,0 0 0,0 0 15,-13 13-15</inkml:trace>
  <inkml:trace contextRef="#ctx0" brushRef="#br0" timeOffset="135864.37">7792 7250 0,'26'13'15,"-12"-13"-15,-1 0 16,0 0-16,0 0 0,14 0 15,-1 13-15,1-13 16,-14 0-16,0 0 0,0 0 16,14 13-16</inkml:trace>
  <inkml:trace contextRef="#ctx0" brushRef="#br0" timeOffset="141327.04">3691 9327 0,'13'-14'16,"0"41"-1,-13-1 1,0 40 0,0-39-16,0-1 0,0 14 0,-13 13 15,13 0 1,-13-27-16,13 27 0,-13-40 16,13 1-16,0 12 15,-14-13-15,14 1 16,0-1-1</inkml:trace>
  <inkml:trace contextRef="#ctx0" brushRef="#br0" timeOffset="141871.09">3664 9446 0,'27'-53'16,"13"26"-1,-14 27 1,-13 0-16,1 0 0,-1 0 16,0 27-16,0-27 15,27 39-15,-40-25 0,0-1 16,13 0-16,-13 0 16,0 14-16,-13-14 0,13 0 15,-27 0-15,27 1 0,-13-1 16,0 0-16,0-13 0,0 13 15,-1-13-15,-12 0 16,13 14-16,-14-14 0,14 0 16,0 0-16</inkml:trace>
  <inkml:trace contextRef="#ctx0" brushRef="#br0" timeOffset="142275.53">4180 9274 0,'-39'26'16,"26"1"-16,-27 25 0,27-12 15,-14 0-15,14-14 0,-14 14 16,-12 39-16,26-39 15,-1 26-15,1-39 0,13-1 0,0-13 16,0 27-16,0-27 16,13 0-16,-13 1 0,14-14 0,12 26 15,-13-26-15,0 0 16,1 0-16,12 0 0,-13 0 0,14-13 16,-1 13-16</inkml:trace>
  <inkml:trace contextRef="#ctx0" brushRef="#br0" timeOffset="143360.19">4260 9538 0,'-13'27'47,"13"-14"-47,-14 0 16,14 0-16,0 1 16,14 25-1,-1-39 1,0 0-1,27-13 1,-27 13 0,-13-13-1,13 13-15,0 13 16,1 0 0,-14 1-1,13-1-15,0-13 0,0 13 16,1 0-16,-1-13 15,0 0-15,0 0 16,0-13-16,1 13 0,-1 0 16,13-26-16,-26 12 15,14 14-15,-14-13 0,0-27 16,13 27 0,-13-13-16,0 12 15,0 1 1</inkml:trace>
  <inkml:trace contextRef="#ctx0" brushRef="#br0" timeOffset="144840.1">4736 9446 0,'0'-14'15,"0"1"-15,-13 40 31,13-14-31,-13 40 16,13-27 0,-14 27-16,1-26 0,0 26 15,13-1-15,-13 1 16,-1-26 0,14-14-16,0 0 0,0 0 15,14-26 32</inkml:trace>
  <inkml:trace contextRef="#ctx0" brushRef="#br0" timeOffset="146097.32">4908 9565 0,'13'-14'16,"-13"41"31,-13-1-31,0 14-16,13-27 15,0 1-15,-13-1 16,13 13-16,-14-26 15,14 13-15,0 1 0,-13-1 16,13 0 15,0 0-15,13-13 0,1 0-16,-1 14 0,0-14 15,0 0-15,0 0 0,1 0 16,12 13-1,-13-13-15,1 0 0,12 0 16,-13 0-16,1 0 16,-1 0-16,0 0 15,0 0-15,0 0 16,-13 13 0,14-26 15,-14 0 0,13-1-31</inkml:trace>
  <inkml:trace contextRef="#ctx0" brushRef="#br0" timeOffset="147070.29">4987 9221 0,'27'13'94,"26"13"-79,-40-12 1,0-1-16,0-13 0,1 13 0,-1 0 16,13 1-16,-12 12 0,12-13 0,14 27 15,-27-14-15,13 1 16,-12-1-16,-1 1 0,0-14 15,0 40-15,-13-27 0,0 1 16,14-1-16,-14 1 0,-14 26 16,1-14-16,0 1 0,0-14 15,-1 1-15,1-1 0,-13 1 0,-1 13 16,14-14-16,0-13 16,13 0-16,-13-13 0,-1 14 15,14-1-15,-13-13 0,13 13 0,-13-13 16</inkml:trace>
  <inkml:trace contextRef="#ctx0" brushRef="#br0" timeOffset="151025.26">4908 9618 0,'0'-14'16,"13"1"-16,-13 0 15,13 0 1,-13-1-1,0 1 1,14 0-16,-14 0 16,-14 26 46,14 13-46,0-12-1,-13-1-15,13 0 16,-13 0-16,13 1 0,-13-1 16,13 0-16,0 0 0,-13-13 0,13 14 15,0-1-15,-14 0 16,1 0-16,13 0 0,-13 1 31,13-1-31,-13 0 16,13 0 15,13-13 16,0 14-16,0-14-15,1 13-16,-1-13 0,0 0 15,0 0-15,0 0 0,1 13 16,-1-13-16,0 0 16,0 0-16,1 0 0,-1 13 15,0-13-15,0 0 16,1 0 0,-1 13-1,0-13-15,0 0 31,0 0 48,-13-13 30</inkml:trace>
  <inkml:trace contextRef="#ctx0" brushRef="#br0" timeOffset="153935.07">4934 9565 0,'0'-14'0,"0"1"47,14 0-31,-14 0 0,13 13-16,-13-13 15,0 39 32,-13-13-47,13 0 0,0 1 16,-14-1-16,1 13 0,13-12 15,-13-1-15,13 0 0,-13 14 16,13-14-16,-13 0 16,13 0-16,0 0 0,-14 1 15,14-1 1,14 0 15,-1-13-15,0 13-1,0-13-15,0 0 0,1 0 16,12 14-16,-13-14 16,1 0-16,-1 0 0,0 13 15,0-13-15,1 0 16,-1 0-1,0 0 1,0 0-16,-13 13 16,13-13-1,1 0 17,-1 0 108,0-13-109</inkml:trace>
  <inkml:trace contextRef="#ctx0" brushRef="#br0" timeOffset="154994.66">4948 9525 0,'-14'13'15,"1"14"1,13-14-1,-13 13-15,0-12 16,13-1-16,-13 13 16,13-12-16,-14-1 0,14 0 15</inkml:trace>
  <inkml:trace contextRef="#ctx0" brushRef="#br0" timeOffset="158579.84">6257 3479 0,'-13'-13'31,"26"0"78,1 13-109,-14-13 16,13 13-16,-13-14 31,13 14-31,-13-13 16,13 13-1,-13-13 1,14 26 78,-1-13-79,0-13 1,13-14 0,-12 1 15,-1 13-31,-13 0 0,26-14 16,-12 1-1,-14 12 1,0 1-16,13 13 0,-13-13 15,0 0-15,13-1 16,-13 1 0,0 0-16,0 0 15,13 0 1,-13-1 0,0 1-16,14 13 15,-14-13 1,0 0-1,13 13 17,-13-14-17,-13 1 48,13 0-16,-14 13 31,1 0-63,0-13-15,0 13 16,-1 0-16,1 0 0,0 0 16,0 0-1,-1 0-15,1 0 0,0 0 16,0 0 0,0 0-16,-1 0 15,1 0 1,0 0-1,-14 0 1,14 0-16,0-14 16,0 14-16,-14 0 15,14 0-15,0 0 16,0 0-16,-1 0 16,1 0-16,0 0 15,0 0-15,-1 0 16,1 0-16,0 0 15,0 0-15,-14 0 16,14 0-16,0 0 0,0 0 16,-1 0-16,1 0 15,-13 0-15,12 0 16,1 0-16,0 0 0,0 0 16,0 0-1,-1 0 1,1 0-16,0 0 15,0 0-15,-1 0 16,1 0 0,0 0-16,0-13 15,-1 13-15,1 0 16,0 0-16,-13 0 16,12 0-16,1 0 15,0 0 1,-14 0-16,14 0 15,-13 0 1,12 0-16,1 0 0,-13 0 16,-1 0-16,14 0 15,0 0-15,-14 0 0,1 13 16,13-13-16,0 0 0,-14 0 16,1 0-16,12 0 15,1 0-15,0 0 0,0 0 0,-1 0 16,1 0-16,0 0 15,0 14 1,0-14-16,-1 0 16,1 0-16,0 0 15,0 0-15,-14 0 16,14 0-16,0 0 16,-1 0-16,1 0 0,-13 0 15,13 0-15,-1 0 16,1 0-16,0 0 15,0 0-15,-1 0 16,1 0-16,0 13 16,0-13-16,-1 0 15,1 0-15,0 0 16,0 0 0,0 0-16,-1 0 15,1 0-15,0 0 0,0 13 16,-1-13-1,1 0-15,0 0 16,0 0-16,-1 0 16,1 0-16,0 0 15,0 0 1,0 0-16,-1 0 16,1 0-16,0-13 15,0 13 1,-1 0-16,1 0 15,0 0-15,0 13 16,0-13-16,-1 0 16,1-13-16,0 13 15,0 0 1,-1 0-16,1 13 16,0-26-1,0 13 1,-1 0-1,14 13 17,-13-26 15,0 26 62,13 14-93,0-1-16,-13-13 0,-14 133 15,14-106-15,0-1 16,0-12-16,13 12 0,0-12 15,-14-1-15</inkml:trace>
  <inkml:trace contextRef="#ctx0" brushRef="#br0" timeOffset="162678.65">4220 9948 0,'-26'27'0,"12"-14"15,14 0-15,-13 0 16,13 1-1,0-1 17</inkml:trace>
  <inkml:trace contextRef="#ctx0" brushRef="#br0" timeOffset="164376.07">4233 9975 0,'0'13'32,"-13"0"-32,13 14 0,0-14 15,0 0-15,0 0 16,0 1-16,0 12 0,13-13 15,-13 14-15,0-14 16,14 0-16,-1 0 0,-13 1 16,26-1-16,-26 0 0,13 0 15,1-13-15,25 14 16,1-14-16,-27 13 16,14-13-16,12 0 15,-25 0-15,12 0 0,-13 0 16,40-13-16,-39 13 0,12 0 15,0-14-15,14 1 0,-13 13 16,-14-13-16,0 13 16,27-13-16,-14-14 15,1 27-15,-1-26 0,-13 13 16,14-1-16,-14 1 16,0 0-16,0 0 0,1 13 15,-14-14 1,13 14-16,-13-13 15,13 0 1</inkml:trace>
  <inkml:trace contextRef="#ctx0" brushRef="#br0" timeOffset="164773.9">4842 9988 0,'13'-13'15,"0"13"1,1 0-16,-1 0 16,0 0-16,0 0 0,0 0 15,1 0-15,-1 0 16,0 0-16,0 13 0,1 0 15,-1 0-15,-13 1 16,13-1-16,-13 0 16,0 0-16,-13 27 0,13-27 15,-13 27-15,-1-14 0,14-12 16,-13 12-16,13 1 0,-13-14 0</inkml:trace>
  <inkml:trace contextRef="#ctx0" brushRef="#br0" timeOffset="181255.14">19672 9327 0,'13'-27'0,"0"14"15,-13 0-15,0-1 16,0 1-16,0-13 15,-13 13-15,13-14 0,0 14 0,-13 0 16,0-1-16,13 1 16,-14 13-16,14 13 15,-13 1 1,13-1-16,0 13 0,0 54 16,-13-41-16,13 14 0,0 27 15,-13 12-15,13-52 0,-14-14 16,14 41-1,-26-28-15,13 1 16,-14 0-16,1-27 16,13 0-16,-14-13 15,14 0-15,-14-13 16,27 0 0,0-1-16,0 1 0,14 0 15,-1 13-15,13-13 16,-12 13-16,12-14 15,-13 14-15,14-13 16,-14 13-16,13 0 0,-12-13 16,-1 13-16,40-26 15</inkml:trace>
  <inkml:trace contextRef="#ctx0" brushRef="#br0" timeOffset="181579.08">19817 9472 0,'27'27'15,"-27"-1"1,0 0 0,0-12-16,0 12 15,0-13 1,0 1-16,0-1 15,-13-13-15,26-27 32,0 1-17,-13 13-15,13-14 16,0 27-16,-13-13 0,-66-40 16,146 93-16,-67-40 15,-13-13-15,26 13 16,-12 0-1,-1 0-15,0 0 0</inkml:trace>
  <inkml:trace contextRef="#ctx0" brushRef="#br0" timeOffset="181712.03">20055 9485 0,'27'27'31,"-40"-1"-15,13 1-1,0-1 1,-14-13-16,14 1 0,-13-14 15,13 13-15</inkml:trace>
  <inkml:trace contextRef="#ctx0" brushRef="#br0" timeOffset="181842.22">20082 9406 0,'0'-27'16</inkml:trace>
  <inkml:trace contextRef="#ctx0" brushRef="#br0" timeOffset="182580.13">20227 9644 0,'27'-13'47,"-14"0"-31,0-1-16,-13 1 0,0 0 16,0 0-1,0-1-15,0 1 16,-26 26 15,26 1-15,0-1-16,0 0 15,13-13-15,0 13 16,1-13-16,-1 0 16,13 0-1,-13 0-15,1 0 16,-1 0-16,-13 14 0,13-14 15,0 0-15,1 0 16,-1 13 0,0-13-16,0 13 15,1 0 1,-1-13-16,0 0 16,0 0-1,0 0 1,-13-13-16,14 13 0,-1-13 15,0 13-15</inkml:trace>
  <inkml:trace contextRef="#ctx0" brushRef="#br0" timeOffset="182938.89">20717 9379 0,'13'-13'16,"-26"53"-16,13-27 0,0 14 15,-13 12 1,13-25-16,0 12 0,0 14 16,0-27-1,0 0-15,-14 0 16,-12 1-1,13-14 1,0 0 0,-1 13-16,1-13 0,-13 13 15,26 0-15,-14-13 16,14 14 0,27-1-1,-1 0-15,14-13 16,-27 0-16</inkml:trace>
  <inkml:trace contextRef="#ctx0" brushRef="#br0" timeOffset="183520.12">21061 9551 0,'26'0'31,"-12"0"-31,-1 0 0,13-13 16,1 13-1,-1 0-15,-13 0 16,1-13-16</inkml:trace>
  <inkml:trace contextRef="#ctx0" brushRef="#br0" timeOffset="183716.06">21233 9432 0,'53'14'16,"-40"-1"-1,13 79 1,-26-65-16,-26-1 15,-1-12 1,14-1-16</inkml:trace>
  <inkml:trace contextRef="#ctx0" brushRef="#br0" timeOffset="190689.84">21775 9432 0,'13'53'0,"-26"-39"16,13-1-16,0 13 15,0-13-15,0 1 0,-13-1 16,13 0-16</inkml:trace>
  <inkml:trace contextRef="#ctx0" brushRef="#br0" timeOffset="190897.06">21788 9366 0,'0'-13'0</inkml:trace>
  <inkml:trace contextRef="#ctx0" brushRef="#br0" timeOffset="191375.36">22423 9379 0,'-26'0'0,"13"0"32,26 14-32,0 12 0,0-13 15,-13 1-15,27-1 0,-14 0 16,0 0-16,14 14 16,-14-1-16,0-13 0,0-13 0,1 40 15,-14-27-15,-14 1 16,1-1-1,0-13-15,-13 13 0,12 0 16,-25-13-16,25 0 0,1 14 16,0-14-16,0 0 0,-14-14 15</inkml:trace>
  <inkml:trace contextRef="#ctx0" brushRef="#br0" timeOffset="191798.96">22595 9340 0,'0'39'16,"14"-25"-16,-28 12 0,14-13 16,0 14-16,0-1 0,0 1 15,0-1-15,-13 1 0,13-1 0,0 1 16,-13 12-16,13-25 15,0 12-15,0-13 0,0 0 16,0 1-16,-13-14 0,13 26 16,-14-52-1,14 12 1,14 1-16,-14 0 0,0-13 16,26-41-16,-13 28 0,1 12 15,-1 1-15,0 13 0,-13-1 16,13 1-16,1 0 0,-1 13 15,0 0-15,0 0 16,-13 13-16,0 0 16,-13 1-16,0 25 0,13-26 15,-13 1-15,-1-1 0,14 0 16,-13 0-16,0 1 0,0-1 16,13 0-1,13-13-15</inkml:trace>
  <inkml:trace contextRef="#ctx0" brushRef="#br0" timeOffset="192071.85">22834 9525 0,'-40'66'15,"40"-53"1,13 14-16,0-14 15,1-13-15,-1 13 16,0-26-16,0 13 16,0 0-16,-13-13 15,0 0-15,0-1 16,0 1-16,-13 0 0,0 0 16,0 13-16,13-14 15,-13 1-15,-1 13 0,14-13 16,-13 13-16,13-13 15,0 0-15</inkml:trace>
  <inkml:trace contextRef="#ctx0" brushRef="#br0" timeOffset="192279.2">22966 9340 0,'13'-13'0,"-13"26"16,0 0-16,0 0 0,0 0 0,-13 27 15,13-27-15,-13 14 16,13-14-16,-14 0 0,14 1 0,-13 25 16,13-26-16,0 1 15,0-1-15,0 0 0,0 0 16,0 1-16,13-14 16</inkml:trace>
  <inkml:trace contextRef="#ctx0" brushRef="#br0" timeOffset="192497.06">23178 9512 0,'-14'-13'0,"-12"13"15,13 0-15,-40 13 16,26 0-16,14-13 16,-13 26-16,-1-12 15,14-1-15,0 0 16,13 0-1,13-13-15,0 14 0,0-14 16,1 0-16,-1 0 16,26 0-16,1 0 15,13-14-15</inkml:trace>
  <inkml:trace contextRef="#ctx0" brushRef="#br0" timeOffset="193313.07">23349 9644 0,'27'-13'16,"-27"0"-1,26-1-15,-12 14 0,12-26 16,-13 26 0,1-27-16,-1 14 0,0-13 15,-26 13 1,-14 13-1,14 0 1,0 13-16,0 0 16,-1 0-16,1 0 0,13 1 15,0-1-15,0 0 0,13 0 16,-13 1-16,14-1 16,25 0-16,-12 0 15,-14-13-15,0 14 0,14-14 16,-14 0-16</inkml:trace>
  <inkml:trace contextRef="#ctx0" brushRef="#br0" timeOffset="195063.83">22119 9869 0,'106'13'15,"26"-26"-15,-52 13 16,184 0-16,-79-13 16,-92-1-16,-14 14 15,14 0-15,66-13 0,-14-13 16,-92 26-16,27-13 16,-27 13-16,-40 0 15,0 0-15,0 0 0</inkml:trace>
  <inkml:trace contextRef="#ctx0" brushRef="#br0" timeOffset="195312.05">22172 9988 0,'40'0'15,"277"0"1,-158 0 0,0-13-16,-93 13 15,79 0-15,-25-13 16,-68 13-16,1 0 16,13 0-16,-13 0 15,-13 0-15,0-14 16</inkml:trace>
  <inkml:trace contextRef="#ctx0" brushRef="#br0" timeOffset="210359.82">4987 9472 0,'-13'13'63,"0"14"-48,0-14 1,13 0-16,-14 14 16,1-14-16,13 0 0,-13 0 15,0 14 1,13-14-16,-13 0 0,13 1 0,-14-1 15,14 0 1,0 0-16,-13 0 16,26 1-1,-13-1 1,0 0 0,14-13-1,-1 13-15,0 1 16,0-14-16,0 13 15,1-13-15,-1 13 16,0-13-16,0 13 16,1-13-16,-1 0 0,-13 13 15,13-13-15,0 0 0,1 14 16,-1-14-16,0 0 16,-13 13-1,13-13-15</inkml:trace>
  <inkml:trace contextRef="#ctx0" brushRef="#br0" timeOffset="211153.02">5014 9366 0,'0'-26'62,"0"-1"-46,0 14 0,0-13-16,-13-1 0,13-26 15,0 27-15,0-14 16,0 14-16,0-1 15,0 1-15,0 13 0,-14-1 0,14 1 16,0 0-16,0 0 16,-13 26 15,13 0-15</inkml:trace>
  <inkml:trace contextRef="#ctx0" brushRef="#br0" timeOffset="211600.23">4908 9168 0,'0'13'16,"13"0"-16,-13 1 15,13 12 1,-13-13-16,14 0 0,-14 1 16,13-1-16,-13 0 15,13 0-15,0 1 16,-13-1-16,14-13 15,-1 0-15,0 0 16,14 0-16,-14-13 16,0-1-1,0 14-15,14-13 0,-27 0 16,13 13-16,0-13 0,0 13 0,-13-14 16,14 14-16,-1-13 15,0 0-15,0 13 31</inkml:trace>
  <inkml:trace contextRef="#ctx0" brushRef="#br0" timeOffset="213424.49">4948 9247 0,'0'-13'0,"13"39"62,0 1-46,-13-14-16,13 0 15,-13 1-15,14-1 16,-14 0-16,13-13 16,0 13-16,0-13 15,1 0 1,-1 0-16,0-13 16,0 0-16,0 13 0,1-13 15,-1-1-15,13 1 16,-12 13-16,-14-13 15,13 13-15,-13-13 0,13 13 0,0-14 16,1 14 0,-1-13 15,-40 26 16,27 1-47,-13-14 15,-27 26 1,27-13 0,0-13-16,0 14 0,-1-14 15,14 13-15,-13-13 16,0 13 0,0-26 30,0 0-30,13-1-16,0 1 16,0 0-1,0 0-15,0-1 16,0 1-16,0 0 16,0 0-16,0 0 15,0-1-15,13 1 0,-13-27 16,0 27-16,0 0 15,0 0-15,0-14 16,0 14-16,0 0 16,0 0-16,0-1 15,0 1-15,0 0 16,0 0 0,0-1-16,0 1 31,0 0-16,0 0 17,0-1 30,0 1-46,0 0-1,0 0 17,0 39 30,0 1-62,0-14 0,0 0 16,0 14-16,-13-14 0,13 13 0,0 1 15,0-1-15,0 67 16,0-80-16,-14 14 16,14-1-16,0-13 0,0 0 15,0 1-15,0-1 16,0 0-16,0 0 16,14-52 15,-14 25-31,0 1 15,0 0-15,0-13 0,0 12 0,13-39 16,-13 0-16,0 40 16,0-13-16,0-1 0,0 14 15,0-13-15,0 12 16,0 1-16,0 0 0,0 0 16,0-1-16,0 1 15,0 53 16,0-27-31,0 27 0,-13 13 16,13-40 0,0 13-16,0-12 15,-14-1-15,14 0 0,0 0 16</inkml:trace>
  <inkml:trace contextRef="#ctx0" brushRef="#br0" timeOffset="213777.04">4987 9260 0,'0'27'0,"0"-14"15,0 0-15,14 1 0,-14-1 16,13 0-1,0-13-15,0 0 16,1-13 0,-1 13-1,0-13-15,0 13 16,0 0-16,-13-14 16</inkml:trace>
  <inkml:trace contextRef="#ctx0" brushRef="#br0" timeOffset="214561.18">5080 8533 0,'-13'13'32,"13"0"-32,-13 14 15,26-1 1,-13-13-16,0 1 16,13-14-16,-13 13 0,13-13 15,0 0-15,1 0 16,-1 0-16,0-13 15,0-1-15,-13 1 16,0-13 0,-13 12-16,0-12 15,0 13-15,13 0 0,-14-1 16,1 1-16,0 13 16,0 0-16,0 0 15</inkml:trace>
  <inkml:trace contextRef="#ctx0" brushRef="#br0" timeOffset="-214630.61">5345 8414 0,'-27'13'16,"14"0"-16,13 0 16,-13 1-16,13-1 15,0 0-15,0 14 16,0-14 0,13 0-1,-13 0-15,13 0 16,0-13-1,1 0 1,-1-13 0,0 13-16</inkml:trace>
  <inkml:trace contextRef="#ctx0" brushRef="#br0" timeOffset="-214012.83">5543 8374 0,'0'0'16,"-26"0"-16,26 13 16,-14 1-16,1 25 15,13-26 1,0 14-1,0-14-15,0 0 16,13 1-16,-13-1 16,14-13-16,-1 13 15,0-13-15,0-13 16,0 13 0,-13-13-16,14 13 15,-14-14-15,13 14 0,-13-13 16,13 0-1,-13 0 1,13 13-16,-13-14 16,0 41 31,0-14-16,0 0-31,14-13 15,-14 14-15,13-14 0,0 0 16,14 0 0,-14-14 15,-13 1-31,13 0 0,-13 0 16,13 13-1,-13-14 1,13 28 31</inkml:trace>
  <inkml:trace contextRef="#ctx0" brushRef="#br0" timeOffset="-213693.69">5821 8374 0,'0'-13'16,"13"26"-16,0 0 0,-13 1 0,14 12 16,-14-13-1,0 0-15,0 1 0,13-1 16,-13 0-1,13-13 1,-13-13 0,13-27-1,0 27 1,-13 0-16,14 0 0,-1-1 16,0 1-1</inkml:trace>
  <inkml:trace contextRef="#ctx0" brushRef="#br0" timeOffset="-213296.88">6046 8374 0,'0'53'16,"0"-40"-1,0 0-15,13 1 0,-13-1 16,0 0-1,13-13 1,0-13 0,1 0-1,-14-1-15,13 1 16,-13 0-16,13 0 0,-13 0 0,0-1 16,13 1-16,1 0 0,-14 0 15,13 13 1,0 0-16,0 0 15</inkml:trace>
  <inkml:trace contextRef="#ctx0" brushRef="#br0" timeOffset="-212777.75">6271 8480 0,'13'-13'16,"-13"-1"-16,13 14 15,-13-13-15,13 13 0,-13-13 16,14 13-16,-14-13 16,0 39 15,0-13 0,0 1-31,13-14 16,-13 13-16,13-13 15,0-13-15,14 13 16,-14-14-16,0 1 16,0 0-16,14-27 15,-14 1-15,-13 12 0,13 14 16,-13-14-16,14-25 15,-14 38-15,0-12 16,-14 39 15,14 14-31,0 25 16,0-38 0,0-1-16,14 27 0,-1-27 0,-13 0 15,13 0-15,13 14 16,-12-14-16,-1 0 0,0-13 15,0 13-15</inkml:trace>
  <inkml:trace contextRef="#ctx0" brushRef="#br0" timeOffset="-211157.83">5054 9221 0,'-14'-13'16,"14"-1"0,-13 1-1,13 0-15,0 0 16,0-1-16,-13 1 16,0-27-1,-1 40-15,-12-39 16,13 26-16,-1-1 15,1 1-15,0 13 16,0-13-16,0 13 16,-14-13-16,14 13 0,0 0 15,-1 0-15,-12 0 16,13 0-16,13 13 0,-40-13 16,27 13-16,0-13 15,-14 27-15,14-27 0,0 13 16,-1 0-16,14 0 0,-13 0 15,0-13-15,0 14 0,0-1 0,-1 13 16,-12 1-16,13-14 16,13 0-16,-14 1 0,1-1 15,0 0 1,0 0-16,-1 0 0,14 1 16,-13-14-1,13 13-15,-13-13 16</inkml:trace>
  <inkml:trace contextRef="#ctx0" brushRef="#br0" timeOffset="-210717.89">4419 9168 0,'-14'26'16,"14"-12"-1,0-1-15,0 0 16,0 13-16,0-12 16,0-1-16,14-13 15,-14 13-15,13 0 0,0 1 16,0-14-16,0 0 15,-13 13-15,14-13 0,12 0 16,-13 0-16,1 0 16,-1 0-16,13 0 15,-12 0-15,-1 0 0,0 0 16,0-13-16,0 13 16,1 0-16,-1 0 0</inkml:trace>
  <inkml:trace contextRef="#ctx0" brushRef="#br0" timeOffset="-209696.54">4564 9274 0,'0'-53'16,"0"40"-16,-13-1 15,13 1-15,-13-13 0,-14-41 16,14 28-16,0 12 0,-14-52 15,14 52-15,-13-12 0,12-1 16,1 14-16,0-14 0,13 27 16,-13-14-16,-1 1 0,14 13 15,-13-1-15,13 1 0,-13 13 16,13-13-16,-13 39 31,13-12-31</inkml:trace>
  <inkml:trace contextRef="#ctx0" brushRef="#br0" timeOffset="-209396.98">4326 8758 0,'-13'26'16,"13"-13"-16,0 1 0,0-1 15,-14 0-15,14 14 0,-13 12 16,0-26-1,13 1-15,0-1 0,-13 0 16,13 0 0</inkml:trace>
  <inkml:trace contextRef="#ctx0" brushRef="#br0" timeOffset="-209228.57">4273 8758 0,'0'-40'15,"0"27"-15,13 13 16,0 0-1,14 0 1,-93 79-16,158-145 0,-52 79 16,-27-13-16,-145 27 0,291-54 0,-146 40 15,0-13-15,0 0 16,1 0-16,12 14 0</inkml:trace>
  <inkml:trace contextRef="#ctx0" brushRef="#br0" timeOffset="-207911.69">3678 8361 0,'-14'-27'15,"28"14"-15,-14 0 16,13 0-16,0-1 15,0 1-15,1 13 16,-1 13-16,0-13 16,0 14-16,-13-1 0,14 0 15,-14 0-15,13 1 0,0 12 16,-13-13-16,0 1 0,13 25 16,-13-26-1,0 14-15,0-14 16,0 0-16,0 1 0,13-1 15,-13 0-15,0 0 16</inkml:trace>
  <inkml:trace contextRef="#ctx0" brushRef="#br0" timeOffset="-207727.93">3876 8705 0,'13'0'31,"1"13"-15</inkml:trace>
  <inkml:trace contextRef="#ctx0" brushRef="#br0" timeOffset="-196097.96">7210 6641 0,'-13'-13'15,"-1"-14"-15,1 14 16,0 0-16,13 0 16,-13 13-16,0-14 0,-14 1 15,14 0-15,0 0 0,-27-14 0,13 14 16,-39-13-16,40 12 0,-14 1 15,-13 0-15,14 0 0,-107-1 16,106 1-16,-65 13 16,52 0-16,26 0 15,-13 0-15,-26 0 0,27 13 16,-1 1-16,0-1 0,1 0 0,12 0 16,-39 40-16,39-26 15,-12-1-15,12 1 0,1 26 0,-14-14 16,1 27-16,12-26 15,14 0-15,0 39 0,-1-26 16,14-13-16,-13 39 16,26-39-16,14 79 15,-14-79-15,0-1 0,14 1 16,39 26-16,-40-39 16,1-1-16,39 27 0,-26-27 0,39 1 15,0 13-15,-26-27 16,-13 0-16,0 0 0,-1-13 15,1 13-15,39 1 16,1-14-16,-54 0 0,67-14 16,-53 1-16,39 0 15,-53 0-15,14 0 0,0-1 16,26-12-16,-40 13 16,27-14-16,0 1 15,-26 12-15,39-38 16,-53 38-16,13-12 0,-12 13 15,-1-14-15,0 14 0,14-14 16,-14 1-16,13-27 0,-26 27 0,14-1 16,-1 1-16,-13 13 0,13-40 15,0 26-15,-13 1 16,0 12-16,0-25 0,0 12 16,0 1-16,-13-27 0,0 26 15,13 1-15,-13-14 0,-1 14 16,1-1-16,-13-39 0,-1 13 15,1 27-15,-27-53 16,26 39 0,14 13-16,0 14 0,-14-13 15,14 12-15,-26 1 16,12 0-16,14 13 0,-14 0 16</inkml:trace>
  <inkml:trace contextRef="#ctx0" brushRef="#br0" timeOffset="-189563.63">7580 7633 0,'14'-13'0,"-41"13"63,14 0-63,-27-13 15,14 13 1,-14 0-16,14 0 15,12 0-15,1 0 16,-27 0-16,27 0 0,-40 0 16,40 0-1,0 0-15,-14 0 16,14 0 15,0 0-15,0 0-1,-1 0 17,1 0 30,53 0 63,-27 0-109</inkml:trace>
  <inkml:trace contextRef="#ctx0" brushRef="#br0" timeOffset="-187724.82">9856 6628 0,'79'0'0,"-66"0"15,14 0-15,-14 0 16,0 0-16,14 13 15,-14 0-15,-13 1 16,0 12-16,0-13 16,-13 40-16,13-26 15,0-1-15,0 0 0,-14 1 16,14-1-16,0 27 16,0-26-16,14-1 0,-14 40 15,13-13-15,-13-26 16,0-1-16,0 1 0,0-14 15,0 13-15,0-12 0,0-1 0,0 13 16,-13 1-16,13-14 0,-14 0 16,1 0-16,-13 1 0,-14 12 15,14-13-15,12-13 0,-25 0 16,25 14 0,-12-28-16</inkml:trace>
  <inkml:trace contextRef="#ctx0" brushRef="#br0" timeOffset="-187033.09">8599 6562 0,'-106'13'0,"93"0"15,0-13-15,-1 13 16,14 1-16,0-1 0,-13 13 16,13 27-1,0-40-15,13 80 16,-13-67-16,0 14 0,0 0 15,0 52-15,-13-12 16,13-54-16,0 27 16,0-26-16,-13-1 0,13 14 15,-13-1-15,13-25 16,0 12-16,-13-13 0,13 14 16,-14-14-16,14 0 15,0 1-15,0-1 16,0 0-1,14 0 1</inkml:trace>
  <inkml:trace contextRef="#ctx0" brushRef="#br0" timeOffset="-133060.96">7580 10729 0,'14'13'15,"-14"0"-15,0 1 16,0-1-16,0 13 0,0-13 0,0 14 16,0-1-16,-14-12 0,14 12 0,0 1 15,0-14-15,0 13 0,0-13 0,0 1 16,-13-1-16,13 0 0,0 0 16,0 1-16</inkml:trace>
  <inkml:trace contextRef="#ctx0" brushRef="#br0" timeOffset="-132693.08">7527 10649 0,'40'-52'16,"-13"38"0,-14 14-16,0 0 15,0 0-15,0 14 0,1-14 16,-1 13-16,0-13 0,-13 13 0,13 0 15,-13 0-15,0 1 16,14-1-16,-28 0 0,14 14 16,-13-1-16,0-13 0,13 1 0,-13-14 15,-1 13-15,1 0 16,0 0-16,0 0 0,0-13 0,-1 0 16,1 0 15</inkml:trace>
  <inkml:trace contextRef="#ctx0" brushRef="#br0" timeOffset="-132360">8083 10451 0,'-26'13'0,"12"1"0,1-1 15,0 0-15,0 0 0,-14 14 0,14-1 0,-13 14 16,12-14-16,-12 54 16,13-54-16,13 14 0,0-14 15,-14 1-15,14 12 0,14-12 16,-14-1-16,13 1 0,0-1 15,-13-13-15,13 1 16,1-1-16,12 0 0,-26 0 0,13-13 16,0 0-16,1 0 0,-1 0 15,0 0-15,14 0 0,-14 0 0,0-13 16,0 13-16</inkml:trace>
  <inkml:trace contextRef="#ctx0" brushRef="#br0" timeOffset="-131746.95">8295 10623 0,'0'-13'0,"-14"39"32,14-13-32,-13 1 15,0-1-15,13 13 0,-13-12 16,0 25-16,-1-25 0,1-1 15,13 0-15,-13 0 0,13 0 16,-13 1-16,13-1 16,0 0-16,0 0 15,0 1-15,13-14 16,0 13-16,0-13 16,1 0-16,-1 13 0,0-13 15,0 0-15,0 0 0,1 0 16,-1 13-16,13-13 15,-12 0 1,-1 0-16,0 0 16,-13-13-1</inkml:trace>
  <inkml:trace contextRef="#ctx0" brushRef="#br0" timeOffset="-131264.33">8612 10583 0,'13'0'16,"-13"27"-1,0-14-15,0 0 16,0 14-16,0-14 0,0 0 0,-13 14 16,13-14-16,0 0 0,0 0 0,0 14 15,0-14-15,-13 0 0,13 0 16,0 1-16,0-1 0,0 0 15,0 0-15,13 1 32</inkml:trace>
  <inkml:trace contextRef="#ctx0" brushRef="#br0" timeOffset="-130568.45">8890 10610 0,'-13'13'31,"13"13"0,0-12-31,0-1 16,0 0-16,0 0 0,0 14 16,13-14-1,13-13 1,1 0-1,-14 0-15,0-13 16,14 0 0,-1 13-1,-12 13 1,-1 13 0,0-12-1,0-14-15,-13 13 0,13-13 16,1 0-16,-1 0 15,0 0-15,-13-13 0,27-1 16,-14-12 0,0 13-1,-13-1-15,0 1 0,0 0 16,0-14 0,-13 27-16,0 0 15</inkml:trace>
  <inkml:trace contextRef="#ctx0" brushRef="#br0" timeOffset="-129624.08">9260 10411 0,'14'0'0,"-1"14"16,27 25-1,-27-25-15,0-1 0,0 13 0,0-13 16,1 14-16,-1-1 0,13 40 16,-26-39-16,0-14 15,0 14-15,0-1 0,-13-13 0,0 14 16,0-1-16,-1 1 0,-12-14 15,13 13-15,0-12 0,-27-1 16,27 0-16,-1 0 0,1-13 16</inkml:trace>
  <inkml:trace contextRef="#ctx0" brushRef="#br0" timeOffset="-129260.23">9829 10610 0,'13'0'31,"1"0"-31,12-13 0,-13 13 0,1 0 16,-1 0-16,0 0 0,0 0 15,1 0-15,-1 0 0,0 0 16,0 13-16,0-13 16,-13 13-16</inkml:trace>
  <inkml:trace contextRef="#ctx0" brushRef="#br0" timeOffset="-129092.27">9856 10742 0,'-14'13'0,"41"-13"32,13 0-17,-27 0-15,0 14 0,0-14 0,1 0 16,-1 0-16,13 0 0,-13 0 16,1-14-16,-1 14 0</inkml:trace>
  <inkml:trace contextRef="#ctx0" brushRef="#br0" timeOffset="-128456.27">10649 10583 0,'0'-13'15,"0"0"-15,0 0 16,-13-1 0,0 1-1,-13 13-15,12 0 16,-12 0-16,13 0 16,-1 13-16,1 1 0,0-14 15,0 13-15,0 0 0,13 0 16,0 1-1,26-1 1,-13-13-16,0 0 0,1 0 16,12 0-16,-13 0 0,27-13 15,-27 13-15,0 0 0,1-14 16,-1 14-16,0-13 0,0 13 16,1 0-16,-1-13 0,0 13 15,-13 13-15,13 0 16,-13 1-1,0-1-15,0 0 0,0 0 0,0 0 16,0 1-16,0 12 0,-13-13 16,13 1-16,0-1 0,0 0 0,0 0 15,0 1-15,0-1 0,0 0 16,0 0 0</inkml:trace>
  <inkml:trace contextRef="#ctx0" brushRef="#br0" timeOffset="-128083.25">11020 10570 0,'-40'27'0,"27"-27"16,13 13-16,-13 0 0,13 0 0,0 0 15,-13 1-15,26-1 0,-13 0 16,0 0-16,13 1 0,0-1 16,0-13-16,1 13 0,-1-13 15,13 0-15,-12-13 16,-1 13-16,0-13 0,-13-1 15,0 1-15,0 0 16,0-14-16,-13 14 0,0 0 0,13 0 16,-14 0-16,1-1 0,0 1 15,0 13-15,-1-13 0,14 0 0,-13 13 16,0 0-16,13-14 0,-13 14 0,0 0 16</inkml:trace>
  <inkml:trace contextRef="#ctx0" brushRef="#br0" timeOffset="-127664.77">11404 10517 0,'-27'40'0,"14"-27"16,0 27-16,-27 13 16,27-27-16,-1-13 15,14 1-15,-13 12 0,0-13 0,0 1 0,13-1 16,-13-13-16,13 13 0,-14 0 15</inkml:trace>
  <inkml:trace contextRef="#ctx0" brushRef="#br0" timeOffset="-127513.2">11165 10544 0,'-13'0'0</inkml:trace>
  <inkml:trace contextRef="#ctx0" brushRef="#br0" timeOffset="-127392.2">11536 10782 0</inkml:trace>
  <inkml:trace contextRef="#ctx0" brushRef="#br0" timeOffset="-108257.85">8546 12369 0,'0'40'31,"0"-14"-15,0 1-16,0-14 0,0 66 15,-13-65-15,13 52 16,0-40-1,-13 14-15,13-27 16,0 0-16,0 1 0,0-1 16</inkml:trace>
  <inkml:trace contextRef="#ctx0" brushRef="#br0" timeOffset="-107925.25">8506 12356 0,'66'-26'15,"-26"26"1,-27 13-16,1-13 0,-1 13 16,0-13-16,0 26 15,-13-12-15,0-1 0,-13 13 16,0-12-16,0-1 16,-1 13-16,1-12 0,0-1 0,-40 13 15,40-13-15,-14-13 16,14 14-1</inkml:trace>
  <inkml:trace contextRef="#ctx0" brushRef="#br0" timeOffset="-107599.7">9036 12224 0,'-106'132'0,"92"-92"0,-25 66 0,26-67 15,13 27 1,-14-39-16,14-1 0,0 1 0,14-14 0,-14 13 15,13-12-15,-13 12 0,26-13 16,1 14 0,12-27-1,-25 0-15,-1 0 0,13-13 16,-12-1-16,-1 1 16</inkml:trace>
  <inkml:trace contextRef="#ctx0" brushRef="#br0" timeOffset="-107125.33">9327 12488 0,'-14'14'16,"14"-1"-16,-13 0 0,0 27 16,0-27-1,13 27-15,0-27 16,0 0-16,0 0 16,0 1-16,13-1 15,0-13-15,14 13 16,-14-13-16,0 0 15,0 0-15,0 0 16,1-13-16,-1 13 16,0-13-16,0 13 15,-13-14-15</inkml:trace>
  <inkml:trace contextRef="#ctx0" brushRef="#br0" timeOffset="-106676.89">9379 12277 0,'27'0'16,"39"53"0,-39-27-16,-1 0 0,-13 1 0,14-1 15,-1 1-15,-13-1 0,27 67 16,-40-67-16,0 54 16,-13-54-16,0 1 15,-1 12-15,1-25 0,-27 39 16,27-40-16,0 0 15</inkml:trace>
  <inkml:trace contextRef="#ctx0" brushRef="#br0" timeOffset="-104455.87">9353 12515 0,'-13'0'0,"26"-13"0,-13-1 15,-13 14 16,13 14 1,-13 12-17,-1-13-15,14 0 0,-13 14 16,0-14-16,13 14 16,-13-27-16,13 13 0,0 0 0,-14-13 15,14 13-15,0 1 16,0-1-1,14 0 1,-1-13 0,13 0-16,-12 13 15,25-13 1,-26 0-16,1 0 0,-14 13 0,39-13 16,-25 0-1,-1 0 1,0 0-16,0 0 0,1 0 15,-1 0 1,0 14 0,0-14-16,-39 0 78,-1 13-78,14-13 15,0 0-15,0 0 16,-1 0-16,-12 13 16,13-13-16,-1 0 0,1 0 15,0 0 1,0-13-16,0 13 16</inkml:trace>
  <inkml:trace contextRef="#ctx0" brushRef="#br0" timeOffset="-96772.21">10782 10927 0,'26'-13'16,"-13"13"-16,14 0 0,-1 0 15,1 0-15,13 0 16,12-13-16,-12 13 0,53 0 16,-54 0-16,1 0 0,-13 0 0,-1 0 15,0 0-15,1 0 0,-14 0 16,14 0-16,-14 0 0,0 13 0,0-13 15</inkml:trace>
  <inkml:trace contextRef="#ctx0" brushRef="#br0" timeOffset="-96534.95">10835 11020 0,'145'0'15,"-118"0"-15,-1 0 0,14 0 16,26-13-16,-40 13 16,1 0-16,-14 0 0,14 0 0,-1 0 15,-13 0-15,0 0 0,1 0 0,-1 0 16,0 0-16,0 0 15,1 0-15,-1 0 0</inkml:trace>
  <inkml:trace contextRef="#ctx0" brushRef="#br0" timeOffset="-94141.61">9432 12554 0,'0'-13'0,"-13"0"46,13 0-14,0 0 15,0-1-16</inkml:trace>
  <inkml:trace contextRef="#ctx0" brushRef="#br0" timeOffset="-93245.05">9353 12475 0,'26'-26'15,"-26"12"-15,0 1 0,14 13 16,-14-13-16,0 0 16,13 13-1,-26 26 16,-1-26-15,14 13-16,-13 1 0,0 52 16,0-53-16,0 27 15,13-14 1,-14-26-16,14 13 0,0 1 0,0-1 16,-13-13-16,13 13 15,0 0 1,13 1-16,1-14 15,-1 13 1,13-13 0,-13 0-16,1 0 0,-1 13 0,0-13 15,0 0-15,1 0 0,-1 13 16,0-13-16,40 13 16,-40-13-16,0 14 15,1-14 1,-1 0-1,0 0-15,0 0 16,-39-14 47,-1 14-48,14 0-15,0 0 0,0 14 0,0-14 16,-14-14-16,14 28 0,0-14 15,-1 0-15,1 0 0,0 0 16,0 0-16,-1 0 0,1 0 0,0-14 16,0 14-1,0 0-15,-1-13 16,28 0 0,-14 0-16,13-14 15,-13 14 1,0 0-16,13 0 0,-13-1 15,0-25-15,13 25 16,-13-12-16,0 13 16,0 0-16,0-1 15,13 1-15</inkml:trace>
  <inkml:trace contextRef="#ctx0" brushRef="#br0" timeOffset="-91260.84">13917 8334 0,'53'0'15,"-40"0"-15,14 0 16,-1 0-16,14 0 0,0 0 0,12 0 16,15 0-16,-1 0 0,13 0 0,0 0 15,14 0-15,0 0 0,-1 0 16,1 0-16,13 0 0,0 0 0,-1 0 15,28 0-15,12 0 0,-12 14 0,12-14 16,-13 0-16,14 0 0,-1 13 16,-12-13-16,-1 0 0,13 0 0,-12 13 15,-1-13-15,-26 0 0,26 13 0,-39-13 16,13 14-16,-1-14 16,-12 13-16,92 0 0,-92 0 15,-14-13-15,-13 13 0,14-13 0,-27 14 16,-14-14-16,1 0 0,-13 0 15,-1 0-15,-13 13 0,0-13 0,1 0 16,-14-13-16</inkml:trace>
  <inkml:trace contextRef="#ctx0" brushRef="#br0" timeOffset="-89613.89">10478 7898 0,'0'92'0,"-14"-65"15,14-1-15,0 14 0,-13 0 0,0-14 16,13 14-16,0-27 0,-13 14 15,13-1-15,0 0 0,-14-12 0,14-1 16,0 0-16,0 0 0,0 1 16,-13-1-16,13 0 15</inkml:trace>
  <inkml:trace contextRef="#ctx0" brushRef="#br0" timeOffset="-89236.55">10411 7898 0,'67'-66'15,"-41"66"-15,14 0 0,-14 13 0,1 0 16,-1-13-16,0 27 0,1-14 0,-14 0 16,0 0-16,1 14 0,-1-14 0,-13 0 15,0 0-15,0 1 0,0-1 16,-13 13-16,-14 1 0,1-1 15,-1-13-15,1 14 0,-1-14 0,14 0 16,0 1-16,-14-14 0,14 13 16,0-13-16,0 0 0,0-13 15</inkml:trace>
  <inkml:trace contextRef="#ctx0" brushRef="#br0" timeOffset="-88788.77">11192 7752 0,'-53'27'0,"40"-1"15,-14 1-15,14-1 0,-13 14 16,-1 0-16,14 12 0,-14 1 0,14 0 0,0 0 16,-13 0-16,12 0 0,14-13 15,-13-1-15,0 1 0,13 26 16,0-53-16,0 14 0,0-14 16,13 27-16,0-27 15,1 0-15,-1-13 0,-13 13 16,13-13-16,0 0 0,0 0 0,1-13 15,-1 13-15,13-13 16</inkml:trace>
  <inkml:trace contextRef="#ctx0" brushRef="#br0" timeOffset="-88198.22">11364 8136 0,'-13'13'0,"-1"14"15,14-14-15,-13 13 16,13-12-16,0-1 0,0 0 16,0 0-16,13 14 15,1-14 1,12-13-1,-13 0-15,1-13 16,-1 13-16,13 13 16,-13 0-1,14 0 1,-14-13-16,0 0 16,27-13-1,-27 0 1,14-14-1,-27 14-15,13 0 0,-13 0 16,13 0-16,-13-1 16,0 1-16,13 0 15</inkml:trace>
  <inkml:trace contextRef="#ctx0" brushRef="#br0" timeOffset="-87874.02">11972 8043 0,'-13'53'16,"0"-40"-16,0 14 16,13-1-16,-14 1 0,1-1 0,0 1 15,0-1-15,-14 40 16,14-52-16,13-1 0,-13 0 15,13 0-15,-13 1 0,13-1 0,-14 0 16,14 0 0,0 0-16,-13-13 15</inkml:trace>
  <inkml:trace contextRef="#ctx0" brushRef="#br0" timeOffset="-87527.75">12250 8176 0,'-26'26'16,"13"-13"-16,-14 27 15,27-27-15,-13 0 16,13 1-16,-13-1 0,13 27 16,13-14-1,0-26 1,-13 13-16,40 1 16,-27-14-16,0 0 0,0 0 0,1 0 15,-1 0-15,0 0 16,0-14-16,1 14 0,-1 0 15,-13-13-15,13 13 0,-13-13 0,13 0 16</inkml:trace>
  <inkml:trace contextRef="#ctx0" brushRef="#br0" timeOffset="-87185.98">12290 7951 0,'132'132'16,"-119"-106"-16,1 14 0,-1 0 16,-13 0-16,0-1 0,-13 94 15,-1-107-15,-12 27 16,-1-13-16,14-1 0,-13-12 0,-1 12 16,1-12-16,-1-1 0,1-12 15,0 12-15,12-13 0,1-13 0,0 13 16,0-13-16</inkml:trace>
  <inkml:trace contextRef="#ctx0" brushRef="#br0" timeOffset="-85371.84">15505 8797 0,'0'-13'0,"13"40"16,-13 26 0,0-40-16,0 13 15,0 27-15,0-26 0,0-14 16,0 13-16,0-12 0,0 12 15,0-13-15,0 0 0,0 1 0,0-1 16,0 13-16,0-12 16</inkml:trace>
  <inkml:trace contextRef="#ctx0" brushRef="#br0" timeOffset="-85070.66">15518 8744 0,'92'-26'0,"-39"39"16,-39 0-1,-1 1-15,-13-1 0,13 0 16,0 14-16,-13-14 0,0 0 0,-13 0 16,13 1-16,-26-1 15,12 0-15,-12 13 0,-1 1 16,14-27-16,0 13 0,0 0 16,0-13-1</inkml:trace>
  <inkml:trace contextRef="#ctx0" brushRef="#br0" timeOffset="-83940.7">16060 8718 0,'-39'40'0,"25"-14"16,1 1-16,0 12 0,0-12 15,-14 52-15,14-52 0,13 12 16,-13-12-16,13-1 0,0 1 16,0-14-16,0 13 0,13-12 15,-13-1-15,13 13 0,0-12 16,-13-1-16,14-13 0,-1 13 0,0-13 0,0 0 16,1 0-1,-1 0-15,0 0 0,0-13 16,0 13-16,1-13 0</inkml:trace>
  <inkml:trace contextRef="#ctx0" brushRef="#br0" timeOffset="-83588.16">16312 8864 0,'0'26'31,"-14"-13"-15,14 0-16,-13 40 16,0-39-16,13-1 15,0 13-15,0-12 0,0-1 16,0 0-16,0 0 0,0 0 15,0 1-15,13-14 16,-13 13-16,13-13 16,-13 13-16,27-13 0,-14 0 15,0 0-15,0 0 0,-13-13 0,14 13 16,-1 0-16,0 0 0,0-13 16,1 13-16,-1-14 0</inkml:trace>
  <inkml:trace contextRef="#ctx0" brushRef="#br0" timeOffset="-83221.59">16470 8705 0,'66'26'15,"-39"-13"-15,-14 1 0,14 12 16,-1 1-16,-13-1 0,14 14 0,-14-14 15,-13 14-15,13-14 0,-13 27 16,-13-26-16,13 12 0,-13-12 16,-14 13-16,1-14 0,-1 1 0,-26 25 15,27-25-15,0-1 16,-1-12-16,1 12 0,-1-26 0,1 13 16,12 0-16</inkml:trace>
  <inkml:trace contextRef="#ctx0" brushRef="#br0" timeOffset="-82643.41">13348 8202 0,'53'0'0,"-26"0"15,-1 0-15,-13 13 0,1-13 16,-1 0-16,13 0 0,-13 0 16,1 0-16</inkml:trace>
  <inkml:trace contextRef="#ctx0" brushRef="#br0" timeOffset="-82485.62">13414 8401 0,'14'13'0,"-1"-13"0,0 0 15,0 0-15,1 0 0,-1 0 0,13 0 0</inkml:trace>
  <inkml:trace contextRef="#ctx0" brushRef="#br0" timeOffset="-81745.73">12197 8678 0,'0'106'0,"14"-53"0,-1 0 16,0-27-16,0 14 15,0-13-15,14-1 0,-1 1 0,1-1 16,-1 0-16,14-12 0,0 12 16,13 1-16,66 12 15,-66-25-15,13-1 0,13 0 0,-13 0 16,14 0-16,-1 1 0,0-1 0,1 0 16,12 0-16,-12 1 0,184 25 15,-184-26-15,12-13 16,-12 14-16,-14-1 0,13-13 15,1 13-15,-14-13 0,0 13 0,40 1 16,-67-14-16,1 0 0,0 0 16,-27 0-16,13 0 0,1 0 15,-14 0-15,0 0 0,1 0 0</inkml:trace>
  <inkml:trace contextRef="#ctx0" brushRef="#br0" timeOffset="-81288.74">14486 9247 0,'145'93'0,"-118"-80"0,-14 27 16,0-14-16,-13-13 0,14 14 16,-28-14-16,14 14 0,-13-1 0,0 0 15,-14 14-15,1-13 0,-14-1 16,1 14-16,-41 13 0,27-27 15,14 1-15,-14-1 0</inkml:trace>
  <inkml:trace contextRef="#ctx0" brushRef="#br0" timeOffset="-78985.62">14182 7858 0,'13'53'0,"-13"-40"16,-13 14-16,13-14 0,0 13 15,0-12-15,0 12 0,0 14 16,0-27-16,-14 13 0,14-12 16,0-1-16,0 0 0,0 0 15,0 1-15</inkml:trace>
  <inkml:trace contextRef="#ctx0" brushRef="#br0" timeOffset="-78675.74">14142 7818 0,'93'-26'15,"-80"26"-15,27 40 16,-27-1 0,-13-25-16,0-1 0,-13 40 15,13-40 1,-14 0-16,1 0 0,0 1 0,-14 12 16,14-13-16,0-13 15,0 14-15,-1-1 16,1-13-16</inkml:trace>
  <inkml:trace contextRef="#ctx0" brushRef="#br0" timeOffset="-78361.79">14579 7673 0,'-40'40'15,"27"-27"-15,-40 93 16,26-80-16,14 14 16,0 0-16,-14 26 0,14-27 0,0 1 15,13-14-15,-13-12 0,13 12 16,0-13-16,13 14 0,-13-14 0,0 0 15,13 1-15,0-14 0,-13 13 0,14-13 16,-1 13-16,0-13 0,0 0 16,0 0-16,1 0 0,-1 0 15,0 0-15,0-13 0,1 13 0,-1 0 16</inkml:trace>
  <inkml:trace contextRef="#ctx0" brushRef="#br0" timeOffset="-77945.59">14764 7911 0,'13'0'0,"-26"27"16,0-14 0,-1 0-16,1 13 0,13-12 0,-13-1 15,13 0-15,-13 0 0,13 14 16,-14-14-16,14 13 0,0-12 15,0-1-15,0 0 0,0 0 16,14 1-16,-1-1 16,0-13-16,0 13 15,1-13-15,-1 0 16,0 0-16,0 0 16,0 0-16,-13-13 0,14 13 0,-1 0 15,0 0-15,-13-13 0</inkml:trace>
  <inkml:trace contextRef="#ctx0" brushRef="#br0" timeOffset="-77481.54">14989 7951 0,'13'13'31,"-13"0"-31,0 0 0,0 27 16,0 0-1,0-14-15,-13 1 16,13-1-16,0-13 0,0 1 16,0-1-16,13-13 0,-13 13 0,0 0 15,0 1-15,0-1 16</inkml:trace>
  <inkml:trace contextRef="#ctx0" brushRef="#br0" timeOffset="-76824.77">15214 8070 0,'0'-13'16,"-14"39"46,14-13-62,0 0 16,14 1 0,-14-1-1,13-13-15,0 0 0,0 0 16,0 0-16,27-27 31,-27 27-31,1-13 16,-1 13-1,0 13-15,-13 1 16,13-14-16,-13 13 16,14-13-16,-1 13 15,0-13 1,13 0-1,-12-13-15,-1 0 16,0-1 0,-13 1-1,0 0 1,0 0 0,-13 0-1</inkml:trace>
  <inkml:trace contextRef="#ctx0" brushRef="#br0" timeOffset="-75668.28">15452 7818 0,'26'0'0,"-13"0"15,1 14-15,-1-14 0,13 13 0,1 13 16,-1-12-16,1 12 16,-1 1-16,-13-1 0,27 27 15,-40-27-15,13 1 0,-13-1 0,0 1 16,0-1-16,0 1 0,-26 26 16,13-27-16,-1 0 0,1 1 15,0-14-15,-14 0 0,27 1 16,-13-1-16,0-13 0,13 13 15,-13-13-15</inkml:trace>
  <inkml:trace contextRef="#ctx0" brushRef="#br0" timeOffset="-75196.55">16378 7818 0,'0'-13'0,"0"40"31,0-14-31,0 0 0,0 0 0,0 1 16,0 12-16,0 14 16,-14-27-16,14 13 0,0-12 0,0-1 15,0 0-15,0 14 0,0-14 16,0 0-16,0 0 16,0 0-16,0 1 15</inkml:trace>
  <inkml:trace contextRef="#ctx0" brushRef="#br0" timeOffset="-74856.17">16364 7871 0,'40'-66'15,"-27"66"-15,1 0 16,-1 0-16,0 0 0,14 13 16,-1 1-16,0 12 15,-26-13-15,0 1 0,14-1 16,-28 0-16,14 0 0,-13 14 15,0-27-15,0 13 0,-14 0 16,27 0 0,-26-13-16,13 0 0,13 14 15,-14-14-15</inkml:trace>
  <inkml:trace contextRef="#ctx0" brushRef="#br0" timeOffset="-74503.43">16828 7779 0,'-80'79'16,"54"1"-16,12-54 0,14 0 16,-13-12-16,13 12 0,0-13 15,13 27-15,-13-14 16,27 14-16,-14-27 15,0-13-15,27 14 16,-27-14 0,1 0-16,12-14 0</inkml:trace>
  <inkml:trace contextRef="#ctx0" brushRef="#br0" timeOffset="-73895.55">16973 7951 0,'0'-13'16,"-13"39"-1,0-26 1,13 13-16,0 0 15,0 14 1,13-27 0,-13 13-16,13-13 0,0 0 15,14 0 1,-14 0-16,0 0 31,0 0-31,1 0 0,-14 13 16,13-13-16,0 0 15,0 14-15,1-14 16,-1 0 0,0 0-16,0 0 15,0-14-15,14 1 16,-27 0-16,13 0 16,0-1-16,-13 1 15,14 0 1,-14 0-16,-14 0 15</inkml:trace>
  <inkml:trace contextRef="#ctx0" brushRef="#br0" timeOffset="-73590.34">17291 7580 0,'132'80'16,"-106"-54"-1,1 14-15,-1-14 0,14 80 16,-14-40-1,-26-52-15,0 12 0,-26 27 16,13-13-16,-27 12 16,-53 15-16,40-41 15,14 1-15,12-27 16,-12 13-16,-14-13 16,26 0-16</inkml:trace>
  <inkml:trace contextRef="#ctx0" brushRef="#br0" timeOffset="-68978.37">15240 8043 0,'0'14'141,"-13"-1"-110,13 0-31,0 0 16,0 0-16,13 1 31,0-1-16,0-13-15,27-13 32,-27 13-32,1-14 15,-1 14-15,0-13 16,0 13-16,1-13 16,-1 13 15,0 0-16,-13 13-15,13 0 32,0 1-17,1-14 1,-1 0-16,-13 13 16,13-13-16,0 0 15,1-13 1,-1 13-1,-13-14-15,13 1 32,0 0-17,1 13 1</inkml:trace>
  <inkml:trace contextRef="#ctx0" brushRef="#br0" timeOffset="-66800.4">13824 10888 0,'27'0'15,"26"0"1,0 13 0,-27-13-16,1 0 15,-14 0-15,0 0 16,0 0-16,1 0 0,-1 0 0</inkml:trace>
  <inkml:trace contextRef="#ctx0" brushRef="#br0" timeOffset="-66613.22">13824 11046 0,'14'0'15,"25"0"-15,-25 0 0,12 0 16,14 0-16,-27 0 16,0 0-16,27 0 15,13 0-15,-40 0 16</inkml:trace>
  <inkml:trace contextRef="#ctx0" brushRef="#br0" timeOffset="-63298.59">15769 10861 0,'0'-26'16,"-13"26"-16,13-14 15,-27 28 1,14-1-16,0 0 16,13 0-16,-13 1 0,13-1 15,-13 0-15,13 0 0,0 1 0,0-1 16,0 0-16,0 0 0,13 14 16,-13-14-16,13 0 0,0-13 15,0 13-15,1-13 0,-1 0 0,0 0 16,27 0-16,-27 0 15,0-13-15,1 13 0,-14-13 0,13 0 16,0-1-16,-13 1 0,0 0 16,0 0-16,0 0 0,0-1 15,0 1-15,0-13 0,-13-14 16,0 40-16,13-13 0,-14 13 16,1-14-16,-13 14 15,12 14-15,1-1 16,0-13-16,13 13 0,-13 0 15</inkml:trace>
  <inkml:trace contextRef="#ctx0" brushRef="#br0" timeOffset="-63156.34">15994 10967 0</inkml:trace>
  <inkml:trace contextRef="#ctx0" brushRef="#br0" timeOffset="-62774.55">16312 10901 0,'-27'-13'0,"1"13"16,-1 0-16,14 0 0,0 13 16,-1-13-16,-12 13 15,0 0-15,12 1 16,14-1-16,14 0 15,25-26 1,-26 13-16,1 0 16,-1 0-16,0 0 0,0 0 15,1 0 1,-1 13-16,-13 0 0,13-13 16,-13 13-16,0 1 0,-13-14 15,13 13-15,0 0 0,0 0 16,0 1-16,0 12 15,13-26-15,-13 13 16,13-13-16</inkml:trace>
  <inkml:trace contextRef="#ctx0" brushRef="#br0" timeOffset="-61589.17">16828 10901 0,'-67'66'0,"41"-26"16,-14-14-16,1 27 15,25-40-15,14 0 16,-13 1-16,0-14 0,0 13 16,13 0-16</inkml:trace>
  <inkml:trace contextRef="#ctx0" brushRef="#br0" timeOffset="-61380.57">16576 10941 0,'13'0'0,"1"13"0,12 13 15,-13-26-15,1 13 0,-14 1 16,39 12-1,-26-13-15,14 14 0,-14-27 0,0 13 16,1 0-16,-1-13 0,13 27 16,-12-27-16,-1 13 0,0-13 15</inkml:trace>
  <inkml:trace contextRef="#ctx0" brushRef="#br0" timeOffset="-60510.34">17304 10954 0,'-13'26'32,"13"-13"-32,-14 27 15,14-13 1,0-14-16,0 13 0,0-13 15,14 14-15,-1-14 16,-13 0-16,13-13 0,13 14 16,-12-14-16,-1 0 15,0 0-15,-13-14 16,13 14-16,-13-13 0,0 0 16,14 0-16,-14-14 0,0 14 0,0 0 15,0-14-15,0 14 16,-14 0-16,14 0 0,0-14 15,-13 14-15,0 13 16,13-13-16,-13 13 16</inkml:trace>
  <inkml:trace contextRef="#ctx0" brushRef="#br0" timeOffset="-60318.3">17608 11007 0</inkml:trace>
  <inkml:trace contextRef="#ctx0" brushRef="#br0" timeOffset="-59907.25">17899 10941 0,'-53'13'16,"13"0"-1,27-13-15,-13 13 0,-1 0 16,27 1-16,14-1 31,-1 0-31,13 14 16,-13-14-16,1 0 0,-1-13 15,-13 13-15,13-13 0,-13 13 16,0 1-16,-13-1 16,0-13-16,-14 13 0,14 0 15,-119 14 1,66-14-16,39 0 0,1-13 15,-14 0-15,-13 14 16</inkml:trace>
  <inkml:trace contextRef="#ctx0" brushRef="#br0" timeOffset="-59069.26">14883 11509 0,'92'0'16,"-39"0"-16,53 0 15,-26 0-15,92 0 0,-80 0 16,1 0-16,13 0 16,145 0-16,-119 14 0,14-14 0,158 13 15,159 0 1,-304-13-16,502 13 16,-502-13-1,172 0-15,-173 0 0,133 0 16,-158 0-16,-27 0 15,-14 0-15,-12 0 0,-1 0 0,93 0 16,-132 0-16,-14 0 16,1 0-16,-1-13 15,0 13-15,-12 0 16,-14-13-16,13 13 0,-13-13 16,-13 13-1</inkml:trace>
  <inkml:trace contextRef="#ctx0" brushRef="#br0" timeOffset="-53751.32">9803 12634 0,'264'-40'15,"-237"40"-15,13 0 16,-14 0-1,-13 0-15,0 0 0,14 0 16,-14-13 0</inkml:trace>
  <inkml:trace contextRef="#ctx0" brushRef="#br0" timeOffset="-53363.05">9935 12793 0,'93'-14'16,"-80"14"-1,27 0-15,-27 0 16,0-13-16,27 13 0,-27 0 15,0 0-15,14-13 16,-14 13-16,0 0 0,0-13 16,1 13-16,-1 0 15,0-14-15,0 14 16</inkml:trace>
  <inkml:trace contextRef="#ctx0" brushRef="#br0" timeOffset="-47195.21">15174 11708 0,'0'66'16,"0"-53"-16,0 0 0,0 1 0,0-1 15,0 13-15,0 1 0,0-1 16,0-13-16,0 1 16,0-1-16,0 0 0,0 0 15,0 1-15,-13-14 0</inkml:trace>
  <inkml:trace contextRef="#ctx0" brushRef="#br0" timeOffset="-46858.81">15147 11721 0,'80'0'16,"-67"0"-16,0 13 15,14 1-15,-14 12 16,0 0-16,-13-12 15,-13 12 1,0-13-16,-1 1 0,1-1 16,0-13-16,0 13 0,0-13 15,-1 0 1</inkml:trace>
  <inkml:trace contextRef="#ctx0" brushRef="#br0" timeOffset="-45138.23">15505 11681 0,'-40'67'16,"27"-54"-1,-14 79-15,14-65 16,13-14 0,0 0-16,0 0 0,0 1 0,0-1 15,0 0-15,0 0 0,13-13 0,-13 14 16,0-1-16,0 0 15,13 0-15,1-13 0,-1 0 16,0 0 0</inkml:trace>
  <inkml:trace contextRef="#ctx0" brushRef="#br0" timeOffset="-44748.46">15637 11840 0,'0'40'16,"-13"-27"0,13 0-16,-14 0 15,14 1-15,0-1 16,0 0 0,0 0-16,14 1 15,-1-14 1,0 0-16,-13 13 15,13-13-15,1 0 0,-1 13 32,0-13-32</inkml:trace>
  <inkml:trace contextRef="#ctx0" brushRef="#br0" timeOffset="-44483.8">15849 11827 0,'0'13'16,"0"14"-1,0-14 1,0 0-16,-14 27 16,14-27-16,0 13 15,14 1 1,-14-14-16</inkml:trace>
  <inkml:trace contextRef="#ctx0" brushRef="#br0" timeOffset="-43638.73">16021 11933 0,'0'-14'16,"-14"28"15,14-1-16,0 0-15,0 0 16,0 1 0,14-14-1,-1 0 1,13 0-16,-13 0 16,1-14-16,-1 14 15,0 0-15,0 0 16,1 0-16,-1 14 15,0-14 1,0 13 0,0-13-16,1 0 15,-1-13 1,0 13-16,0 0 0,-13-14 16,14 1-16,-1 0 15,-13-14 1,0 14 15</inkml:trace>
  <inkml:trace contextRef="#ctx0" brushRef="#br0" timeOffset="-42618.24">16285 11734 0,'40'0'15,"-27"0"1,0 14-16,0-1 0,-13 0 16,27 40-16,-14-27 15,-13-12-15,0 12 0,0-13 0,0 14 16,-13 12-1,0-12-15,-1-14 0,-12 27 16,0-14-16,12-13 0,1 1 16,0-1-16,0 0 15</inkml:trace>
  <inkml:trace contextRef="#ctx0" brushRef="#br0" timeOffset="-42113.12">16748 11827 0,'-13'26'15,"13"-12"-15,-13-1 16,13 13-1,-14-13-15,14 14 0,0-14 16,0 0-16,0 1 0,-13-14 16,13 13-16,0 0 15</inkml:trace>
  <inkml:trace contextRef="#ctx0" brushRef="#br0" timeOffset="-41837.07">16735 11761 0,'26'-27'15,"-52"54"-15,79-40 16,-53 26-16,13 0 0,-13 0 15,0 0-15,0 1 16,0 12-16,-13-13 0,13 1 16,-13-1-16,-1 0 15,-12 0 1,13 0 0</inkml:trace>
  <inkml:trace contextRef="#ctx0" brushRef="#br0" timeOffset="-41567.17">16960 11761 0,'-27'39'0,"14"-25"15,0-1-15,13 27 0,-13-27 16,13 0-16,-14 0 0,14 0 16,0 1-16,0 12 0,14-13 15,-14 1-15,13-1 16,0 0-16,0 0 16,1-13-1,-1 0-15</inkml:trace>
  <inkml:trace contextRef="#ctx0" brushRef="#br0" timeOffset="-40972.15">17105 11919 0,'-13'27'78,"13"-14"-62,0 0-1,13-13 1,1 14 0,-1-14-1,13-14 1,-13 14-16,1 0 15,-1 0 1,0 0 0,-13 14-16,13-14 0,1 13 31,-1-13-31,0 13 16,14-26-1,-14 0 16,0-1-31,-13 1 0,13 0 16,-13 0 0,-13-1 15</inkml:trace>
  <inkml:trace contextRef="#ctx0" brushRef="#br0" timeOffset="-40700.7">17357 11734 0,'39'27'16,"-25"-14"-16,25 27 15,-26-14-15,-13-13 16,14 14-16,-1 12 0,-13-25 16,0 12-16,0-13 0,0 1 0,-13-1 15,-1 13-15,14-12 0,-26 12 16,13-13-16,0-13 0,-1 13 0,14 1 16,-13-14-16,0 13 15</inkml:trace>
  <inkml:trace contextRef="#ctx0" brushRef="#br0" timeOffset="-39400.09">17886 11880 0,'-13'13'32,"13"0"-32,-14 0 0,14 1 15,0-1-15,0 0 0,-13 14 16,13-14-16,0 0 0,-13 0 0,13 1 15,0-1-15,0 0 16,0 0-16</inkml:trace>
  <inkml:trace contextRef="#ctx0" brushRef="#br0" timeOffset="-39191.02">17754 11946 0,'13'0'31,"0"0"-31,0 0 0,0 0 16,14 0-16,-1 0 0,-12 0 0,12 0 15,14 0-15,-14 0 0,1 13 16,-1-13-16</inkml:trace>
  <inkml:trace contextRef="#ctx0" brushRef="#br0" timeOffset="-38585.06">18441 11827 0,'0'26'0,"0"-12"16,0 25-16,-13-26 0,13 1 16,0-1-16,0 13 0,0-12 15,0-1-15,-13 0 0,13 14 16,13-14-16,-13 0 0,0 0 16</inkml:trace>
  <inkml:trace contextRef="#ctx0" brushRef="#br0" timeOffset="-38272">18415 11761 0,'53'13'15,"-27"13"1,-26-12-16,0 12 16,0-13-16,-13 1 0,13-1 15,-13 0-15,13 0 0,-13 0 16,-1-13-16,14 14 0,-13-14 0,0 13 15,0 0-15,0-13 16</inkml:trace>
  <inkml:trace contextRef="#ctx0" brushRef="#br0" timeOffset="-37995.1">18680 11774 0,'-27'40'16,"14"-27"-16,0 0 0,-1 14 16,14-14-16,-13 13 0,13-13 15,0 1-15,-13-1 0,26 0 16,-13 14-16,0-14 15,13 13-15,1-12 16,-14-1-16,13-13 0,13 13 0,-12 0 16,-1-13-16,0 0 15,0 0-15,0 0 0</inkml:trace>
  <inkml:trace contextRef="#ctx0" brushRef="#br0" timeOffset="-37633.19">18878 11880 0,'0'-13'15,"-13"39"-15,0 0 16,-1 1 0,14-14-16,-13 0 0,13 1 15,-13-1-15,13 0 16,0 0 0,0 1-16,13-14 15,0 0-15,1 0 0,12 0 16,-13 0-16,0 0 15,14 0-15,-14 0 0,0 0 16,27 0-16,-27 0 0,14 0 16,-14-14-16</inkml:trace>
  <inkml:trace contextRef="#ctx0" brushRef="#br0" timeOffset="-37144.03">19143 11880 0,'-14'39'31,"14"-25"-15,0-1-16,-13 0 15,13 0-15,0 1 0,0-1 16,0 0-16,0 0 0,0 14 15,0-14-15,13 0 16,1-13 0</inkml:trace>
  <inkml:trace contextRef="#ctx0" brushRef="#br0" timeOffset="-36628.07">19275 12039 0,'0'-14'63,"0"1"-48,0 0-15,13 0 16,-13-1 0,13 28 30,-13-1-30,14-13-16,-14 13 16,13-13-16,0 0 15,0 0 1,1 0-16,-1 0 16,0 0-1,0 13 1,-13 1-1,13-14-15,-13 13 16</inkml:trace>
  <inkml:trace contextRef="#ctx0" brushRef="#br0" timeOffset="-36376.92">19460 11761 0,'53'39'16,"-40"-12"-16,14-1 15,-1 14-15,-13 0 16,-13-27-16,0 13 0,14-12 15,-28-1-15,1 27 16,0-1-16,0-26 0,-1 1 16,1 12-16,0-13 0,13 1 15</inkml:trace>
  <inkml:trace contextRef="#ctx0" brushRef="#br0" timeOffset="-35478.86">19883 11827 0,'0'26'31,"0"-12"-31,0-1 0,0 13 15,0-13-15,0 1 16,0 12-16,0 1 16,0-14-16,0 0 15,0 0 1</inkml:trace>
  <inkml:trace contextRef="#ctx0" brushRef="#br0" timeOffset="-35127.84">19897 11827 0,'13'-27'0,"0"14"32,40 26-17,-40 1-15,0-14 16,-13 13-16,14 0 0,-1 0 16,-13 1-16,0-1 15,-13 13 1,-1-26-16,1 13 0,0-13 15,0 0-15,13 14 16,-13-14-16,-1 0 0,1 0 16</inkml:trace>
  <inkml:trace contextRef="#ctx0" brushRef="#br0" timeOffset="-34884.67">20201 11668 0,'-27'13'15,"27"1"-15,-13-1 0,13 0 0,-13 27 16,13-27-16,-13 0 16,13 14-16,0-14 0,0 0 15,0 0-15,13 27 0,0-14 16,-13-12-16,13-14 15,1 13-15,12 0 0,-13-13 16,14 0-16,-1 13 0,-12-13 0,-1 0 16,0 0-16</inkml:trace>
  <inkml:trace contextRef="#ctx0" brushRef="#br0" timeOffset="-34228.17">20399 11800 0,'-13'27'32,"13"-14"-32,0 0 0,0 1 15,0-1 1,0 0-1,27-39 17,-14 12-17,0 1-15,-13 0 16,13 0 0,-13-1-16,14 14 15,-1 14 16,-13-1-15,0 0-16,0 0 16,13-13-1,0 0 1,0 0-16,1-13 0,-1 13 16,0 0-16,0-13 15,1 13-15,-1 13 16,-13 0-1,13-13-15,0 14 16,-13-1-16,0 0 16,14-13-16,-14 13 15,13-13-15,0 0 16</inkml:trace>
  <inkml:trace contextRef="#ctx0" brushRef="#br0" timeOffset="-33940.08">20743 11496 0,'133'185'16,"-133"-158"0,13-1-16,0 1 0,-13-1 0,0 1 0,0-14 15,0 13-15,-40 54 16,14-54-16,-1 1 16,14-14-16,-13 13 0,-1-12 0,-12 12 15,12-26-15,1 13 16,13-13-16</inkml:trace>
  <inkml:trace contextRef="#ctx0" brushRef="#br0" timeOffset="-32651.03">13057 5583 0,'0'26'16,"-13"14"0,13-14-16,0 14 0,0-27 15,-13 14-15,13-14 0,0 27 16,0-14-16,0 1 15,0-14-15,0 0 0,0 0 16</inkml:trace>
  <inkml:trace contextRef="#ctx0" brushRef="#br0" timeOffset="-32348.12">12991 5464 0,'119'0'16,"-119"13"-1,27 0-15,-27 0 0,13 14 16,-13-1-16,-13 1 15,13-14-15,-27 27 16,1-27 0,12 0-16,1 0 0,0-13 15,0 14 1</inkml:trace>
  <inkml:trace contextRef="#ctx0" brushRef="#br0" timeOffset="-31273.16">13481 5821 0,'13'-27'32,"0"14"-17,-13 0-15,13 0 0,-13-1 16,0 1-16,13 0 15,-13-13-15,14 12 0,-14 1 16,13 0 0,-13 0-16,13 26 47,-13 0-47,13-13 0,1 0 15,12 0 1,-13-13-1,0 0-15,1-1 0,-1 14 16,0-13-16,0 13 0,1 0 31,-1 0-15,-13 13-16,13 1 16,-13-1-16,0 0 0,0 0 15,13-13-15,-13 27 16,0-14-1,0 0 1,-13-13-16</inkml:trace>
  <inkml:trace contextRef="#ctx0" brushRef="#br0" timeOffset="-30981.04">13401 5450 0,'-119'159'0,"106"-132"0,0 12 16,-1 1-16,14-14 15,0 27-15,14-26 16,-1-14-16,27 14 0,-14-14 16,0 0-16,14 0 15,-13-13-15,26 0 0,13 0 16</inkml:trace>
  <inkml:trace contextRef="#ctx0" brushRef="#br0" timeOffset="-30638.02">13904 5384 0,'79'66'15,"-52"-39"-15,-1 26 16,1 13 0,-14-26-16,-13 13 15,0-14-15,-13-12 16,13-1-16,-27 14 0,14-27 15,0 0-15,-1 1 0,-12 12 16,0-13 0,12-13-16</inkml:trace>
  <inkml:trace contextRef="#ctx0" brushRef="#br0" timeOffset="-29647.22">14380 5715 0,'106'-26'16,"-93"12"-16,106 1 31</inkml:trace>
  <inkml:trace contextRef="#ctx0" brushRef="#br0" timeOffset="-29511.55">14486 5821 0,'93'-13'16,"-80"-1"-16,13 14 0</inkml:trace>
  <inkml:trace contextRef="#ctx0" brushRef="#br0" timeOffset="-25623">15015 5543 0,'27'-13'0,"-14"13"0,13-13 16,-13 13-16,1 0 16,-1 0-16,0-14 0,0 14 15,1 0-15,-54 14 32,13-1-32,14-13 15,0 0-15,-13 13 0,12-13 16,-12 13-16,13-13 15,13 13-15,-14-13 0,14 14 16,14-14 0,-14 13-16,13-13 0,0 13 15,27 0-15,-27 1 0,0-14 16,0 13-16,1 0 0,-1 0 16,-13 1-1,0-1-15,-13 0 16,-1-13-16,1 13 15,-13 0-15,-1-13 0,14 14 16,0-14-16,0 0 0,-1 0 16</inkml:trace>
  <inkml:trace contextRef="#ctx0" brushRef="#br0" timeOffset="-25321.96">15200 5609 0,'-39'40'16,"65"0"15,-13-40-31,1 13 0,-1-13 16,0 0-16,13 0 0,-12 0 15,12-13-15,-13 13 0,1 0 16,-1-14-16,-13 1 0,0 0 15,0 0 1,-13 13-16,-1-14 16,1 14-16,-13-13 0,12 13 15,-12 0-15,0 0 0,12 0 16,1-13-16,0 26 16,0 0-1</inkml:trace>
  <inkml:trace contextRef="#ctx0" brushRef="#br0" timeOffset="-25117.74">15743 5490 0,'-27'27'15,"27"-14"-15,-26 13 0,13 14 16,-14 0-16,14-27 16,0 0-16,-1 0 0,14 14 15,-26-1-15</inkml:trace>
  <inkml:trace contextRef="#ctx0" brushRef="#br0" timeOffset="-24963.24">15412 5622 0,'13'-13'16,"-26"26"-16,39-39 16,-12 26-16</inkml:trace>
  <inkml:trace contextRef="#ctx0" brushRef="#br0" timeOffset="-24818.9">15994 5728 0,'0'-13'16</inkml:trace>
  <inkml:trace contextRef="#ctx0" brushRef="#br0" timeOffset="-21467.22">15888 12118 0,'0'13'15,"-13"-13"95</inkml:trace>
  <inkml:trace contextRef="#ctx0" brushRef="#br0" timeOffset="-20768.62">16986 12224 0</inkml:trace>
  <inkml:trace contextRef="#ctx0" brushRef="#br0" timeOffset="-19401.73">18838 12197 0,'53'0'16,"-26"0"-16,-1 0 16,1 0-16,-14 0 0,0-13 15,27 13-15,-14 0 16,-13 0-16,1 0 0,-1 0 15,0 13-15,0-13 16</inkml:trace>
  <inkml:trace contextRef="#ctx0" brushRef="#br0" timeOffset="-18843.92">18838 12303 0,'14'0'0,"-1"0"15,13 0-15,-13 0 0,27 0 16,-27 0 0,1 0-16,-1 0 0,13 0 15,-12 0-15,-1 0 16,0 0-16,0 0 0,0 0 15,1 0-15,-1 0 16,0 0 15</inkml:trace>
  <inkml:trace contextRef="#ctx0" brushRef="#br0" timeOffset="-17655.58">19143 11946 0,'0'-27'32,"13"14"-32,0-66 31,0 66-16,-13-1 1,-13 41 0,13-14-1,0 0-15,0 1 0,-13 38 16,0-12-16,-1-27 16,14 14-16,0-14 0,-13 0 0,13 1 15,-13 12-15,13-13 16,-13 0-16,26 1 31</inkml:trace>
  <inkml:trace contextRef="#ctx0" brushRef="#br0" timeOffset="-16927.77">19315 11999 0,'0'-13'16,"-14"26"0,1 0-16,13 0 15,-13 1 1,0-1-1,13 0-15,0 0 16,0-26 47,13 0-48,0 0-15,-13-1 16,13 14-16,-13-13 15,14 0-15,-1 0 32,0 26-17,0-13 1,-13 13 0,14-13-1,-1 0-15,0 0 16,0 0-16,0 0 15,1 0-15,-1 0 16,0 0 0,0 13-1,1-13 1,-1 14 15,-13-1-31,0 0 16</inkml:trace>
  <inkml:trace contextRef="#ctx0" brushRef="#br0" timeOffset="-13607.12">13838 13229 0,'79'-26'15,"-52"26"1,-14 0-16,0 0 16,0 0-16,27 0 15,-27 0-15,0 13 16</inkml:trace>
  <inkml:trace contextRef="#ctx0" brushRef="#br0" timeOffset="-13417">13851 13375 0,'40'0'16,"-27"0"-16,0 0 0,14-14 0,-14 14 15,0 0-15,13 0 16,-12-13-16,-1 13 0,0 0 15,14-13-15,-14 13 0</inkml:trace>
  <inkml:trace contextRef="#ctx0" brushRef="#br0" timeOffset="-11660.11">15584 13057 0,'0'-26'16,"-13"13"-1,0 26 1,13 0 0,-14-13-16,14 13 0,0 0 15,0 1-15,0 12 16,0-13-16,0 1 0,40 25 16,-27-26-1,0-13-15,1 0 0,-1 0 16,0 0-16,0 0 0,1 0 15,12-13-15,-13 13 0,0-13 16,1 0-16,-14 0 16,13 13-16,-13-14 0,0 1 0,-13 0 15,13 0-15,-14-1 0,14 1 16,-13 0-16,0 0 16,13 0-16,-13 13 0,0-14 0,-1 14 15,1 0-15,0 0 16,0 0-1,-1 0 1</inkml:trace>
  <inkml:trace contextRef="#ctx0" brushRef="#br0" timeOffset="-11506.92">15835 13057 0,'0'13'16</inkml:trace>
  <inkml:trace contextRef="#ctx0" brushRef="#br0" timeOffset="-11047.77">16192 12965 0,'-13'-14'0,"0"14"0,0 0 0,52 14 16,-105-14-16,53 0 0,0 0 16,0 13-16,-1-13 0,1 13 15,0-13-15,0 13 0,0 1 0,-1-14 16,14 13-16,-13-13 0,13 13 16,0 0-16,13-13 0,1 0 15,-1 0-15,0 0 16,0 0-16,14 0 0,-14-13 15,0 13-15,0 0 0,14 0 16,-14 0 0,0 0-16,0 13 15,-13 0 1,0 14 0,0-14-16,0 0 15,0 14-15,14-27 0,-14 13 16,13 0-1</inkml:trace>
  <inkml:trace contextRef="#ctx0" brushRef="#br0" timeOffset="-10655.59">16775 12951 0,'-14'27'16,"1"-1"-16,0 1 15,0-14-15,-1 27 0,-12 13 16,0-1-1,12-25-15,14-14 0,-13 0 16</inkml:trace>
  <inkml:trace contextRef="#ctx0" brushRef="#br0" timeOffset="-10446.92">16603 13097 0,'39'13'15,"-39"0"1,14 1-16,-1-14 0,-13 13 16,26 0-16,1 0 15,-14-13-15,0 13 0,0-13 0</inkml:trace>
  <inkml:trace contextRef="#ctx0" brushRef="#br0" timeOffset="-10059.06">17092 12978 0,'-13'-13'15,"26"26"-15,-39-13 16,12 13-16,14 0 16,-13 1-16,13 12 15,0-13-15,0 0 16,13 27-16,1-40 16,-1 13-16,13 1 0,-12-1 15,12-13-15,-13 0 16,0 0-16,1-13 0,-1 13 15,-13-14-15,13 1 16,-13 0-16,-13 0 16,13-1-16,-13-12 0,-1 26 15,14-13-15,-13 13 0,0-13 16,0 13-16,0-14 0,-1 14 16,1 0-16,0 0 15</inkml:trace>
  <inkml:trace contextRef="#ctx0" brushRef="#br0" timeOffset="-9785.84">17423 13057 0,'0'13'0</inkml:trace>
  <inkml:trace contextRef="#ctx0" brushRef="#br0" timeOffset="-9386.77">17793 12925 0,'-26'0'16,"-14"0"-16,-13 13 16,40-13-16,-27 27 15,14-27-15,13 13 16,-1 0-16,1-13 15,13 13-15,13 1 16,1-1 0,-1-13-16,13 13 15,-13 0-15,1 0 16,-1 1-16,-13-1 16,0 0-16,-13-13 15,13 13-15,-27 14 16,14-27-16,-13 13 0,12 0 15,-12 0-15,13 1 0,-27-1 0,13 0 16,-12 0 0,26-13-16,-1 0 0</inkml:trace>
  <inkml:trace contextRef="#ctx0" brushRef="#br0" timeOffset="-8450.99">14684 13520 0,'80'13'15,"-67"-13"-15,40 0 16,66 0-16,-66 0 16,0 0-16,53-13 15,92 0-15,-39 0 16,-80 0-16,80-1 15,92 1 1,-66-13-16,-92 26 0,-14-14 16,14 1-16,79 0 15,-79 0-15,79-1 0,0 1 16,0 0-16,-93 0 16,14 13-16,65-13 15,1-1-15,-13 1 16,-67 13-16,67-13 15,-94 13-15,28 0 16,198-13 0,-225 13-16,-1 0 0,41-14 15,-40 14-15,106 0 16,-120-13 0,14 13-16,-13 0 15,-14 0-15,1 0 16,-1 0-16,-12 0 0,-1 0 15,0-13 1,0 13 0,1 0-16,-41 13 47,14-13-32,0 13-15,-14-13 0</inkml:trace>
  <inkml:trace contextRef="#ctx0" brushRef="#br0" timeOffset="-4306.83">15319 13772 0,'0'-14'16,"-13"41"30,0-1-30,13-13-16,13 1 16,-13-1-16,0 0 15,13 0-15,-13 1 0,14-14 0,-14 13 16,13-13-16,0 0 0,-13 13 16,13-13-16,1 0 0,-1 0 15,0-13-15,0 13 16,-13-13-16,13-1 15,-13-12-15,0 13 16,-13-1-16,13-12 0,-13 13 16,0-14-16,13 14 15,-13 0-15,13 0 0,-14 13 16,14-14-16,-13 14 0,0 0 16,0 0-1,13 14 1</inkml:trace>
  <inkml:trace contextRef="#ctx0" brushRef="#br0" timeOffset="-4134.77">15558 13785 0,'0'-13'16</inkml:trace>
  <inkml:trace contextRef="#ctx0" brushRef="#br0" timeOffset="-3519.77">15888 13798 0,'-26'-40'15,"-1"40"1,14 0 0,0 0-16,0 14 15,-1-14-15,1 13 0,0 0 16,0 0 0,13 0-16,-14 1 15,28-1-15,-1-13 16,13 0-1,14-13 1,-40-1-16,13 14 0,1-13 16,-1 26-1,-13 1 1,0 12 0,0-13-16,0 1 15,0-1-15,-13 0 0,13 0 16,0 1-16,0-1 0,0 0 0,0 13 15,-14-12-15,28-1 16</inkml:trace>
  <inkml:trace contextRef="#ctx0" brushRef="#br0" timeOffset="-3099.81">16166 13824 0,'0'-13'0,"-13"26"15,0 1-15,-1 12 0,14-13 16,-13 14-16,0-14 16,0 0-16,-1 27 0,14-14 15,-13-12-15,0-1 0,13 13 16,-13-12-16</inkml:trace>
  <inkml:trace contextRef="#ctx0" brushRef="#br0" timeOffset="-2908">16060 13891 0,'0'26'0,"13"-26"15,1 13-15,-1 1 0,0-1 16,0 0-16,1-13 0,-14 13 15,26-13-15,-13 0 0,14 13 16,-14-13-16</inkml:trace>
  <inkml:trace contextRef="#ctx0" brushRef="#br0" timeOffset="-2436.85">16444 13811 0,'0'-13'31,"-27"26"-31,14 53 16,13-52-16,0-1 0,0 0 0,13 0 16,1 1-16,-1-14 15,-13 13-15,13-13 0,0 0 0,1 0 16,-1 0-1,-13-13-15,13 13 0,-13-14 0,13 14 16,-13-13-16,0 0 0,0 0 16,0-14-16,-13 27 15,13-13-15,0 0 0,-13 13 16,0-14-16,-1 14 0,1-13 16,0 13-1,0 0-15,-1 13 16</inkml:trace>
  <inkml:trace contextRef="#ctx0" brushRef="#br0" timeOffset="-2251.84">16629 13824 0,'-13'0'31</inkml:trace>
  <inkml:trace contextRef="#ctx0" brushRef="#br0" timeOffset="-1814.97">16854 13785 0,'-79'13'16,"65"0"0,14 0-1,14 14 16,-1-27-31,-13 13 0,13-13 16,-13 13-16,13 1 0,1-14 16,-14 13-16,0 0 15,0 0 1,-14 1-16,1-14 0,13 13 16,-13 0-1,0-13-15,-1 0 16</inkml:trace>
  <inkml:trace contextRef="#ctx0" brushRef="#br0" timeOffset="-1410.66">17502 13732 0,'13'13'31,"-13"0"-31,0 1 16,0 12-16,14-13 0,-14 0 15,0 14-15,0-1 16,0-12-16,0-1 0,0 0 0,0 0 15,0 14-15</inkml:trace>
  <inkml:trace contextRef="#ctx0" brushRef="#br0" timeOffset="-1207.91">17396 13891 0,'40'-14'16,"-27"14"-16,0 0 15,27 0-15,-27 0 16,1 0-16,25 0 0,-12 0 16,-14-13-16,0 13 0</inkml:trace>
  <inkml:trace contextRef="#ctx0" brushRef="#br0" timeOffset="-582.74">15319 13666 0,'-92'53'0,"52"-14"16,14 14-16,-1 13 15,14-26-15,13-13 16,0 52-16,13-26 16,27 0-16,0-27 15,39 27-15,-13-40 16,66 14-16,-52-27 16,12 0-16,-12 0 0,12-13 0,1 13 15</inkml:trace>
  <inkml:trace contextRef="#ctx0" brushRef="#br0" timeOffset="-135.9">16828 13732 0,'105'79'16,"-78"-52"0,12 26-16,-25-27 0,12 40 15,-13-39-15,-13-1 0,0-13 16,0 40-16,-26 0 15,13 0-15,-1-40 16,-25 27-16,39-27 16,-13-13-16</inkml:trace>
  <inkml:trace contextRef="#ctx0" brushRef="#br0" timeOffset="313.39">17978 13772 0,'-39'66'16,"26"-27"-16,-1-12 16,14-1-16,0 1 0,0-14 0,0 13 15,27 27-15,-1 0 16,1-26-16,-1-14 0,1 13 16,12-12-16,27 12 0,-13-26 15,-26 0-15,12 0 16,-12 0-16,13-13 0</inkml:trace>
  <inkml:trace contextRef="#ctx0" brushRef="#br0" timeOffset="3248.73">18296 13732 0,'-13'-27'15,"-1"41"48,14-1-63,-13 0 16,13 0-16,0 14 15,0-1 1,0-13-16,13 1 15,-13-1-15,14-13 0,-1 13 16,0-13-16,0 0 0,1 0 0,-1 0 16,0 0-16,0 0 0,1-13 0,-1 13 15,0 0-15,0-27 16,0 27-16,-13-13 0,0 0 0,0-13 16,-13 26-1,0-27-15,0 27 0,0-13 16,-1 0-16,1-1 15,-13 14-15,-1 0 16,14 0 0,0 0-16,13 14 15</inkml:trace>
  <inkml:trace contextRef="#ctx0" brushRef="#br0" timeOffset="3423.38">18574 13838 0,'13'-14'16</inkml:trace>
  <inkml:trace contextRef="#ctx0" brushRef="#br0" timeOffset="3691.25">18825 13652 0,'0'40'32,"-13"-13"-17,26-14 1,-13 0-16,0 27 0,0-14 16,0-13-1,0 1-15,0-1 16,13 0-16</inkml:trace>
  <inkml:trace contextRef="#ctx0" brushRef="#br0" timeOffset="4105.05">19156 13705 0,'-40'14'15,"27"12"-15,0 14 16,-1-14-16,1-13 15,0 14-15,13-14 0,-13 14 0,0-14 16,-1 27-16,1-27 16</inkml:trace>
  <inkml:trace contextRef="#ctx0" brushRef="#br0" timeOffset="4312.28">18971 13758 0,'26'27'15,"-13"-27"-15,1 13 0,-1 0 16,13 14-16,1-14 0,-14 0 16,13 0-16,-12 1 15,12-1-15,-13 0 0,14-13 0,-14 13 16,0-13-16</inkml:trace>
  <inkml:trace contextRef="#ctx0" brushRef="#br0" timeOffset="5229.08">19592 13639 0,'0'-13'16,"0"0"0,-13 26 218,0 0-218,13 0-16,-13 1 15,13-1-15,-14 13 16,14-12-16,0-1 0,0 0 16,0 14-16,14-1 15,-1-13-15,0 0 16,0 1-16,1-1 0,12 0 15,-13-13-15,1 0 0,-1 0 16,13 0-16,-13 0 16,1-13-16,-1 13 0,-13-13 0,13 13 15,-13-27-15,0 14 0,0 0 16,0 0-16,-13-1 0,0-12 16,-1 13-16,1-14 15,-13 14-15,13 0 16,-1 13-16,1 0 15,0-14-15,13 28 16</inkml:trace>
  <inkml:trace contextRef="#ctx0" brushRef="#br0" timeOffset="5409.27">20055 13705 0</inkml:trace>
  <inkml:trace contextRef="#ctx0" brushRef="#br0" timeOffset="8117.74">20320 13639 0,'-13'13'16,"26"-13"46,0 0-46,0 0-16,1-13 15,-1 13 1,-40 0 15,14 0-31,0 0 0,-13 0 16,12 0-16,1 13 0,0-13 16,0 0-16,-1 14 0,1-14 15,0 13-15,0-13 16,26 13-1,27 0 1,-27-13 0,0 14-16,0-14 0,-13 13 15,14-13-15,-14 13 0,13-13 16,-13 13-16,0 1 0,13-14 16,-13 13-16,-13 0 0,13 0 15,-13 0-15,-1 14 16,1-14-16,0 0 15,0 1-15,-1-14 16,14 13-16,-13-13 0,0-13 16</inkml:trace>
  <inkml:trace contextRef="#ctx0" brushRef="#br0" timeOffset="8409.46">20386 13454 0,'27'13'0,"26"53"15,-40-52-15,0 12 16,0-13-16,0 14 0,-13-14 0,27 53 15,-27-53 1,13 14-16,-13-14 0,0 0 16,0 14-16,0-14 0,-26 27 15,26-14-15,-14-13 0,1 1 16,0 12-16,-27 14 16,14-14-16,13-26 0</inkml:trace>
  <inkml:trace contextRef="#ctx0" brushRef="#br0" timeOffset="10997.34">21299 13163 0,'26'0'0,"-12"-13"16,-1 13-16,0 0 0,0 0 0,1-13 15,-1 13-15,0 0 0,0 0 16,0 0-16,1 0 0,12 0 16</inkml:trace>
  <inkml:trace contextRef="#ctx0" brushRef="#br0" timeOffset="11220.44">21246 13322 0,'79'-13'16,"-26"-1"0,-39 14-16,12 0 15,-13 0-15,0 0 0,1 0 0,-1 0 16,0-13-16,0 13 0,1 0 15,12 0-15</inkml:trace>
  <inkml:trace contextRef="#ctx0" brushRef="#br0" timeOffset="38511.62">159 7395 0,'-13'0'0,"52"0"16,-12-13-1,-14 13-15,0 0 0,14-13 16,12 13-16,-25-14 16,12 14-16,-13 0 15,0 0-15,1 0 0,-1 0 16</inkml:trace>
  <inkml:trace contextRef="#ctx0" brushRef="#br0" timeOffset="38710.47">198 7594 0,'0'0'0,"27"0"32,-1-14-17,-12 14-15,-1-13 0,13 13 16,-12-13-16,12 0 15,-13 13-15,0 0 0,1-14 16</inkml:trace>
  <inkml:trace contextRef="#ctx0" brushRef="#br0" timeOffset="39556.9">913 7104 0,'0'-26'16,"-13"26"-16,13-14 15,-14 41 1,14-14-1,0 0-15,0 14 0,0-14 16,14 0-16,-1 27 0,-13-27 16,13 0-16,-13 1 15,13-1-15,14 13 0,-14-13 16,0-13-16,0 0 0,14 14 16,-14-14-16,0-14 0,1 14 15,-1 0-15,0-13 0,0 0 0,0 13 16,-13-13-16,14 0 0,-14-1 15,0-12-15,-14 13 16,14-14-16,-13 14 0,0-13 0,0 12 0,0 1 16,-1 0-16,1 0 0,0-1 0,0 1 15,-1 13-15,1-13 16,0 13-16,0 0 0,-14 0 16,14 13-16,0 0 15</inkml:trace>
  <inkml:trace contextRef="#ctx0" brushRef="#br0" timeOffset="39765.41">1310 7091 0</inkml:trace>
  <inkml:trace contextRef="#ctx0" brushRef="#br0" timeOffset="41052.6">1799 6853 0,'13'0'0,"-39"13"16,13 0-16,-1-13 16,14 13-16,-26 14 15,13-14-15,13 0 0,-13 1 16,13-1-16,-14 0 0,1 0 16,13 0-16,0 1 15,0-1 1,13-13-16,1 13 15,-1-13-15,13-13 16,-13 13-16,14-13 0,13-1 16,-14 14-16,1-13 0,12 0 15,-12 0 1,-14 0-16,13-1 0,-12 14 16,-14-13-16</inkml:trace>
  <inkml:trace contextRef="#ctx0" brushRef="#br0" timeOffset="41293.15">1812 6813 0,'-13'53'31,"13"-27"-31,0 1 16,13-14-16,-13 14 0,0-1 0,14 14 16,-1-14-16,-13-13 0,0 1 15,13-1-15,-13 13 0,0-12 16,13-14-16,-13 13 0,14 0 16</inkml:trace>
  <inkml:trace contextRef="#ctx0" brushRef="#br0" timeOffset="41752.89">2262 6747 0,'0'-13'16,"-26"26"-16,-1 0 16,1 0-16,-1 1 15,14 12-15,0-26 16,0 13-16,13 0 15,26 14 1,-13-27 0,1 13-16,12 0 0,0-13 15,-12 14-15,12-1 16,1 13-16,-14 14 16,-13-14-1,-13-12-15,-27 12 16,13 1-16,-12-1 15,26-13-15,-54 14 16,28-14-16,-1 0 16,27-13-16,0 13 0,-27 1 15</inkml:trace>
  <inkml:trace contextRef="#ctx0" brushRef="#br0" timeOffset="42537.73">741 7713 0,'-13'0'15,"92"-27"17,-39 14-32,118-40 15,-91 40 1,-1-14-16,13 1 0,292-93 15,-160 39 1,-12 27-16,78-39 16,-118 52-1,145-39 1,-171 39-16,-41 27 16,-52 0-1,66-14-15,-80 14 16,1 13-16,-14 0 15,0-13 1,0 13 0,1 0-16,-14-13 47</inkml:trace>
  <inkml:trace contextRef="#ctx0" brushRef="#br0" timeOffset="51584.91">913 8109 0,'-13'0'15,"-1"0"16,14 14-31,0-1 16,0 0-16,0 0 0,0 1 0,0 39 16,0-27-1,27 27-15,-27-40 16,13 0-16,-13 1 0,13-1 16,0 0-16,1-13 15,-1 0-15,0 0 0,0 0 16,1-13-16,-14 0 15,13-1-15,-13 1 16,0 0-16,-13 0 0,13-1 16,0 1-16,-14 0 0,1 0 0,13 0 15,-40-40 1,40 39-16,-13 14 0,0-13 0,0 13 16,0 0-1,-1 0-15,1 13 16,0-13-16,13 14 15</inkml:trace>
  <inkml:trace contextRef="#ctx0" brushRef="#br0" timeOffset="51721.86">1058 8162 0,'0'-13'16</inkml:trace>
  <inkml:trace contextRef="#ctx0" brushRef="#br0" timeOffset="52071.73">1363 8017 0,'-14'26'15,"1"-12"1,0-1-16,0 0 0,13 0 16,-14 0-16,1 14 0,0-14 15,13 0-15,-13-13 0,13 14 0,0-1 16,-13 0-16,13 0 0,0 1 15,0-1-15,13 0 16,0-13-16,0 0 16,14 0-16,-14 0 15,0-13-15,14 13 0,-14 0 16,0-13-16,14 13 0,-14 0 0,0-14 16,0 14-16,0-13 0,1 13 15,-1-13-15,0 13 16,-13-13-16</inkml:trace>
  <inkml:trace contextRef="#ctx0" brushRef="#br0" timeOffset="52295.82">1323 8030 0,'-13'27'0,"13"-14"15,0 0-15,13 13 0,-13-105 16,0 172-16,13-67 0,0 1 0,1 12 16,-1-12-16,-13-14 0,13 13 15,0 14-15,1-13 16,-1-14-16,0 0 16,0-13-16</inkml:trace>
  <inkml:trace contextRef="#ctx0" brushRef="#br0" timeOffset="52713.84">1746 7924 0,'-79'27'0,"66"-27"15,-14 26-15,14-13 16,0 1-16,0-1 16,13 0-16,0 0 15,13-13 1,13 0-16,-13 0 15,1 0-15,-1 0 0,0 0 16,0 0-16,1 0 0,-1 0 16,0 14-16,0-14 15,-13 13-15,0 0 0,0 13 16,-13-12 0,13-1-16,-13 0 0,13 0 15,-13-13-15,-1 27 0,1-14 16,0 0-16</inkml:trace>
  <inkml:trace contextRef="#ctx0" brushRef="#br0" timeOffset="52933.91">1826 7858 0,'0'-13'15,"13"26"1,0-13-16,-13 13 0,13 14 16,1-14-16,-14 0 0,13 1 15,-13-1-15,13 0 0,0 13 16,0 1-16,1-1 16,-1-26-16,-13 14 0,0-1 15,13-13-15</inkml:trace>
  <inkml:trace contextRef="#ctx0" brushRef="#br0" timeOffset="53145.65">1799 8030 0,'40'-13'15,"-27"0"-15,0 13 16,1 0-16,-1-14 0,0 14 0,0-13 16,14 13-16,-14-13 15,0 13-15,0 0 0</inkml:trace>
  <inkml:trace contextRef="#ctx0" brushRef="#br0" timeOffset="57301.66">2249 7752 0,'-13'14'31,"13"-1"-31,0 13 16,0-13-16,0 1 0,13 12 16,-13-13-16,0 1 0,13 12 15,0-13-15,-13 1 16,27-1-16,-27 0 0,13-13 16,0 0-16,14 0 15,-27-13-15,13 13 0,0-13 16,-13-1-16,0 1 15,0 0-15,-13-14 16,0-12-16,0 12 16,-1 1-16,1 13 15,0 13-15,0-14 16,-14 14 0,27 14-16,-13-14 15,0 13-15</inkml:trace>
  <inkml:trace contextRef="#ctx0" brushRef="#br0" timeOffset="57444.81">2447 7739 0,'14'-13'16</inkml:trace>
  <inkml:trace contextRef="#ctx0" brushRef="#br0" timeOffset="57777.91">2580 7673 0,'-14'-13'16,"14"92"15,14-52-15,-1-14-16,0 13 15,14-26-15,-14 13 16,13-13-16,14-13 16,-14 0-16,-12 0 15,-14 0 1,0-1-16,-14-12 0,1 13 15,13-1-15,-13 1 0,-252 66 0,517-119 16,-265 53-16,-14-1 16,14 1-16,0 13 15,-1 13-15,1-13 16,-13 27-16,39-40 0</inkml:trace>
  <inkml:trace contextRef="#ctx0" brushRef="#br0" timeOffset="58106.67">3043 7435 0,'13'-13'15,"-40"13"1,-12 39-1,26-26-15,26 14 32,0-27-32,0 13 15,0 0-15,1 1 16,-1-1-16,0 0 16,-13 0-1,-13 1-15,0 12 16,-1-13-1,1 0-15,-13 14 16,13-14-16,-1 14 0</inkml:trace>
  <inkml:trace contextRef="#ctx0" brushRef="#br0" timeOffset="58829.86">582 9684 0,'27'-13'16,"-1"-1"0,0 1-16,1 13 15,39-40 1,-26 27-16,-27 13 0,0 0 15,0 0-15</inkml:trace>
  <inkml:trace contextRef="#ctx0" brushRef="#br0" timeOffset="59002.13">582 9935 0,'93'-53'31,"-80"40"-31,13 0 0,-12 13 16,12-14-16,14-12 0,-14 13 15</inkml:trace>
  <inkml:trace contextRef="#ctx0" brushRef="#br0" timeOffset="61282.2">1416 9406 0,'-27'40'15,"27"-14"-15,0-13 0,0 1 16,13 12-16,1 0 0,-1-12 16,0 12-16,0-26 0,0 13 0,1 1 15,-1-14-15,13 13 16,1-13-16,-14 0 16,14-27-16,-14 27 15,-13-13-15,0 0 0,0 0 16,0-1-16,0 1 0,-13-13 15,-1-1-15,1 14 0,0 0 16,0 0-16,-1-1 16,1 14-16,-13-13 15,-1 13-15,14 13 0,0-13 16,13 14-16,-13-14 0,13 13 16</inkml:trace>
  <inkml:trace contextRef="#ctx0" brushRef="#br0" timeOffset="61432.6">1707 9340 0</inkml:trace>
  <inkml:trace contextRef="#ctx0" brushRef="#br0" timeOffset="61776.89">2064 9141 0,'-357'199'0,"648"-305"32,-318 132-32,27 1 15,-13-14-15,0 0 16,-1 14-16,1-1 16,159-251-16,-292 463 0,146-224 15,13-1 1,1-13-16,12-13 15,-13 13-15,1 0 0,12 0 0,14-14 16,-27 1-16,13 13 16,-12-13-16,25 0 15,-25 13-15,-1-13 16</inkml:trace>
  <inkml:trace contextRef="#ctx0" brushRef="#br0" timeOffset="62002">1998 9141 0,'-14'14'0,"28"-1"16,12 106 15,-13-79-31,1-14 0,-67-238 0,106 450 15,-40-224-15,-13-1 0,13 13 16,0 1-16,-13-14 16,13 0-16,1-13 15</inkml:trace>
  <inkml:trace contextRef="#ctx0" brushRef="#br0" timeOffset="62391.63">2461 8996 0,'-80'53'15,"41"-27"1,25-26 0,14 13-16,-13 1 0,13-1 15,13 0 1,1-13 0,12 13-16,-13 1 0,14-14 15,-1 13-15,1 0 16,-14-13-16,-13 13 15,13-13-15,-13 14 0,0-1 16,-13 13-16,13-13 16,-40 54-1,14-41-15,-14 27 0,-26 26 16</inkml:trace>
  <inkml:trace contextRef="#ctx0" brushRef="#br0" timeOffset="62720.89">1058 10253 0,'53'-14'16,"-26"1"-16,26 0 15,158-80-15,-12 14 16,-93 39-16,118-52 16,1 12-16,-106 27 15,106-26-15,-26-14 16,-14 14-16,-119 53 0,53-27 16,-79 26-16,0 14 15,12-14-15,-25 14 16,-27 0-16,-13 26 15,-14-13 1</inkml:trace>
  <inkml:trace contextRef="#ctx0" brushRef="#br0" timeOffset="68161.89">1826 10345 0,'-14'13'15,"28"1"-15,-14 12 16,0-13-16,13 1 0,-13-1 0,26 27 16,-26-27-1,27 0-15,-14 0 0,0-13 16,14-13 0,-14 13-16,0-13 15,0 0-15,-13-1 0,14 1 0,-14-13 16,0 12-1,-14 14-15,14-13 0,0 0 0,-13 0 16,0-1-16,0 1 0,-1 0 16,1 13-16,0-13 15,0 13-15,0 0 16,-1 0-16,1 13 16</inkml:trace>
  <inkml:trace contextRef="#ctx0" brushRef="#br0" timeOffset="68329.21">2130 10266 0,'13'-13'15,"-13"26"1</inkml:trace>
  <inkml:trace contextRef="#ctx0" brushRef="#br0" timeOffset="68704.81">2447 10054 0,'-53'27'16,"14"-1"0,39-13-1,-13 14 1,26-27-1,0 13-15,0 0 16,0-13-16,1 13 16,-1 1-16,0-1 0,-13 0 15,13 0-15,-13 1 0,0-1 16,-13 13-16,-27 27 16,27-40-1,0 1-15,-13 12 0,12-26 16,-12 13-16,13 1 15</inkml:trace>
  <inkml:trace contextRef="#ctx0" brushRef="#br0" timeOffset="69209">1138 11986 0,'26'0'0,"-26"-14"16,13 14-16,1 0 0,-1-13 0,13 13 0,-12-13 15,-1 13-15,13 0 0,1-13 16,-14 13-16,0 0 15,0 0-15</inkml:trace>
  <inkml:trace contextRef="#ctx0" brushRef="#br0" timeOffset="69409">1164 12224 0,'106'-40'16,"-80"27"-16,1 13 0,13-13 16,26-14-16,-53 27 0,13-13 15,1 13-15,-14-13 0,0 13 16,14 0-16,-1 0 0,-12-14 16</inkml:trace>
  <inkml:trace contextRef="#ctx0" brushRef="#br0" timeOffset="74269.6">2619 11774 0,'14'-13'16,"-14"0"-16,0-1 15,-14 1-15,14 0 16,-13 13-16,0-13 15,0 13-15,13-14 0,-14 14 0,-12 0 16,0 0-16,12 0 16,1 0-16,-13 14 15,12-1-15,1 0 0,-13 0 0,12 1 16,1-1-16,0 0 0,13 0 0,-13 0 16,13 1-16,-13-1 0,13 0 15,0 0-15,13-13 0,-13 14 16,13-14-16,13 0 15,-12 0 1,12-14-16,-13 14 0,-13-13 0,14 0 16,-1 13-16,-13-13 15,13-1-15,14 1 16,-27 0-16,13 26 31,0-13-31,-13 13 0,13 1 0,0 39 16,1-27-16,-14-13 15,0 14-15,13-14 0,-13 13 16,13 14-16,-13-27 16,0 14-16,13-14 15,1 0-15,-14 0 16</inkml:trace>
  <inkml:trace contextRef="#ctx0" brushRef="#br0" timeOffset="74642.09">2738 11761 0,'-26'39'31,"26"-25"-31,0 12 0,0 1 15,13 12-15,0-26 16,1 1-16,-1-1 16,0 0-16,0-13 15,1 0-15,-1 0 0,0-13 16,0 13-16,1-13 0,-1 13 0,-13-14 16,13 1-16,0-13 0,-13 13 15,0-1-15,0 1 0,0 0 16,0 0-16,0-1 0,-13 1 0,13 0 15,-13 0-15,0 0 0,-1-1 16,1 14 0,0 0-16,0 0 0,-14 14 15,14-14 1,13 13-16</inkml:trace>
  <inkml:trace contextRef="#ctx0" brushRef="#br0" timeOffset="74894.03">3241 11562 0,'13'40'16,"-13"-27"-16,0 0 0,0 14 0,0-14 15,0 14-15,0-14 0,0 53 16,0-40-16,0-12 16,0 12-16,0-13 0,0 1 15,0 12-15,0 0 16,-13-12-16</inkml:trace>
  <inkml:trace contextRef="#ctx0" brushRef="#br0" timeOffset="75048.7">3096 11761 0,'-14'0'16,"28"0"-16</inkml:trace>
  <inkml:trace contextRef="#ctx0" brushRef="#br0" timeOffset="75200.37">3413 11787 0,'13'0'0,"-26"0"0</inkml:trace>
  <inkml:trace contextRef="#ctx0" brushRef="#br0" timeOffset="76217.84">2646 12449 0,'383'-93'16,"-316"80"-16,-14-14 0,13 1 0,-13 13 16,0-14-16,52-26 15,14-13-15,-79 53 16,-13-14-16,12 1 0,14-14 15,-26 14-15,-14-1 0,13 1 16,-12-1-16,-1 1 0,0 0 16,-13 12-16,13-12 0,-13-27 0,0 27 15,0 12-15,0-25 16,0 12-16,-13-39 0,0 40 16,0-14-16,-14-26 0,1 39 15,12 1-15,-12-14 0,-1 14 16,-39-27-16,0 13 15,40 27-15,-54-27 0,41 27 16,-27-14-16,26 14 16,0 0-16,-13 13 0,14-13 0,-1 13 15,-66-14-15,53 14 16,0 0-16,0 0 0,0 0 0,-13 0 16,-53 0-16,-26 14 15,78-1-15,-78 0 16,79-13-16,0 13 0,0 1 15,-67-1-15,67 0 0,-53 14 16,53-14-16,-66 13 16,79-13-16,0 14 0,0-14 15,0 0-15,0 1 0,-66 39 16,26-1-16,54-25 16,-1-1-16,13 1 15,-12-1-15,-14 27 0,0 0 16,0 27-16,27-54 0,-1 0 15,-13 41 1,14-1-16,0-27 0,-1 28 16,14-28-16,-14 27 0,14-26 15,0 0-15,13-14 16,-13 1-16,13 26 0,0 13 16,13-40-16,0 40 15,27-13-15,-14-13 16,14-14-16,0 1 0,13-1 0,0 1 15,-1-14-15,15 13 0,65 1 16,27-14-16,-67 0 16,-12-13-16,-1 0 0,93-13 15,-79 13-15,92-26 16,-13-1-16,-93 14 0,80-27 16,-80 27-16,-13 0 15,1 0-15,-1-1 0,26-12 16,-12 13-16,-54-1 15,1 14-15,-1-13 0,-13 13 0,14-13 16</inkml:trace>
  <inkml:trace contextRef="#ctx0" brushRef="#br0" timeOffset="78130.78">3810 11933 0,'40'-27'0,"-14"14"16,1 0-16,-1 0 0,14-1 16,-14 1-16,14-13 0,39-1 15,-52 1-15,12 13 0,-12-1 0,13 1 16,-14 0-16,-13 13 0,0-13 15,14-1-15,-1 14 16,-26-13-16,14 13 0,-14-13 16,13 13-1,-13-13-15</inkml:trace>
  <inkml:trace contextRef="#ctx0" brushRef="#br0" timeOffset="78426.85">4194 11417 0,'39'0'16,"-39"13"-16,27 0 0,-14-13 15,13 13-15,-12 1 0,12-1 16,1 13-16,-14-12 0,0 12 16,0-13-16,1 14 0,-1 12 15,0-12-15,-13-14 0,-13 14 16,13 12-16,-13-12 0,-1 12 0,-12 14 16,-1-26-16,14-14 0,0 13 15,0-26-15</inkml:trace>
  <inkml:trace contextRef="#ctx0" brushRef="#br0" timeOffset="116221.94">11139 10253 0,'-66'-93'31,"39"80"-31,-12 0 0,-1-14 16,14 14-16,12 13 0,-12-13 15,-27-1-15,0 14 16,27 0-16,-41 14 16,28-1-16,-1 0 0,-92 66 15,92-52 1,0 13-16,-39 39 0,13 14 15,13 12-15,13 1 16,27-40-16,0 14 16,13 12-16,13 1 15,0-53-15,14-1 0,26 41 16,39-14 0,-39-26-16,13-14 0,0-13 15,1 14-15,157 12 16,-144-25-16,92-1 0,-93-13 15,1 0-15,-14 0 0,13-13 16,106-14-16,-132 14 16,40-27-16,-40 14 15,79-67-15,-26-26 16,-80 79-16,1 1 16,-1-41-16,-13 41 15,-13-80-15,-26 39 16,-27-12-16,13 52 15,-105-79 1,92 79-16,-79-26 0,-14 13 16,80 27-16,-93-27 15,14 26-15,65 14 16,1 0-16,-80 0 16,0 13-16,-39 26 15,145-13-15,-39 27 16,25 0-16,28 13 15,39-40-15,-14 13 16</inkml:trace>
  <inkml:trace contextRef="#ctx0" brushRef="#br0" timeOffset="116864.81">12197 11086 0,'119'-40'15,"-92"40"-15,92-26 16,-40 13-1,-66 13-15,1 0 16,-1 0-16,0-14 0,0 14 16</inkml:trace>
  <inkml:trace contextRef="#ctx0" brushRef="#br0" timeOffset="117254.24">12290 10888 0,'-40'0'16,"27"13"-16,0-13 0,0 13 15,-40 27-15,39-27 16,1 0-16,-13 14 0,12-14 16,14 0-16,-26 14 15,264-186-15,-489 344 0,251-172 16,13 14-16,212-265 16,-450 489-16,238-251 0,0 13 15,14 0-15,-14-13 0,0 0 16,14 14-16,-14-14 0,0 0 15,1 0-15,-1 13 0,0-13 16,0 0-16,14 0 0,-14 0 16,0 13-1</inkml:trace>
  <inkml:trace contextRef="#ctx0" brushRef="#br0" timeOffset="126401.08">20968 423 0,'0'-13'16,"0"40"-1,0-14-15,0 0 16,0 0-16,0 0 0,0 1 15,0-1-15,0 40 16,0-27 0,0-12-16,0 12 15,0-13 1,0 0 0,0-39 15,0 13-31,0 0 15,0-1-15,0-12 0,13-27 16,-13 40-16,14-1 16,-14-12-16,0 0 15,13 26-15,-13-14 0,0 1 0,13 13 16,-13-13-16,13 13 0,14 0 16,-27 13-1,13-13-15,0 13 0,1 1 16,-14-1-16,13 0 0,0 27 15,0-27-15,-13 0 0,13 0 16,-13 1-16,0-1 0,0 0 0,14 0 16,-14 1-1,13-14-15,-13 13 16</inkml:trace>
  <inkml:trace contextRef="#ctx0" brushRef="#br0" timeOffset="126644.88">20968 595 0,'0'-13'16,"13"13"15,27-13-15,-27 13-16,14 0 15,-14-13-15,0 13 0,1 0 16</inkml:trace>
  <inkml:trace contextRef="#ctx0" brushRef="#br0" timeOffset="127085.33">21458 450 0,'-40'-13'0,"27"13"15,0 0-15,-14 13 16,27 0 0,0 0-1,0 14 1,13-27-16,-13 13 0,14 0 15,12 14-15,-13-14 16,0-13-16,-13 13 0,14 0 16,-1 1-1,-26-1 1,-1 13 0,1-26-16,-26 13 15,25-13-15,1 14 16,0-14-16,0 0 0,-1 0 15,1 0 1</inkml:trace>
  <inkml:trace contextRef="#ctx0" brushRef="#br0" timeOffset="127461.08">21669 450 0,'-119'26'15,"93"-13"1,26 1-16,-13-1 16,13 0-16,0 0 15,13 1-15,0-1 16,0 0-1,14 14-15,-1-1 16,-26-13 0,0 14-1,0-14-15,-13-13 16,0 13-16,13 0 0,-13-13 16,-1 14-16,1-14 0,13 13 0,-13-13 15,0 0-15,-1 13 0,1-13 16,0 0-1</inkml:trace>
  <inkml:trace contextRef="#ctx0" brushRef="#br0" timeOffset="128341.01">21749 516 0,'0'-13'15,"-13"39"16,13-13-15,0 1-16,13-14 0,-13 13 16,13 0-1,0-13-15,0 0 16,1 0 0,-1-13-1,0 0 1,-13-1-16,13 14 15,-13-13 1,14 13 31,-1 13-16,0 1-15,0-14-1,1 0 1,-1-14 0,0 14-1,0 0 1,0 0-16,1 14 16,-1-14-1,0 0 16,0 0-15,1-14 0,-1 14-16,0 0 15,0 0 1,0 0 0,1 0 15,-1 0-31,0 0 0,0 14 15</inkml:trace>
  <inkml:trace contextRef="#ctx0" brushRef="#br0" timeOffset="128763.76">22410 556 0,'13'-14'0,"1"14"16,12-13-16,14 13 15,-27 0-15,0 0 16</inkml:trace>
  <inkml:trace contextRef="#ctx0" brushRef="#br0" timeOffset="128921.96">22437 622 0,'-14'0'0,"41"0"32,-14 0-32,0-13 0,1 13 15,-1 0-15</inkml:trace>
  <inkml:trace contextRef="#ctx0" brushRef="#br0" timeOffset="129413.77">23217 503 0,'13'-14'0,"1"14"15,-54 0 16,14 0-15,12 0-16,1 14 16,0-14-16,0 0 15,13 13 1,13 0 0,0 0-1,0-13-15,1 14 0,-1-14 16,-13 13-1,0 0 1,0 0-16,-27 1 16,14-1-16,0-13 15,-14 13-15,1 0 16,13-13 0</inkml:trace>
  <inkml:trace contextRef="#ctx0" brushRef="#br0" timeOffset="129752.04">23349 516 0,'14'0'16,"-14"13"-1,0 0 1,0 1-1,13-1-15,13 0 16,-12-13 0,12 0-16,-13 0 0,1 0 15,-1 0-15,0 0 0,13-13 16,-26 0 0,0-1-1,-13 1 1,0 0-16,0 13 15,0 0 1,-1 0 0,1 0-16,0 0 15</inkml:trace>
  <inkml:trace contextRef="#ctx0" brushRef="#br0" timeOffset="129961.12">23760 410 0,'0'27'16,"-14"-1"-16,14-13 16,-13 0-16,13 1 0,-13 25 15,0-39-15,13 14 16,-14-1-16,14 0 0,-13 0 0,13 1 15,-13-14-15</inkml:trace>
  <inkml:trace contextRef="#ctx0" brushRef="#br0" timeOffset="130125">23614 476 0,'-13'0'16</inkml:trace>
  <inkml:trace contextRef="#ctx0" brushRef="#br0" timeOffset="130253.9">23971 542 0,'13'-13'0</inkml:trace>
  <inkml:trace contextRef="#ctx0" brushRef="#br0" timeOffset="131712.79">22516 1085 0,'40'0'15,"-27"0"-15,13 0 16,-12 0-16,-1 0 15,0 0-15</inkml:trace>
  <inkml:trace contextRef="#ctx0" brushRef="#br0" timeOffset="131900.78">22490 1257 0,'26'0'47,"-13"0"-47,-13-13 15,13 13-15,1 0 0,-1 0 16,0 0-16</inkml:trace>
  <inkml:trace contextRef="#ctx0" brushRef="#br0" timeOffset="134813.2">21233 1177 0,'0'-13'62,"-27"0"-46,14 13 0,-13 0-1,12 13-15,1-13 16,13 13-16,-13-13 15,13 14-15,-13-14 0,13 13 0,-13-13 16,13 13-16,0 0 0,0 1 16,0-1-1,13-13 17,0-13-17,0-1-15,0 1 16,1 26 15,-1 1-15,-13-1-16,0 0 0,0 0 15,0 0-15,0 1 0,13-1 16,-13 0-16,0 0 0,0 1 16,0-1-1,13 0 1</inkml:trace>
  <inkml:trace contextRef="#ctx0" brushRef="#br0" timeOffset="135173.73">21339 1217 0,'-40'27'31,"40"-14"-31,0 0 16,0 13-16,0-12 15,0-1-15,0 0 0,0 0 16,13-13-16,-13 14 0,13-14 0,1 13 16,-1-13-16,0 0 15,14-13-15,-14 13 16,0-14-16,-13 1 15,13-13 1,-26 12 0,13 1-16,0 0 15,-13 0-15,0 13 16,-1 0-16,1 0 16</inkml:trace>
  <inkml:trace contextRef="#ctx0" brushRef="#br0" timeOffset="135367.04">21564 1151 0,'0'13'0,"13"0"0,-13 14 16,-13-14-16,13 0 15,0 1-15,0-1 0,0 0 16,-14 0-16,14 0 0,0 1 16,0-1-16,-13 0 0</inkml:trace>
  <inkml:trace contextRef="#ctx0" brushRef="#br0" timeOffset="135533.66">21511 1257 0</inkml:trace>
  <inkml:trace contextRef="#ctx0" brushRef="#br0" timeOffset="135665.78">21656 1296 0</inkml:trace>
  <inkml:trace contextRef="#ctx0" brushRef="#br0" timeOffset="136305.95">21947 1191 0,'0'26'31,"13"-13"-15,1-13-1,-1 0-15,0 0 0,0 0 16,1 0-16,-1-13 16,0 13-16,0 0 15,0 0 1,1 0-16,-1 0 16,0-13-1,0 13 16,-13-27-15,0 14 0,14 13-1,-14-13 1,0 0 0,13 13-16,0 0 15</inkml:trace>
  <inkml:trace contextRef="#ctx0" brushRef="#br0" timeOffset="137590.06">21960 1627 0,'0'40'0,"0"-27"16,0 0-16,0 1 15,0-1-15,0 13 0,0 14 16,0-27-1,0 0-15,14-13 16</inkml:trace>
  <inkml:trace contextRef="#ctx0" brushRef="#br0" timeOffset="137904.96">22093 1667 0,'-14'26'31,"14"-12"-31,14-1 16,-14 13-1,13-13-15,0 1 16,0-1-16,1-13 16,-1-13-1,0 13-15,0-14 16,-13 1-16,0 0 0,0 0 15,0 0 1,0-1-16,-13 1 16,13 0-16,-13 13 0,0 0 15,-1 0 1</inkml:trace>
  <inkml:trace contextRef="#ctx0" brushRef="#br0" timeOffset="138115.91">22371 1574 0,'13'14'16,"-13"-1"-1,0 0-15,-13 0 0,13 0 16,0 14-16,0-14 0,0 0 15,-14 1-15,14-1 0,0 13 0,-13-13 16,13 1-16,0-1 0,0 0 16</inkml:trace>
  <inkml:trace contextRef="#ctx0" brushRef="#br0" timeOffset="138264.43">22291 1614 0,'-13'-13'15</inkml:trace>
  <inkml:trace contextRef="#ctx0" brushRef="#br0" timeOffset="138429.94">22582 1759 0,'0'0'0,"13"-13"31</inkml:trace>
  <inkml:trace contextRef="#ctx0" brushRef="#br0" timeOffset="138952.95">22767 1759 0,'14'-66'16,"-14"53"-16,0 0 15,0 0-15,0-1 16,26 28 31,-13-14-32,1 0 1,-1 0-16,0 0 16,0 0-1,0 13 1,1 0 0,-1 0-1,0 1 1,0-14-16</inkml:trace>
  <inkml:trace contextRef="#ctx0" brushRef="#br0" timeOffset="139274.83">23191 1588 0,'-13'0'16,"52"-14"-1,-26 14-15,1 0 16,-1 0-16,0 0 16</inkml:trace>
  <inkml:trace contextRef="#ctx0" brushRef="#br0" timeOffset="139425.73">23204 1693 0,'40'-13'32,"-27"13"-17,0 0-15</inkml:trace>
  <inkml:trace contextRef="#ctx0" brushRef="#br0" timeOffset="141173.91">21206 278 0,'-39'-13'16,"-1"13"-16,27 0 0,-14 13 15,1-13-15,-14 13 0,-66 14 16,80-27-16,-1 13 16,1 0-16,-1-13 0,1 13 0,13 0 15,-27 1-15,27 12 0,-14-13 16,-12 40-16,26-26 16,-1 12-16,1 1 0,13-13 0,-13 12 0,13 1 15,0 13-15,0-13 0,-13 12 16,26-12-16,-13 13 0,0-13 0,0-1 15,0 28-15,13 25 0,-13-39 16,13-13-16,-13-1 16,0 14-16,14-13 0,-14-13 0,0-1 15,0 0-15,0 1 0,0-1 0,0 1 16,0-14-16,0 14 0,0-1 16,0-13-16,0 0 0,0 1 15,0-1-15,0 0 16,0 0-16,0 1 15,0-1 1,13-13 0,0 13-16,0-13 15,0 0-15,14 0 0,-1 0 16,120 13-16,-67-13 16,1 0-16,-1 13 0,0-13 15,107 14-15,-94-14 0,93 13 16,-92-13-16,-14 13 15,80 0-15,-27 1 16,-79-14-16,0 13 0,-13-13 0,-14 0 16,1 0-16,-1 13 0,-12-13 15,-1 0-15,0 0 0,13 0 16</inkml:trace>
  <inkml:trace contextRef="#ctx0" brushRef="#br0" timeOffset="146723.2">23085 767 0,'26'0'16,"14"0"-16,0 0 16,-27-13-16,13 13 15,1 0-15,39 0 0,-40 0 16,67-13-16,0 0 16,-40 13-16,-14 0 15,41 0-15,-54-14 0,40 14 16,-39 0-16,-1 0 0,1 0 15,12-13-15,-25 13 0,38 0 16,-25 0-16,-1-13 0,-12 13 16,12 0-16,1-13 0,-1 13 15,-13 0-15,14-27 16,-14 27-16,0-13 0,14 0 16,-14 0-16,0-1 15,-13 1-15,13 0 0,1-14 16,-14 1-16,0 13 15,13 13-15,-13-14 0,0 1 16,0 0-16,0 0 16,0 0-16,0-14 15,0 14-15,-13 0 0,-1-27 16,1 14 0,-13-14-16,12 27 15,-12-14-15,13 14 16,-27-14-16,14 1 15,-1 26-15,-13-26 16,27 12-16,-13 14 0,-14-26 16,-26 13-16,39 13 15,-26-14-15,27 14 16,-53-13 0,13 13-16,-1 0 15,1 0-15,40 0 16,-14 13-16,0-13 0,1 0 0,-27 0 15,13 14-15,26-14 16,-12 13-16,-1-13 16,0 13-1,27 0-15,0-13 0,-1 14 16,1-14-16,0 13 0,-13 13 16,26-13-1,-14-13-15,14 14 16,-26 12-16,13-13 15,13 1-15,-14-1 16,1 0-16,0 14 16,0-1-16,13-13 0,-14 27 15,1-14 1,13 14-16,0 0 16,0-1-1,13-12-15,-13-1 16,14-12-16,-1 12 15,0 14-15,0-27 16,1 0-16,-1 0 16,0 1-16,0 12 15,1-13-15,-1 1 16,0-1 0,0-13-1,-13 13-15,13-13 16,-13 13-1,14-13 17,-1 13 15</inkml:trace>
  <inkml:trace contextRef="#ctx0" brushRef="#br0" timeOffset="148422.03">24276 952 0,'-14'-13'31,"1"-13"0,13 13-31,0-1 0,-13 14 16,13-13-16,0 0 0,-13 13 15,13-27-15,-14 27 0,14-13 16,-13 0-16,0 13 16,0-13-1</inkml:trace>
  <inkml:trace contextRef="#ctx0" brushRef="#br0" timeOffset="148637.79">24130 781 0,'-26'26'31,"26"-13"-31,-14-13 0,14 13 16,-13 1-16,0 12 16,0-13-16,-1 14 15,14-14-15,-13-13 16</inkml:trace>
  <inkml:trace contextRef="#ctx0" brushRef="#br0" timeOffset="148860.83">24117 754 0,'13'0'16,"27"0"-1,-27 0-15,0 13 16,14 1 0,-14-14-16</inkml:trace>
  <inkml:trace contextRef="#ctx0" brushRef="#br0" timeOffset="150424.78">24064 913 0,'26'0'78,"-12"-13"-78,-1-1 16,0 14-16,13-39 16,-12 25-1,-1 1-15,0 0 0,0 0 16,1 13-16,-14-13 0,13 13 16,13-14-1,1 14-15,-14 0 16,0 0-16,0 0 15,1 0-15,12 14 16,-13-14-16,1 13 16,-1-13-16,0 13 15,0-13-15,1 0 32,-14 13-17</inkml:trace>
  <inkml:trace contextRef="#ctx0" brushRef="#br0" timeOffset="155027.73">16431 2950 0,'26'-13'0,"-13"13"0,27 0 16,-14 0-16,14 0 0,-13 0 15,12-13-15,-12 13 0,12 0 0,1 0 16,0-14-16,-14 14 0,1 0 16,12 0-16,-12-13 0,-14 13 15,14 0-15,-14 0 0,26-13 16,-25 13-16,-1 0 0,0 0 16,0 0-16,1 0 15,-1 0-15,0-13 16,0 13-1,-13-13 1,14 13-16,-14-14 0,0 1 16,0 0-1,0 0-15,0-14 0,0 14 16,0 0-16,0-14 16,0 1-16,0 13 0,0-1 0,0 1 15,-14-27-15,14 27 16,0 0-16,0 0 15,-13-1-15,13 1 16,-13 13-16,0-26 16,-1 13-1,1-1-15,0 14 0,0-13 0,-1 13 16,1-13-16,0 13 0,0-13 0,0 13 16,-14-14-16,14 14 0,0-13 15,-14 0-15,14 13 0,0-13 16,-14 13-16,-12-14 0,12 14 15,1 0-15,12 0 0,-12 0 0,0-13 16,12 13-16,-12 0 0,13 13 16,-1-13-16,-12 0 0,13 0 0,-1 0 15,1 0-15,-26 14 0,25-14 16,1 0-16,0 13 0,0-13 16,-1 13-16,1-13 0,0 13 0,0 1 15,-1-14-15,1 13 0,0 0 16,-13 0-16,12 1 0,-25 12 15,25-13-15,1 0 0,0 1 0,0-1 16,-1 0-16,1 0 0,0 1 16,0-1-16,0 0 0,13 0 0,-14 1 15,14-1-15,0 0 0,0 0 16,0 0-16,0 1 0,0-1 0,0 13 16,14-12-16,-1-1 0,0 13 0,0-12 15,14 12-15,-14-13 0,13 14 16,41-1-16,-41-13 15,0 1-15,1-1 0,-1 0 0,1-13 16,13 13-16,-27-13 0,13 13 16,-13-13-16,1 0 0,-1 0 0,0 0 15,0 0-15,1 0 16</inkml:trace>
  <inkml:trace contextRef="#ctx0" brushRef="#br0" timeOffset="156348.65">24196 860 0,'0'-27'16,"0"14"-16,0 53 31,0 13-15,0-27-1,0-13-15,13 1 0,-13 25 16,14-12 0,-14-14-16,0 0 0,0 1 15,13-1-15,-13 0 16</inkml:trace>
  <inkml:trace contextRef="#ctx0" brushRef="#br0" timeOffset="156836.95">24130 847 0,'-26'13'16,"12"0"-1,-12 0 1,13 14-1,-1-14 1,1 0-16,13 0 31,13-39-15,1 13 0,-1 0-16,0-1 15,0 1-15,1 0 0,-1 13 16,0-13-16,0 13 15,0 0-15,1-14 0,-1 14 0,0 0 16,0 0-16,1 0 0,-1 0 16,0 0-16,0 14 0,1-14 15,-1 0-15,0 0 0,0 13 16,14-13-16,-14 0 16,0 13-16,0-13 15,1 0 16</inkml:trace>
  <inkml:trace contextRef="#ctx0" brushRef="#br0" timeOffset="169892.76">21114 1535 0,'-13'0'15,"65"0"1,-38 0-16,12 0 0,14 0 16,92 13-16,0-13 15,-13 13 1,-79-13-16,0 0 15,66 0-15,-14-13 16,14 0 0,-79-1-16,52 1 15,-53 13-15,1-13 16,-14 13-16,14-13 0,-14 13 16,40-14-16,-40 1 15,0 13-15,14-13 16,-14 0-16,0 13 0,0-13 15,1 13-15,-14-14 0,13 1 0,0 13 16,0-13-16,0 0 0,1-14 16,-1 27-16,-13-13 15,13 0-15,0-1 0,-13 1 0,14 0 16,-14 0-16,13 0 0,-13-1 0,13-12 16,0 13-1,-13-1-15,13 1 0,-13 0 0,0 0 0,0-40 16,0 40-16,0-1 15,-13-12 1,0-1-16,0 14 0,-40-27 16,40 27-16,-14 0 0,14 0 15,-13 13-15,-14-27 16,13 14-16,-39-13 16,53 12-16,-13 1 0,-1 13 0,1-13 15,-14 0-15,-79 0 16,79-1-16,-39 14 15,52-13-15,1 13 0,-14 0 16,14 0-16,-1 0 0,-12 0 16,12 0-16,1 0 0,-1 0 0,1 0 15,-14 13-15,14-13 0,-1 0 0,1 14 16,-14-14-16,14 13 16,-1-13-16,1 13 0,-1-13 0,1 13 15,12 0-15,-12-13 0,0 14 0,12-14 16,1 13-16,-13-13 0,12 13 15,1-13-15,0 13 0,-13 1 0,12-14 16,1 13-16,0-13 0,-14 13 0,14 0 16,0-13-16,0 13 15,-1-13-15,1 0 0,0 14 0,0-14 0,0 13 16,-1 0-16,1-13 16,0 13-16,0-13 0,-14 14 15,27-1-15,-13-13 0,0 13 16,-1 0-16,14 1 0,-13-14 0,13 13 15,-13 0-15,13 0 0,-13 14 16,13-14-16,-13 13 16,13-12-16,0-1 0,0 0 0,0 0 15,13 14-15,-13-14 0,0 0 16,13 27-16,0-27 0,-13 0 16,13 1-16,1-1 0,-1 0 15,0 14-15,-13-14 0,27 0 0,-14 0 16,0 0-16,0-13 0,1 14 15,12 12-15,-13-26 0,14 13 16,-14-13-16,0 0 0,0 14 16,1-14-16,-1 0 0,0 13 0,0-13 15,1 0-15,-1 0 16,0 13-16,0-13 16,0 0-1,1 0 1,-14-13 62,13 13-78</inkml:trace>
  <inkml:trace contextRef="#ctx0" brushRef="#br0" timeOffset="171256.99">20836 1363 0,'-27'0'31,"14"0"-15,-13 0-16,13 0 16,-14 0-16,-26 0 0,27 0 15,-40 0-15,-27 0 16,53 0-16,-105 0 15,105 0 1,27 0-16,-40 13 0,26-13 16,14 0-16,0 0 0,-13 0 0,-1 0 15,14 13-15</inkml:trace>
  <inkml:trace contextRef="#ctx0" brushRef="#br0" timeOffset="171591.89">20188 1283 0,'-66'13'16,"52"-13"-16,1 14 0,-13 12 16,-1 1-16,14-14 15,0 0-15,-14 14 16,27-1-16,0-13 16,13 0-16,14 14 15,13-14 1,-14 0-16,-13 1 15,67-266-15,-120 504 0,53-252 0</inkml:trace>
  <inkml:trace contextRef="#ctx0" brushRef="#br0" timeOffset="174136.88">20082 1402 0,'13'-39'32,"-13"25"-1,-13 14-15,-14 14-1,27-1-15,-26 0 16,26 0-1,-13-13 1,13 14-16,26-28 31,1 1-15,-27 0-16,26 0 16,-13-1-1,-39 41 32,26-14-47,-13 14 31,13-14-31,0 0 16,13-13 0,13-26-1,-12 26 1,-1-14-1,-26 28 32,13-1-47,-14 0 16,14 0 0,-13 0-1,40-26 16,-14 0 1,-26 26 15,-1 0-32,14 1 16,0-41 16,0 1-31,-13 13 15,0 13 0,26-14 1,-13 1-17,0 0-15,27-14 32,-41 41 30,14-1-31,14-26 16,-1-1-31,-13 1-16,0 0 31,-13 26 0,-1 0-31,1 14 32,0-27-32,13 13 0,-13-13 15,13 13-15,-14 1 16,41-28 31,-14 14-32,-13-13-15,13 13 0,-13-13 16,14 13 0,-41 13 30,14 0-46,-14 1 32,27-1-32,-13 0 15,0 0 1,13 0-16,13-26 234</inkml:trace>
  <inkml:trace contextRef="#ctx0" brushRef="#br0" timeOffset="179417.83">22503 1124 0,'66'0'0,"-53"0"16,0-13-16,1 13 0,25 0 16,-25 0-16,-1 0 15</inkml:trace>
  <inkml:trace contextRef="#ctx0" brushRef="#br0" timeOffset="179619.86">22569 1270 0,'66'-13'16,"-39"13"0,-14 0-16,0 0 0</inkml:trace>
  <inkml:trace contextRef="#ctx0" brushRef="#br0" timeOffset="182006.02">22410 1482 0,'-66'-27'16,"40"27"-16,12-13 16,1 13-16,0 0 0,-14 0 0,14 0 15,0 0-15,-27 0 16,27 0-16,-13 0 0,-14 0 16,27 13-16,-27-13 0,14 0 15,-14 13-15,13 1 16,1-14-16,13 13 0,-14 0 0,1 0 15,13-13-15,-1 14 0,-39 25 16,40-39 0,0 14-16,0-1 0,13 0 0,-27 13 15,27-12-15,-13-1 0,0 13 16,13-12-16,0-1 16,-13 13-16,13-13 0,0 1 15,0 12-15,0-13 0,0 1 16,0-1-16,13 0 0,40 53 15,-27-53-15,1 14 16,12-1-16,-12-12 16,39 12-1,-53-26-15,14 13 0,26 1 16,-27-1-16,-13-13 0,14 13 16,39-13-16,-53 0 0,80 13 15,-67-13-15,1 0 16,12 0-16,14 0 15,-13 0-15,13 0 16,-14 0-16,-25 0 16,-1 0-16,27 0 0,-14 0 15,-13 0-15,1 0 0,52-13 16,-53 13-16,13 0 16,1-13-16,13 0 15,-27 13-15,13 0 0,-13-14 16,1 14-16,-1 0 0,13-13 15,-12 13-15,-1-13 0,0 13 16,0-13-16,1-1 0,-1 14 16,0 0-16,-13-13 0,13 13 15,0-13-15,-13 0 0,14 13 16,-14-14-16,13 14 0,0-13 0,0 0 16,-13 0-16,14 0 15,-14-1-15,0 1 0,13 13 0,-13-13 16,0 0-16,0-1 0,0-12 15,0-1 1,-13 14-16,13 0 16,-14 0-16,14 0 0,-13-1 15,13 1-15,-13 0 0,13 0 0,-13-1 16,-1 1-16,-12-26 16,26 25-16,-13 14 0,0-13 15,13 0-15,-14 0 0,1-1 16,0 1-16,13 0 0,-13 13 0,-1-13 15,1-1-15,0 1 16,0 13-16,-1-13 0,1 13 16,0-13-16,0 13 0,-14-13 15,14 13-15,-27-14 0,27 1 16,-13 13-16,-1 0 0,1-13 0,-40 13 16,39 0-16,1 0 0,-14-13 15,14 13-15,-1 0 0,1 0 16,-1 0-16,-39 0 0,40 13 15,-1-13-15,-13 0 0,-12 13 16,38-13-16,-12 0 16,-1 13-16,14-13 0,-27 14 15</inkml:trace>
  <inkml:trace contextRef="#ctx0" brushRef="#br0" timeOffset="183043.86">23191 1614 0,'26'-13'47,"-13"13"-47,14 0 16,-14 0-16</inkml:trace>
  <inkml:trace contextRef="#ctx0" brushRef="#br0" timeOffset="183220.77">23164 1720 0,'27'0'16</inkml:trace>
  <inkml:trace contextRef="#ctx0" brushRef="#br0" timeOffset="189203.57">17740 6310 0,'40'133'16,"-40"-80"-16,0-27 15,0 0-15</inkml:trace>
  <inkml:trace contextRef="#ctx0" brushRef="#br0" timeOffset="189412.9">17992 6919 0,'13'66'0,"-13"-40"15,0-12-15,13-1 0,-13 27 16,13-27-16,-13 0 16,14 0-16,-14 1 0</inkml:trace>
  <inkml:trace contextRef="#ctx0" brushRef="#br0" timeOffset="191640.57">17740 6350 0,'27'-13'15,"-14"0"1,27-1-16,-14 14 0,14-26 16,0 13-16,79-27 15,-40 13-15,-39 1 0,39 0 16,-13 12-1,-53 1-15,14 13 0,-14-13 16,0 13-16,1 0 0,-1 0 16,0-13-16,0 26 15,0 0 1,1 0-16,-14 1 0,0-1 16,13 13-16,0-13 0,0 54 15,14 12-15,-14 0 16,0-39-16,1 0 0,-1-1 15,13 41-15,-26-40 0,27 26 16,-1-27-16,1 14 16,-27-26-16,13-1 15,13 14-15,-26-27 0,13 0 16,1 1-16,-1 12 0,-13 0 16,13-12-16,-13-1 15,0 0-15,0 0 16,0 1-16,-13-1 15,-14 0 1,14 0 0,0-13-16,-13 14 0,12-14 15,-12 0-15,13 0 0,-14 13 16,14-13-16,-13 0 0,-1 13 16,-13-13-16,27 13 15,0-13-15,0 0 0,-14 0 16,14 13-16,0-13 0,0 0 0,-1 0 15,1 0-15,0 0 0,-14 0 16,14 0-16,0 14 16,0-14-16,-14 0 15,14 0 1,0 0-16,0 13 16,-1-13-1,1 0 16,0-13-15,0 13 0,13-14-1,-14 14 1,1 0 15,0 0-31,0 0 31,0-13-15,13 0 15,-27-27-15,14 27 0,13 0-16,-13 0 15,-1-1-15,1-12 16,0-1-16,0 14 0,-1-13 15,14-1-15,-13 14 16,13 0-16,-13-27 0,13-26 16,0 26-1,0 27-15,0 0 0,13-14 16,-13 14-16,0-13 16,0 13-16,0-1 0,0-12 15,0-1-15,0 1 16,0 13-16,0-14 15,-13 1-15,13 13 16,-13-1-16,13 1 16,-13 0-16,13 0 15,-14-14 1,14 14 0,0 0-16,-13 13 15,13-14 1,-13 1 15,13 0 0,-13 13 1,13-13 14</inkml:trace>
  <inkml:trace contextRef="#ctx0" brushRef="#br0" timeOffset="196461.79">9697 5080 0,'93'-13'16,"-67"0"-16,-13 13 0,14 0 16,-14-14-16,13 14 0,-12 0 0,52-13 15,-53 0-15,0 13 16,0-13-16,14 13 15,-1-14-15</inkml:trace>
  <inkml:trace contextRef="#ctx0" brushRef="#br0" timeOffset="196721.13">9935 4908 0,'40'0'47,"-1"26"-31,-25-26-16,-14 14 0,26-1 16,-26 0-16,13 0 0,-13 1 15,0-1-15,0 0 16,0 0-16,0 1 0,0-1 0,0 0 15,-13 0-15,13 0 16,0 1-16,0-1 0</inkml:trace>
  <inkml:trace contextRef="#ctx0" brushRef="#br0" timeOffset="197015.86">9710 5503 0,'53'-13'15,"-26"13"-15,-1-13 16,14 13-16,-1-13 16,-12 13-16,-14-14 0,53 1 15,-53 13 1,1-13-16</inkml:trace>
  <inkml:trace contextRef="#ctx0" brushRef="#br0" timeOffset="197270.83">9988 5292 0,'13'0'16,"0"0"-16,14 0 15,-14 13-15,0-13 0,-92-13 0,185 39 16,-93-13-16,0 1 15,1 12-15,-1 1 16,-13-14-16,0 0 16,0 0-16,0 0 15,0 1-15,-13-1 0,13 0 16</inkml:trace>
  <inkml:trace contextRef="#ctx0" brushRef="#br0" timeOffset="198997.58">9882 5966 0,'27'-13'16,"-14"13"-1,0 0-15,14-13 0,-14 13 16,13-13-16,-13 13 15,1 0-15,12-14 16,1 14-16,-14-13 0,0 13 0,0 0 16,1-13-16</inkml:trace>
  <inkml:trace contextRef="#ctx0" brushRef="#br0" timeOffset="199266.02">10147 5781 0,'79'40'16,"-66"-27"-16,14 0 0,-14 1 0,-13-1 15,13 13-15,1 1 0,-14-14 16,0 13-16,0-12 0,0-1 16,-14 13-16,1 14 15,13-27-15,-13 0 0,0 1 0,-1-14 0,14 13 16</inkml:trace>
  <inkml:trace contextRef="#ctx0" brushRef="#br0" timeOffset="199768.83">10358 4842 0,'27'13'15,"-14"0"1,-13 1-16,0-1 0,13 0 16,-13 0-16,0 0 0,14-13 15,-14 14-15</inkml:trace>
  <inkml:trace contextRef="#ctx0" brushRef="#br0" timeOffset="199951.63">10319 4683 0,'-13'-13'16</inkml:trace>
  <inkml:trace contextRef="#ctx0" brushRef="#br0" timeOffset="200463.75">10530 4710 0,'14'39'15,"-1"-26"-15,-13 1 16,0-1 0,0 0-16,0 0 0,0 1 31,26-28 0,-12 1-15,-1 13 15,0 0-15,0 0-16,0 13 15,1-13 16,-1-13-15,0 0 0,0 13-1,1-13 1,-1 13 0,0 0 15,0 0-16</inkml:trace>
  <inkml:trace contextRef="#ctx0" brushRef="#br0" timeOffset="200884.94">10874 4670 0,'-26'13'15,"13"0"1,13 1-16,-14-14 15,14 13-15,0 0 0,0 0 16,14-13 0,-1 0-1,0-13 1,0 0 0,-13 0-1,14 26 16,-1-13-15,0 13 0,0-13-16,1 0 15</inkml:trace>
  <inkml:trace contextRef="#ctx0" brushRef="#br0" timeOffset="201363.62">11060 4643 0,'-27'14'0,"14"-1"0,0-13 16,13 13-1,0 0 1,13 1-16,0-1 15,0 0 1,1-13-16,-14 26 16,13-26-16,-13 14 15,0-1-15,-13 0 16,-1 0-16,14 1 16,-13-14-1,13-14 16,27-25-15,-14 25-16,-13 1 0,13 0 16,13 0-16,-12 0 15,-1 13-15,0 0 16,0 0 0,1 13 15,-14 0-31,0 0 15</inkml:trace>
  <inkml:trace contextRef="#ctx0" brushRef="#br0" timeOffset="201494.18">11218 4591 0,'-39'-14'32,"25"28"-32,67-14 15</inkml:trace>
  <inkml:trace contextRef="#ctx0" brushRef="#br0" timeOffset="201796.83">11271 4630 0,'0'13'15,"0"1"-15,13-1 16,-13 0 0,14 0-1,-41-79 1,67 132-16,-14-79 31,-12 13-15,-1 0-1,0 0-15,0 0 16,14-13 0,-14 13-16,0 0 0,0 0 15</inkml:trace>
  <inkml:trace contextRef="#ctx0" brushRef="#br0" timeOffset="202241.93">11853 4524 0,'-53'14'15,"40"-1"-15,0-13 0,0 13 0,0-13 16,13 13-16,-14 1 15,14-1 1,14 0-16,-1-26 16,0 13-1,0 0-15,0 0 0,1 0 16,-1-13-16,0 13 16,0 0-1,1 13-15,-1-13 16,-13 13-1,13-13 1,13 0 0,-26-13-16</inkml:trace>
  <inkml:trace contextRef="#ctx0" brushRef="#br0" timeOffset="202407.11">12065 4471 0,'0'-26'16,"-13"66"0,0-27-1,13 0-15,0 0 0,26-66 0,-66 133 16,40-67-16,14-13 16</inkml:trace>
  <inkml:trace contextRef="#ctx0" brushRef="#br0" timeOffset="202711.89">12171 4485 0,'0'-14'15,"-40"41"17,40-1-32,0-12 15,0-1 1,0 0-16,13-13 15,1 0-15,-1 0 16,0 0-16,-26-79 0,26 145 16,0-66-16,-13-13 15,0-1 1,-13 1-16,0 0 31,26 13 0</inkml:trace>
  <inkml:trace contextRef="#ctx0" brushRef="#br0" timeOffset="202932.81">12224 4485 0,'53'39'47,"-27"-65"-16,-13 13-15,-105 13-1,171-14-15,-79 1 0,-13 13 32,0 0-32,-1 0 15,1 13-15</inkml:trace>
  <inkml:trace contextRef="#ctx0" brushRef="#br0" timeOffset="203753.38">12462 4405 0,'0'14'16,"13"-1"-16,-13 0 15,0 0-15,13-13 0,1 13 16,-1-13 0,0 0-16,0 0 15,-13-13 16,-13 0-15,0 0-16,0 13 16,-14 13-16,14-13 15</inkml:trace>
  <inkml:trace contextRef="#ctx0" brushRef="#br0" timeOffset="204336.87">10636 5292 0,'0'-14'16,"13"54"-1,-13-13 1,0-14-16,14 27 16,-1 12-1,-13-25 1,13-14-16,-13 0 15</inkml:trace>
  <inkml:trace contextRef="#ctx0" brushRef="#br0" timeOffset="204749.79">10583 5437 0,'66'-53'62,"-52"40"-62,25 0 32,-25 0-32,-1 26 15,0-13 1,0 0-16,-185 79 15,344-145-15,-158 79 0,-1 1 16,-13-1-16,0 0 16,13-13-16,-13 13 15,13-26 17,-13 0-17,0 0-15,0-1 0,13 1 16,1 0-16,-14 0 15,13-1-15,-13 1 0,13 13 16,0 0 0,1-13-16,-1 26 15</inkml:trace>
  <inkml:trace contextRef="#ctx0" brushRef="#br0" timeOffset="205276.81">10993 5411 0,'0'-40'16,"0"27"-16,14-14 31,-28 41 16,14-1-47,14 13 31,-28 1-31,41-54 16,-1 27-1,-12 0 1,-1-13-16,0 0 0,0 13 15,0-13-15,-13-1 0,27 1 16,-14 0 0,-13 0-16,0-1 15,-13 41 32,13-14-31,0 0-16,0 1 15,13-1 1,0 0 15,1-26-15</inkml:trace>
  <inkml:trace contextRef="#ctx0" brushRef="#br0" timeOffset="206218.71">11615 5054 0,'-13'0'15,"0"0"-15,0 0 16,-1 0-16,1 0 15,0 0-15,0 0 16,26 26 15,0-26-31,-13 13 16,13-13-16,14 27 16,-1-1-16,-26-13 0,13-13 15,-13 27 1,0-14-16,0 14 15,0-14-15,-13 0 0,0 0 16,0 0-16,0 1 0,-1-14 16,14 13-1,-13-13-15,0-13 16,26-14 0,0 14-16,1 0 15,-1 0-15,0-1 16,0 1-16,14-27 15,-1 14 1,1 13-16,-27-1 16,13 1-1,0 0-15,0 13 16,-13-13 0,14 13-1</inkml:trace>
  <inkml:trace contextRef="#ctx0" brushRef="#br0" timeOffset="207456.74">11324 5054 0,'-26'26'16,"26"-13"-16,0 0 15,0 1-15,0-1 0,13 0 16,-13 14-16,0-14 16,13 0-16,-13 0 0,13 1 15,-13-1-15,-13-13 63,-13 0-32,12 13-31,14 0 16,-13 0-16,13 1 31,13-1-31,1-13 16,-1 0-16,13 0 15,-12 0 1,-1-13-16,0 13 15</inkml:trace>
  <inkml:trace contextRef="#ctx0" brushRef="#br0" timeOffset="207636.75">11430 5173 0,'13'26'31,"-13"-13"-31,13 40 31</inkml:trace>
  <inkml:trace contextRef="#ctx0" brushRef="#br0" timeOffset="207795.66">11443 5080 0,'-13'-13'31</inkml:trace>
  <inkml:trace contextRef="#ctx0" brushRef="#br0" timeOffset="208281.83">11628 5067 0,'-52'26'16,"52"-13"-16,-14 14 15,1-14 1,13 0-16,0 1 0,0-1 15,13 0 1,1-13-16,12-13 16,-13 0-1,0-14 1,1 14-16,-14-27 16,13 27-1,0 26 16,-13 0-15,13-13-16,-13 14 16,14-1-16,-1 0 15,0-13-15,0 0 16,1 0-16,-1 0 0,13-13 16</inkml:trace>
  <inkml:trace contextRef="#ctx0" brushRef="#br0" timeOffset="208797.89">11893 5014 0,'-13'79'78,"13"-66"-78,13 54 32,-13-54-32,0 13 0,-13-26 15,13 14 1,-13-1-16,13-26 31,0-1-15,0 1-16,13-13 15,0-1-15,-13-105 16,26 224-16,-12-105 0,-14 0 16,13 0-1,-13 0-15,13-1 16,0 1-16,1 13 31,-1 0-15,-13 13-1,13-13-15,-13 14 32,13-14-32,1 0 15,-1-14 1,0 14 0,0-13-16,0 0 15</inkml:trace>
  <inkml:trace contextRef="#ctx0" brushRef="#br0" timeOffset="213973.88">10755 5808 0,'0'66'15,"14"-53"-15,-14 13 0,0-12 16,0 12-16,0 1 15,0-1-15,0-13 16</inkml:trace>
  <inkml:trace contextRef="#ctx0" brushRef="#br0" timeOffset="214493.56">10755 5821 0,'53'-40'16,"-40"40"-16,14 0 15,-27 13-15,13-13 16,-13 14-16,13-14 0,-13 26 15,0-13 1,0 1-16,0-1 0,0 0 16,0 0-16,14-13 15,-14 13-15,13-13 16,0 14-16,0-14 16,-13 13-16,14-13 15,-14 13-15,0 0 16,-14 1-16,1-1 15,0 0-15,0-13 16,-1 13-16,1-13 16,0 13-16</inkml:trace>
  <inkml:trace contextRef="#ctx0" brushRef="#br0" timeOffset="-214159.28">11086 5794 0,'-40'14'15,"40"-1"-15,-13 0 32,13 0-32,13 1 15,1-14 1,-1-14-1,0 14-15,-13-13 0,13 13 16,-13-13-16,13 0 16,-13-1-1,14 14-15,-14 14 63,13-14-63,-13 13 15,13-13 1,-13 13 0,13-26-16,1 13 15,-14-13 1,13 13-16,-13-14 16,13 14-16,0 0 31,1 14-16,-1-14-15,0 13 16,0 13-16,-13-12 16,0 12-1,0-13 1,-13 0 0,26-39 30,0 13-46,1-14 16,-1 1 0,0 13-1,0 13 32,-13 13-31,14 0-16</inkml:trace>
</inkml:ink>
</file>

<file path=ppt/ink/ink19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5:08:47.198"/>
    </inkml:context>
    <inkml:brush xml:id="br0">
      <inkml:brushProperty name="width" value="0.05292" units="cm"/>
      <inkml:brushProperty name="height" value="0.05292" units="cm"/>
      <inkml:brushProperty name="color" value="#0070C0"/>
    </inkml:brush>
  </inkml:definitions>
  <inkml:trace contextRef="#ctx0" brushRef="#br0">5358 1323 0,'13'-13'0,"14"-1"16,-1 14-16,14-13 0,13 0 15,13 0-15,106-14 0,79 1 16,14 13-16,-133-1 15,13 1-15,1 0 0,-1 13 16,14-13-16,119-1 0,-132 1 16,-1 13-16,93-13 15,-39 13-15,-107 0 0,14-13 16,-13 13-16,-14 0 0,0 0 16,40 0-16,-66 0 0,-13 0 15,13 0-15,-40 0 0,0 0 16,-13 13-16</inkml:trace>
  <inkml:trace contextRef="#ctx0" brushRef="#br0" timeOffset="384.07">5821 1508 0,'344'-40'16,"-225"27"0,132-13-16,53-1 15,-158 14-15,0 13 0,-1-13 16,159 0-16,-39-1 15,-67 1-15,-105 13 16,0 0-16,65 0 0,-39 0 16,0 0-1,-79 0-15,-27 0 0,14 0 16,-1 0 0,-13 0-16,-39 13 31,13-13-31,0 0 15</inkml:trace>
  <inkml:trace contextRef="#ctx0" brushRef="#br0" timeOffset="2642.56">9194 6310 0,'27'53'16,"-27"-40"0,13 1-16,0 25 0,14-12 15,-1 13 1,14-14-16,-27-13 16,13 0-16,-12 1 0,39-1 15,-14-13 1,1-13-16,-27 13 0,14-14 15,12 1-15,14-26 16,-13 12 0,-14 1-16,-12 12 15,-1 1-15,0 0 0,0 0 16,-13-1-16,14 14 0,-14-13 16,13 0-1,0 0 1</inkml:trace>
  <inkml:trace contextRef="#ctx0" brushRef="#br0" timeOffset="3089.89">9657 6310 0,'66'-26'16,"-52"26"-16,12 0 0,-13 0 0,14 0 15,-1 0-15,-13 13 16,1 0-16,-14 1 16,13-1-16,-13 13 15,0-13-15,0 1 0,0-1 16,-13 13 0,13 1-16</inkml:trace>
  <inkml:trace contextRef="#ctx0" brushRef="#br0" timeOffset="95400.3">3294 9353 0,'0'-13'16,"0"26"-16,0-39 0,0 12 0,-13 1 15,0 0 1,-1 0-16,1 13 15,-13 0 1,12 0-16,-25 26 16,12-13-16,14 14 0,-13-1 0,-1 1 15,1 12-15,-1 1 0,1 0 16,13-14-16,-14 27 0,14-13 0,0 39 16,-1-39-16,14 0 0,-13-1 15,13 1-15,13 0 0,-13-14 16,53 106-1,-39-105-15,12-1 0,0 1 16,-12-1-16,12-13 0,27 27 16,-26-40-16,-14 13 15,0-13-15,27 14 0,-27-28 16,0 14-16,14 0 0,-14-13 16,13 0-16,1 0 0,-1-14 0,1 14 15,-14-13-15,27-27 0,-14 39 16,-13-12-16,0-1 0,1-12 15,-1 12-15,0 1 0,0-14 0,-13 14 16,0-14-16,14 14 16,-28-14-16,14-13 0,0 13 0,-13 1 0,0-1 15,0-13-15,-1 13 0,1 1 16,0-1-16,0 13 0,-14 1 16,14 0-16,0-1 0,0 14 0,-14-14 15,14 14-15,0 0 0,-14 13 0,1-13 16,13 0-16,-14 13 0,-39-14 15,53 14-15,0 0 16,-1 0-16,-12 0 0</inkml:trace>
  <inkml:trace contextRef="#ctx0" brushRef="#br0" timeOffset="96946.28">6337 9935 0,'66'0'0,"-40"0"0,80 0 15,-53-13-15,79 13 16,-52-13-16,-1 13 0,14-14 15,-14 14-15,14-13 0,-14 0 16,14 13-16,-14-13 0,0 13 0,-12-14 16,12 1-16,-13 13 0,66-13 15,-105 13-15,-1-13 16,1 13-16,-14 0 0</inkml:trace>
  <inkml:trace contextRef="#ctx0" brushRef="#br0" timeOffset="97184.23">7064 9948 0,'503'-39'31,"-437"39"-16,106-14-15,-79 1 0,-67 13 16,1 0-16,-14 0 0,13 0 0,1 0 16,-14 0-1,0 0-15</inkml:trace>
  <inkml:trace contextRef="#ctx0" brushRef="#br0" timeOffset="98470.74">5345 11020 0,'13'0'15,"40"0"1,-27 0-1,-13 0-15,27-13 0,0 13 0,13 0 16,0 0-16,0 0 0,52-14 16,-52 14-16,0 0 15,106 0-15,-53 0 16,-67 0-16,67 14 16,-66-14-16,-14 0 0</inkml:trace>
  <inkml:trace contextRef="#ctx0" brushRef="#br0" timeOffset="101851.59">7832 11020 0,'26'0'31,"14"13"-16,13-13-15,0 0 16,-27 13-16,67-13 16,-40 0-16,-14 14 15,160-14 1,-160 0-16,14 0 0,-13 13 16,0-13-16,-1 0 0,1 0 15,-13 0-15,12 0 0,54 0 16,-1 13-16,-52-13 15,106 0-15,-107 0 16,14 0-16,-13 13 0,53-13 16,-14 0-16,-39 0 15,13 13-15,-14-13 0,14 0 16,-13 0-16,13 0 0,39 0 16,-39 14-16,-13-14 0,53 0 15,26 0 1,-66 0-16,-14 0 0,14 0 0,-13 0 15,66 13-15,-67-13 16,14 0-16,-13 0 0,13 0 0,-13 0 16,-1 0-16,1 0 0,0 13 0,-1-13 15,14 0-15,40 0 16,-53 0-16,-14 0 0,106 13 16,-92-13-16,0 0 15,118 0 1,-118 0-16,0 0 0,13 0 0,-14-13 15,1 13-15,0 0 0,26 0 16,-40 0-16,14-13 16,-13 13-16,-1 0 0,40-13 0,-39 13 15,-1 0-15,0 0 16,1-14-16,-1 14 0,-12 0 0,52-13 16,-40 13-1,-13 0-15,1 0 0,-1 0 16,0-13-16,0 13 0,27 0 15,-27 0-15,1 0 0,-1 0 16,13 0-16,-13 0 0,27 0 16,-27-13-16,1 13 15,25 0-15,-12 0 0,-14 0 16,13-13-16,1 13 16,-1-14-16,1 14 0,-1 0 0,1 0 15,-1-13-15,1 13 0,-1-13 0,27 13 16,-27-13-16,1 13 15,-14-14-15,14 14 0,-1-13 0,1 13 16,-14 0-16,13-13 0,1 13 0,-1-13 16,-13 13-16,14-13 0,39-1 15,-53 14-15,14-13 16,26 0 0,-40 13-16,13 0 0,14-27 15,-14 27-15,-12 0 16,-1-13-16,13 13 0,-12-13 0,-1 13 15,0-13-15,13 13 0,-12-14 16,-1 1-16,27 0 0,-27 0 16,0 0-16,0 13 0,1-14 0,-1 1 15,0 0-15,-13 0 0,13-1 16,0 14-16,14-26 16,-27 13-16,13-1 0,-13 1 0,13 0 15,1 0-15,-14 0 0,13-1 16,0 1-16,-13 0 0,13 0 15,-13-1-15,13 1 0,-13 0 16,0 0-16,0 0 0,0-14 31,-13 14-31,0 0 0,13-1 16,-13 14-16,-27-26 16,27 13-16,0-1 0,-14 1 15,1 0-15,13 13 0,-14-13 16,14 13-16,-14-13 0,1 13 15,-14-14-15,14 14 0,-1-13 16,1 13-16,13 0 0,-14-13 0,1 13 16,-1 0-16,1-13 15,-1 13-15,1 0 0,-14 0 0,14-14 0,-1 14 16,1 0-16,-40-13 16,26 13-16,14 0 0,-1 0 15,-13-13-15,1 13 0,-1 0 0,14 0 16,-14 0-16,0-13 0,14 13 15,-27 0-15,13 0 0,14 0 0,-27 0 16,13-14-16,-13 14 0,13 0 0,-12 0 16,12 0-16,-13-13 0,-106 13 15,106-13-15,0 13 16,0 0-16,1-13 0,-1 13 16,-53-13-16,53 13 0,0 0 15,0-14-15,0 14 0,0 0 16,-159-13-1,160 13-15,-1-13 0,0 13 0,0 0 16,0 0-16,13 0 0,-13-13 16,14 13-16,-54 0 0,67 0 15,-27-14-15,26 14 0,-12 0 0,12 0 16,-13 0-16,14 0 0,-14-13 16,14 13-16,-14 0 0,14 0 0,-14 0 15,13 0-15,-39 0 16,27 0-16,12-13 0,-13 13 0,14 0 15,-14 0-15,14 0 0,-14 0 16,14 0-16,-1 0 0,-12 0 0,-14-13 16,13 13-16,14 0 15,-14 0-15,13 0 0,-39 0 16,27 0-16,-1 0 0,-79-14 16,92 14-16,-52 0 15,53 0-15,-14 0 0,13 0 16,-12 0-16,12 0 0,-12 0 15,12 0-15,1 0 0,-14 0 16,-26 0-16,39 0 0,1-13 0,-1 13 16,1 0-16,-1 0 0,1 0 15,0 0-15,-1 0 0,1 0 16,-1 13-16,14-13 0,-14 0 0,1 0 0,13 0 16,-14 0-16,14 0 15,0 0-15,-14 0 0,14 0 0,-13 0 16,-1 14-16,14-14 0,0 0 15,0 0-15,-1 0 0,1 0 16,-13 0-16,12 13 0,1-13 0,-26 0 16,25 0-16,-12 0 15,13 0-15,-14 13 0,1-13 0,12 0 16,-12 0-16,0 0 0,-1 0 0,1 0 16,-14 13-16,14-13 15,-1 0-15,1 0 0,-1 0 16,-13 0-16,14 0 0,0 14 0,-1-14 15,-13 0-15,14 0 0,-1 0 0,1 13 16,0-13-16,-1 0 0,1 0 16,-1 0-16,14 13 0,-14-13 0,1 0 15,0 0-15,-1 0 0,-13 13 16,27-13-16,-13 0 0,12 0 16,1 0-16,0 0 0,-13 14 0,12-14 15,1 0-15,0 0 0,0 0 0,-1 13 16,1-13-16,0 0 15,0 0-15,0 0 0,-1 13 16,1-13-16,0 13 16,-14 0-1,14-13-15,0 14 16,0-14 0,-14 13-1,27 0-15,-13-13 16,0 13-16,0 1 31,-1-1-15,14 0-1,-13 0 1,0-13 0,13 14-1,-13-1 1,-1-13-1,1 13 1,0 0 15,13 0-15,0 1 0,0-1-1,0 0 1,0 0-1,13 1-15,-13-1 16,0 0-16,0 0 16,13 14-1,-13-14-15,14-13 16,-14 13-16,0 0 0,13 1 16,0-1-16,-13 0 0,13 0 15,1 1-15,-14-1 16,13 0-16,0 0 0,-13 0 0,13 1 15,0-1-15,1 0 0,-1 0 0,0 1 16,0-1-16,1 0 0,-1 0 16,0 1-16,0-1 0,14 0 0,-14 0 15,0 0-15,0 1 0,27 12 16,-27-13-16,14 1 0,-14-1 16,13 0-16,-12 0 0,12-13 15,-13 14-15,14-1 0,-1 0 0,-12-13 16,38 13-16,-12 0 0,-13-13 15,-1 0-15,27 14 0,-13-14 16,13 0-16,-14 0 0,14 0 0,-13 0 16,79 0-16,-79 0 15,-1 0-15,-12 0 0,-1 0 16,1 0-16,-1 0 0,-13-14 16,14 14-16,13 0 15,-27-13-15</inkml:trace>
  <inkml:trace contextRef="#ctx0" brushRef="#br0" timeOffset="104930.41">3466 12184 0,'53'0'16,"-40"13"-1,0-13-15,14 0 0,-14 0 16,14 0-16,12 14 0,-12-14 15,12 0-15,14 13 0,-13-13 0,0 0 16,13 0-16,39 13 0,-39-13 16,0 13-16,-13-13 0,26 0 15,40 0-15,-53 0 0,13 0 16,-13 13-16,13-13 0,145 0 16,-131 0-16,-14 0 15,13 0-15,1 14 0,-1-14 0,-13 0 16,0 0-16,-13 0 0,14 13 15,12-13-15,-13 0 0,80 0 16,-67 0-16,0 0 0,1 0 0,-1 0 16,0 0-16,-12 0 15,12 0-15,0 0 0,1 0 0,52 0 16,-79 0-16,13 0 0,172 0 16,-158 0-1,-14 0-15,13 0 0,-13-13 0,0 13 16,0 0-16,14-14 0,-27 14 15,0 0-15,13-13 0,13 13 0,-13-13 16,1 13-16,-15 0 0,1-13 0,14 13 16,-15 0-16,1 0 0,0-13 15,13 13-15,-13 0 0,0 0 0,13-14 16,-13 14-16,13 0 0,-13 0 16,119-13-1,-119 13-15,0-13 0,0 13 0,0 0 16,0-13-16,0 13 0,0-14 0,0 14 15,0 0-15,52-13 16,-52 13-16,0 0 0,-13-13 0,13 13 16,-13 0-16,12-13 0,-12 13 15,0 0-15,0 0 0,-1-14 0,1 14 16,-14 0-16,14 0 0,-14 0 0,14-13 16,-13 13-16,-1 0 15,1 0-15,-1-13 0,0 13 0,1 0 0,-1 0 16,-12-13-16,12 13 0,1 0 15,-1-13-15,-13 13 0,14 0 16,-1-14-16,-13 14 0,14 0 0,-1-13 16,1 13-16,12-13 0,-12 13 15,-1 0-15,1-13 0,52 13 16,-66-14-16,14 14 16,-1 0-16,27-13 0,-26 13 15,12 0-15,-12-13 0,-1 13 16,1 0-16,-14 0 0,27-13 0,-14 13 15,-13 0-15,14-14 0,-1 14 0,1-13 16,-1 13-16,-13 0 0,14-13 16,-1 13-16,1-13 0,-14 13 15,13-13-15,-12 13 0,52-27 16,-53 14-16,0 13 16,1-13-16,-1-1 0,13 14 0,-13-13 15,-13 0-15,14 0 0,25-14 16,-25 14-16,-14 0 15,13 0-15,0-1 0,0 1 16,-13 0-16,14 0 0,-1-14 16,-13 14-1,0 0-15,13 0 0,-13-1 0,0 1 16,0 0 0,0 0-16,0-1 0,-13 1 0,0 0 15,13 0-15,-14-1 0,1 1 16,-13-13-1,12 13-15,-12-1 16,13 1-16,-1 13 0,1-13 0,0 13 16,0-13-16,0-1 0,-1 14 15,1-13-15,0 13 0,0-13 0,-1 13 16,-12-13-16,-1-1 16,1 14-16,13-13 0,0 13 15,-14-13-15,14 13 0,-14 0 0,14-13 0,0 13 16,-13 0-16,12-13 0,-25-1 15,12 14-15,-13-13 16,14 13-16,0 0 0,-1 0 16,14-13-16,-14 13 0,-12 0 15,12 0-15,-26-13 0,14 13 16,12 0-16,-12 0 0,-54-14 16,-26 14-1,79 0 1,0-13-16,14 13 0,-27 0 0,13 0 0,14 0 15,-80 0 1,0 0 0,67 0-16,12 0 0,-13 0 0,-12 0 15,12-13-15,-13 13 0,13 0 16,1 0-16,-14 0 0,13 0 0,-53 0 16,54 0-16,-1 0 0,0-13 15,1 13-15,12 0 0,-13 0 16,-12 0-16,12 0 0,-13 0 15,0 0-15,-185 13 16,198-13-16,14 0 16,-14 0-16,-26 0 0,26 0 15,1 0-15,12 0 16,-13 0-16,1 0 0,12 0 0,-26 0 16,-13 13-16,-53-13 15,79 0-15,1 0 0,12 0 16,-65 0-1,52 0-15,14 0 0,-1 0 16,1 0-16,-1 0 0,14 0 16,-14 0-16,1 0 0,0 13 0,-14-13 15,13 0-15,1 0 0,13 0 16,-14 0-16,1 0 16,-27 0-16,26 0 0,-52 14 15,53-14-15,-27 0 16,39 13-16,-12-13 15,0 0-15,-1 0 0,14 13 0,-14-13 16,14 0-16,-13 13 0,12-13 16,-12 14-16,0-14 0,-14 13 15,27 0-15,-1-13 0,1 13 16,-13-13-16,26 13 0,-14-13 16,1 14-16,-13-1 0,13-13 15,-1 13-15,14 0 0,-13-13 0,0 14 16,13-1-16,-13-13 0,13 13 15,-14 0-15,14 1 0,-13-14 16,0 13-16,13 0 0,0 0 0,-13 0 0,0 1 16,13 25-1,-14-25-15,14 12 16,-13-13-16,13 1 0,0-1 16,0 0-16,-13 0 0,13 0 15,0 14-15,0-14 0,-13 0 0,13 1 16,0 12-16,0-13 15,13 14-15,-13-14 0,0 0 16,13 27-16,-13-27 0,13 0 16,1 1-16,-14-1 0,13 0 0,0 0 15,13 14-15,-12-14 0,-14 0 16,13 0-16,27 27 16,12 0-1,-12-14 1,-27-13-16,14 1 0,13-14 0,39 13 15,-26 0-15,0-13 16,119 13 0,-106-13-16,13-13 0,1 13 0,-1 0 0,80 0 15</inkml:trace>
  <inkml:trace contextRef="#ctx0" brushRef="#br0" timeOffset="107965.33">10081 5305 0,'-14'26'47,"14"-12"-47,-13 25 15,0-25-15,13-1 16,-13 0-16,13 0 0,-14 0 16,14 1-16,-13-1 0,13 0 0,-13 0 15,13 1-15,-13-1 16,0 0 15</inkml:trace>
  <inkml:trace contextRef="#ctx0" brushRef="#br0" timeOffset="108262.95">9909 5490 0,'-14'13'15,"1"1"1,13-1-16,0 0 0,-13 0 15,13 0-15,13 1 16,-13-1-16,0 0 0,13 0 16,1-13-1,-1 14-15,13-1 16,-12-13-16,-1 0 16,13-13-1,-13-1-15,1 14 0,-1-13 0,0 13 16,0-13-16,1 0 0,-1 13 15,0-14-15,0 1 0</inkml:trace>
  <inkml:trace contextRef="#ctx0" brushRef="#br0" timeOffset="108716.18">10292 4802 0,'14'53'31,"-14"-40"-31,13 14 0,-13 26 16,13-40-1,-13 0-15,0 0 0,13 14 0,-13-14 0,13-13 16,-13 13-16,14 1 16,-14-1-16,13 0 0,0-13 15,0 0 1,1 0-16,-1 0 16,0-13-16</inkml:trace>
  <inkml:trace contextRef="#ctx0" brushRef="#br0" timeOffset="108912.41">10226 4974 0,'27'-26'31,"-14"12"-31,0 14 0,0-13 15,1 13-15,-1 0 0,13-13 16,-13 13-16,1 0 0,-1 0 16,0 0-16</inkml:trace>
  <inkml:trace contextRef="#ctx0" brushRef="#br0" timeOffset="109208.28">10544 4974 0,'0'-26'16,"0"12"-16,0 1 16,-14 13-1,-12 27 1,0-1-1,26-13 1,13 14 0,13-27 15,-13 0-31,14 0 0,-14-13 0,27-1 16</inkml:trace>
  <inkml:trace contextRef="#ctx0" brushRef="#br0" timeOffset="109453.18">10689 4868 0,'-13'0'16,"39"27"15,-12-14-15,-1 0-16,-13 0 0,13 1 15,-13-1 1,0 0-16,-13 0 16,0-13-1,-1 14 1,14-28 0</inkml:trace>
  <inkml:trace contextRef="#ctx0" brushRef="#br0" timeOffset="109643.05">10742 4789 0,'0'-13'0,"13"-1"16,-13 41 15,14-14-15,-14 0-16,13 1 0,-13-1 0,13 13 15,-13-12 1,13-1-16,-13 0 0,13 0 15,1 0 1</inkml:trace>
  <inkml:trace contextRef="#ctx0" brushRef="#br0" timeOffset="109809.01">10782 4895 0,'0'-13'0,"0"-1"16,13 1-16,0 13 16,0-13-16,1 13 15,-1-13 1</inkml:trace>
  <inkml:trace contextRef="#ctx0" brushRef="#br0" timeOffset="110215.42">11112 4617 0,'-13'26'16,"26"-12"-16,14 12 16,-14-13-16,0 14 15,14-1 1,-14-26-16,-13 13 0,13 1 0,-26 12 15,13-13 1,-13-13-16,13 14 0,-13-14 0,-1 13 16,1-13-16,0 13 15,0-13-15,-27 13 16,27-13-16,0-13 0,-1 0 31</inkml:trace>
  <inkml:trace contextRef="#ctx0" brushRef="#br0" timeOffset="110963.2">11324 4617 0,'-26'0'0,"12"13"16,1-13-16,13 13 16,0 14-1,0-14 1,13-13 0,1 13-1,-1-13-15,0-13 0,0 0 16,1 13-1,-14-13 1,13-1-16,-13 1 31,13 26 16,-13 1-47,13-14 16,14 0-1,-14 0-15,0 0 16,0-14 0,1 1-16,-1 0 31,-13 0-15,13 13-1,0 0 1,1 13-1,-1 0-15,0 0 16,0-13 0,-13 14-16,14-1 0,-14 0 15,0 14 1,-14-27-16,14 13 0,-13-13 16,13 13-16,-13-13 0,13 13 15,-27-13 1,27-13-1,14 0 1,-14 0 0,13-1-16,0 1 15,14 0 1,-14 0-16,-13-1 0,13 14 0,0-13 0,0 0 16,1 13-16,-1-13 0</inkml:trace>
  <inkml:trace contextRef="#ctx0" brushRef="#br0" timeOffset="111389.41">11867 4379 0,'0'26'16,"26"1"-1,-13-14-15,0-13 0,1 0 16,-1-13 0,0 13-16,0-13 0,1-1 15,-1 1 1,-13 0-16,13 13 15,-13 13 17,0 0-32,-13 27 15,13-14-15,0-12 16,0-1-16,-13 0 0,13 0 16,-14 27-1,14-27-15,0 1 0,-13-14 16,13 13-1</inkml:trace>
  <inkml:trace contextRef="#ctx0" brushRef="#br0" timeOffset="111888.56">12131 4471 0,'13'-26'0,"1"13"0,-1-14 32,-13 14-32,0 0 0,0 0 15,-13 13 1,-1 13 0,14 0-1,-13 0 1,13 1-16,0-1 15,0 0-15,13-13 0,-13 13 16,27-13 0,-14 0-16,0 0 0,1-13 15,12 0 1,-13 13-16,0-13 0,1-1 16,-1 1-1,-13 0-15,13 13 16,-13-13-16,13-1 15,1 28 1,-1 12 0,-13-13-1,0 1 1,0-1-16,-13-13 0,13 13 16,-14 0-1,1 0-15,0-13 16,13 14-16,-13-14 15,-1 0-15,1 0 0</inkml:trace>
  <inkml:trace contextRef="#ctx0" brushRef="#br0" timeOffset="114027.45">9036 5411 0,'0'-13'16,"13"39"15,0-26-31,0 26 16,-13-12-16,0-1 0,13 0 0,1 27 15,-1-27-15,-13 0 16,13 0-16,-13 1 15,13-1-15,-13 0 0,0 14 16</inkml:trace>
  <inkml:trace contextRef="#ctx0" brushRef="#br0" timeOffset="114360.72">9036 5583 0,'0'13'0,"13"0"15,0 0-15,-13 1 0,13-1 16,0-13-16,-13 13 0,27 0 15,-1 1-15,-12-14 16,-1 0 0,0 0-16,0 0 0,1-14 15,-1 1-15,-13 0 16,13-14 0,0 14-16,-13 0 0,0 0 15,13-1-15,-13 1 16</inkml:trace>
  <inkml:trace contextRef="#ctx0" brushRef="#br0" timeOffset="115456.41">8123 5120 0,'-14'26'32,"28"-13"-32,-14 1 0,0-1 15,0 0-15,0 0 0,0 1 16,0-1-16,13 0 16,-13 0-16,-13-39 46,13 13-46,-14-27 16,14 27-16,-26-54 31,26 41-31,0 13 0,0 0 0,0-1 0,0 1 16,0-13 0,13 26-1,0 0-15,14 26 16,-14-13-1,-13 1-15,13-1 0,14 13 16,-14-13 0,-13 1-16,13-14 0,-13 13 0,14 0 15,-1 0-15,0 1 16,-13-1 0</inkml:trace>
  <inkml:trace contextRef="#ctx0" brushRef="#br0" timeOffset="115625.73">8123 5226 0,'26'-40'15,"-13"27"-15,1-1 16,-1 14-16,0-13 0</inkml:trace>
  <inkml:trace contextRef="#ctx0" brushRef="#br0" timeOffset="116276.32">8374 4961 0,'-13'0'15,"0"13"1,13 0-16,0 1 15,0-1-15,0 0 16,0 0-16,13 1 16,0-1-16,0 0 0,1-13 15,-1 13-15,0-13 16,13 0 0,-12 0-16,-14-13 0,13 13 15,0-13-15,-13 0 16,13-1-1,-13 1-15,27 26 63,-14-13-47,0 0-16,0 0 15,1 0-15,12-13 16,1-13-1,-14 26-15,-13-14 16,13 1-16,-13 0 0,0 0 16,0-1-16,0 1 0,0 0 15,0 0-15,0 0 0,0-1 16,-13 1-16,13 0 16,-13 0-16,13-1 15,0 1 1,-14 0-1,14 0 1,-13 13-16,13-14 16,-13 28 93</inkml:trace>
  <inkml:trace contextRef="#ctx0" brushRef="#br0" timeOffset="116680.52">8506 5067 0,'-13'-13'16,"0"-14"-16,0-26 16,-1 27-16,14 12 15,-26-25-15,26 12 0,-26-12 0,12 12 16,1-13-16,-13-26 16,12 40-16,1-1 0,0 14 0,13 0 15,-13 0-15,13 0 0,-14-1 0,14 1 16,-13 13-1,13-13-15,-26 39 16,26-12 0,0 12-1</inkml:trace>
  <inkml:trace contextRef="#ctx0" brushRef="#br0" timeOffset="116847.23">8242 4776 0,'26'-14'16,"-13"14"-16,14-26 31,-14 13-31,0 13 0,1 0 0,-1-13 16,0 13-16,0 0 0,1 0 15,-1 0-15</inkml:trace>
  <inkml:trace contextRef="#ctx0" brushRef="#br0" timeOffset="118005.5">8665 4842 0,'-13'13'16,"39"14"-1,-26-14-15,14-13 16,12 13-16,-13-13 16,0-13-1,1 13-15,-1-13 16,0-1-16,-13 1 16,0 0-16,0 0 0,0-1 15,0 1-15,13 0 0,-13-14 16,14 41 31,-14-1-32,13 13 1,0-26-16,14 0 31,-14 0-31,0 0 0,0 0 0,-13-13 16,13 13-16,-13-13 0,14 13 15,-14-13-15,0-1 16,-14 1 0,14 0-1,-13 26 1,0-13 0,13 13-16,-13-13 0,13 14 15,0-1 1,0 0-1,13-26 17,0 13-1,0 0-15,1 0 15,-1 0-16,0-13 1,0-1-16,-13 1 16,14 13-16,-14-13 0,0-27 15,0 27-15,0 0 0,13 0 16,-13-1-16,0 1 16,0 0-1,0 39 16,13-12-15,-13-1 0,27-13-16,-14 0 15,0-27 1,0 14-16,0 0 16,-13-13-16,0 12 0,14 1 15,-14-13-15,0 12 0,0-12 0,0 13 16,0-1-16,0 1 0,13-13 15,-13 13-15,0-1 16,0 54 0,0-27-1,0 14-15,0-14 0,13 13 16,-13-12-16,13 12 16,-13-13-16,14-13 0,-1 14 0,-13-1 15,26-13-15,-12 13 16,-1-13-16,0 0 0,0 0 0,0 0 15,1 0-15</inkml:trace>
  <inkml:trace contextRef="#ctx0" brushRef="#br0" timeOffset="118575.45">9155 4233 0,'26'27'0,"-13"12"16,1 1-1,-1-27-15,-13 1 0,13 12 16,-13-13-16,13 1 0,-13-1 16,0 0-16,13-13 0,-13 13 15,14-26 17,-14 0-17,13 0 1,-13-1-16,13 14 0,0-13 15,1 13 1,25 13 0,-26-13-16,14 0 15,-14 0-15,0-13 16,1 13-16,12 0 0</inkml:trace>
  <inkml:trace contextRef="#ctx0" brushRef="#br0" timeOffset="119080.12">9551 4339 0,'-13'-26'16,"-13"26"0,13 13-16,-1-13 15,14 13-15,-13-13 0,13 13 16,-13-13-16,13 14 16,0-1-16,13-13 15,-13 13 1,13-26-1,1 0 1,-1 13 0,0-14-1,0 14-15,14 0 32,-14 14-17,0-14-15,0 0 16,-13 13-1,14-13-15,-1-13 16,0-1 0,-13 1-16,13 13 15,-13-13-15,0 0 0,14 13 0,-14-14 16,13 1-16,-13 0 0,13 0 16,0 0-1,0 13 1,1 13-1,-1-13-15,-13 13 16,13 0-16,0 0 16,-13 1-16,14-14 15,-14 13 1,13-13-16</inkml:trace>
  <inkml:trace contextRef="#ctx0" brushRef="#br0" timeOffset="119288.56">9737 4101 0,'0'-13'15,"-14"26"1,14 0-16,14 1 15,-14-1 1,13-13 0</inkml:trace>
  <inkml:trace contextRef="#ctx0" brushRef="#br0" timeOffset="119951.46">9842 4180 0,'14'27'16,"-1"-14"-1,-13 0-15,0 1 16,13-14-1,0-14 32,1 14-31,-14-13-16,13 13 16,13-26-1,-12 26-15,-14-14 0,13 14 16,0-13-16,0 13 0,-13-13 15,13 13-15,1 0 32,-1 13-17,-13 0-15,13-13 16,-13 14-16,0-1 0,0 0 0,0 0 16,0 1-1,0-1-15,0 0 0,0 0 16,0 0-16,-13-13 15,0-13 17,13 0-17,13 0-15,-13 0 16,13-1 0</inkml:trace>
  <inkml:trace contextRef="#ctx0" brushRef="#br0" timeOffset="121189.32">10345 3995 0,'-26'13'15,"13"1"1,13-1-16,-14 0 0,14 0 15,0 1 1,0-1 0,14-13-16,-1-13 15,0-1 1,0 14 0,0 0-1,1 14 16,-1-14-15,0 0 0,0 0-1,1-14-15,-1-12 16,-13 13-16,0-1 0,13 1 16,-13 0-16,0 0 0,0 0 15,0-1-15,0-12 0,-13 13 16,13-14-16,0-26 15,0 40-15,0 0 16,-13 0 0,13 39-1,0-13-15,13 14 16,-13-1 0,13 1-16,14 12 15,-14-39 1,-13 14-16,13-14 0,0 0 0,0 0 15,1 0-15,-1-14 16,0 1 0,0 0-16,-13 0 0,0-1 0,0 1 15,14 0-15,-14 0 0,0-1 16,0 1-16,-14 0 0,14 0 16,0 0-1,-13 26 1,13 0-1,-13 0-15,26 27 16,-13-27-16,0 0 16,13 1-16,1-1 15,-1-13-15,-13 13 0,13-13 16,13 0-16,-12 0 31,-1-13-31,0 0 16,0 13-1,-13-14 1,14 28 31,-1-14-16,0 0-15,0 0-1,1 0 1,-1 0 0,0 0-1,0 0 1,0 0 15,1-14-15,-14 1-1,0 0-15,13 13 16,-13-13-16,0-1 16,13 1 15</inkml:trace>
  <inkml:trace contextRef="#ctx0" brushRef="#br0" timeOffset="121435.5">10888 3797 0,'13'13'0,"-13"0"15,0 0-15,-13 14 16,-1-14 15,14 0-31,14-39 31,12-1-15,-13 14 0,1 0-16,-1 0 15,0 13-15,-13-13 0,13 13 16,0 0-16</inkml:trace>
  <inkml:trace contextRef="#ctx0" brushRef="#br0" timeOffset="122060.83">17899 3056 0,'27'-13'16,"-14"13"-16,13 0 15,-13 0-15,14 0 0,-1 0 0,-12-14 16,12 14-16,27 0 0,-40 0 16,14-13-16,-1 13 0,-13 0 15,1 0-15,-1 0 0,-13 13 16</inkml:trace>
  <inkml:trace contextRef="#ctx0" brushRef="#br0" timeOffset="122235.31">18018 3175 0,'27'13'31,"12"-13"-15,-12-13-16,-14 13 0,0 0 15,14-13-15,-1 13 0,1-13 0</inkml:trace>
  <inkml:trace contextRef="#ctx0" brushRef="#br0" timeOffset="122660.45">19288 2659 0,'40'-26'16,"-27"26"-16,0 0 15,27 13 1,0 0 0,-14 14-1,-26-14-15,13 0 0,-13 0 0,0 0 16,14 14-16,-14-14 0,0 14 16,0-14-16,0 0 0,0 0 15,0 14-15,0-14 0,0 0 0,0 0 16,0 14-16,0-14 0,13 0 0,-13 1 15,0-1-15,0 0 16,13 0-16,-13 0 0,13-13 16</inkml:trace>
  <inkml:trace contextRef="#ctx0" brushRef="#br0" timeOffset="122877.14">19354 2924 0,'66'-27'32,"14"27"-32,-54-13 15,14 13-15,0-13 0,-14 13 0,14 0 16,-14-13-16,14-1 0,-14 1 15</inkml:trace>
  <inkml:trace contextRef="#ctx0" brushRef="#br0" timeOffset="123092.38">20108 2606 0,'-26'27'16,"13"-14"-16,13 0 0,-14 27 15,1-27-15,13 13 16,-13 1-16,13-14 0,-13 14 0,13-1 16,-14-13-16,1 14 0,13-14 15,0 13-15,-13-12 0,-13 39 16,26-40-16,0 0 16,-14 0-16</inkml:trace>
  <inkml:trace contextRef="#ctx0" brushRef="#br0" timeOffset="123257.56">19791 2712 0,'-13'-13'31</inkml:trace>
  <inkml:trace contextRef="#ctx0" brushRef="#br0" timeOffset="123395.21">20095 2963 0</inkml:trace>
  <inkml:trace contextRef="#ctx0" brushRef="#br0" timeOffset="124735.29">19725 3334 0,'158'0'16,"-118"0"-16,0 0 0,13 0 0,0-13 16,0 13-16,13-14 0,53 1 15,-66 0-15,13 0 16,-13-14-16,0 14 0,0-14 0,0 1 0,-14 0 16,14-1-16,-13 1 15,26-54-15,-40 41 0,1-1 16,-1 13-16,-12-12 0,-1-14 0,0 13 15,-13-13-15,0 14 0,0-14 16,-13 0-16,0 0 0,-14 0 0,1 0 16,-1 0-16,1 13 0,-14 1 0,-13-1 15,13 0-15,-12 1 0,-68-28 16,54 41-16,0-14 0,0 27 16,-13-13-16,-1 12 0,-12-12 15,-1 26-15,0-13 0,-12 13 16,12 0-16,-39 13 0,-120 0 15,133 14-15,0-14 0,0 0 0,13 14 16,-13-1-16,13 0 0,1 1 16,-1-1-16,-93 40 0,14 14 15,106-40-15,-14-1 0,40 1 16,-26 13-16,13 13 0,-14-13 16,27-13-16,-52 79 15,65-66-15,0 0 0,1 13 0,12-13 0,14-1 16,0 15-16,-1-14 0,28 13 15,-14 0-15,26-13 0,27 53 16,0-54-16,0 1 0,26-13 16,-13 0-16,0-14 0,14 1 15,12-14-15,1 13 0,0-26 16,13 14-16,92-14 0,67-27 16,-133 14-16,0 0 0,-13-14 15,0 1-15,-13-1 0,13 1 16</inkml:trace>
  <inkml:trace contextRef="#ctx0" brushRef="#br0" timeOffset="131988.28">15108 5014 0,'-14'26'0,"14"-12"0,-13-1 16,13 0-16,0 13 0,0-12 15,0-1-15,0 0 0,13 14 16</inkml:trace>
  <inkml:trace contextRef="#ctx0" brushRef="#br0" timeOffset="132440.49">16206 5133 0,'0'13'32,"13"0"-32,-13 1 0,0 12 31,13-13-31</inkml:trace>
  <inkml:trace contextRef="#ctx0" brushRef="#br0" timeOffset="132640.16">16907 5093 0,'0'0'0,"-13"40"15,13-27-15,0 0 0</inkml:trace>
  <inkml:trace contextRef="#ctx0" brushRef="#br0" timeOffset="133385.66">12515 6588 0,'0'40'16,"0"-27"-16,0 0 0,0 14 15,13-1-15,-13-13 0,0 14 0,0-1 16,13 54-1,0-54-15</inkml:trace>
  <inkml:trace contextRef="#ctx0" brushRef="#br0" timeOffset="133655.26">13719 6668 0,'-14'105'16,"14"-65"-16</inkml:trace>
  <inkml:trace contextRef="#ctx0" brushRef="#br0" timeOffset="134276.43">16179 6707 0,'0'93'16,"0"-80"-16,0 0 16</inkml:trace>
  <inkml:trace contextRef="#ctx0" brushRef="#br0" timeOffset="134597.97">17291 6668 0</inkml:trace>
</inkml:ink>
</file>

<file path=ppt/ink/ink19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5:11:06.171"/>
    </inkml:context>
    <inkml:brush xml:id="br0">
      <inkml:brushProperty name="width" value="0.05292" units="cm"/>
      <inkml:brushProperty name="height" value="0.05292" units="cm"/>
      <inkml:brushProperty name="color" value="#0070C0"/>
    </inkml:brush>
  </inkml:definitions>
  <inkml:trace contextRef="#ctx0" brushRef="#br0">6099 5292 0,'13'13'16,"0"-13"-16,53 0 15,-39 0-15,-1 0 0,40 13 16,40-13-1,-79 0-15,-1 0 0,14 0 16,-1 0 0,-12 0-16,-14 0 0,0 0 15,1 0-15,-1 0 16,0 0 0,0 0-16,1 0 15</inkml:trace>
  <inkml:trace contextRef="#ctx0" brushRef="#br0" timeOffset="512.52">7435 5252 0,'39'0'15,"-25"0"1,12 0-16,14 0 16,-14 0-16,1 0 0,-14-13 15,13 13-15,-12 0 0,12 0 0,14 0 16,-27 0-1,0 0-15,1 0 16,-1-13-16,0 13 16,0 0-1</inkml:trace>
  <inkml:trace contextRef="#ctx0" brushRef="#br0" timeOffset="9483.24">14129 6826 0,'13'13'47,"-13"14"-47,0-1 16,0-12-16,0-1 0,0 0 15,-13 14-15,13-1 0,0-13 16,0 0-16,0 1 0,0-1 0,-13 0 16,13 0-16,0 1 15,0-1-15,13 0 16</inkml:trace>
  <inkml:trace contextRef="#ctx0" brushRef="#br0" timeOffset="9787.1">14565 6826 0,'-26'13'0,"13"14"16,-1-14 0,1 0-16,13 1 0,-13-1 0,0 0 15,13 0-15,-14 1 0,1 12 16,0-13-16,13 0 0,-13 1 0,0-1 16,-1 13-16,1-12 15,13-1-15,-13 0 16</inkml:trace>
  <inkml:trace contextRef="#ctx0" brushRef="#br0" timeOffset="10004.26">14354 6906 0,'0'-14'0,"0"1"31</inkml:trace>
  <inkml:trace contextRef="#ctx0" brushRef="#br0" timeOffset="10156.78">14539 7038 0,'-13'13'46</inkml:trace>
  <inkml:trace contextRef="#ctx0" brushRef="#br0" timeOffset="14800.03">16272 4299 0,'26'-13'31,"-12"13"-31,-1 0 0,13 0 15,27 0-15,-40 0 16,40 0-16,0 0 16,0 0-16,0 0 15,-40 0-15,67 0 16,-54 0 0,14-13-1,-14 13-15,-12 0 16,-1 13-16,0-13 15,0 0-15,0-13 32,1 13-17,-41 0 79</inkml:trace>
  <inkml:trace contextRef="#ctx0" brushRef="#br0" timeOffset="17526.21">15306 4247 0,'27'0'0,"-14"0"16,0 0-16,14 0 0,-14 0 0,13 0 16,14 0-16,-14-14 15,1 14-15,-14 0 0,27 0 16,-27 0-16,13 0 0,-12 0 15,-1 0-15,0 0 16,0 0-16,1 0 16,-1 0-16,0 0 15,0 0 17,0 0-1,1 0 188</inkml:trace>
  <inkml:trace contextRef="#ctx0" brushRef="#br0" timeOffset="22188.17">16007 6932 0,'14'0'0,"-28"-13"125,-12 13-94,13 0-15,-1 0-16,1 13 0,0-13 16,13 13-16,-13-13 15,13 14-15,-14-14 16,14 13-16,14 0 15,-1-13 1,13 13 0,-12-13-16,-1 0 15,-13 13-15,26-13 16,-12 0-16,-1 0 16,-13 14-16,13-14 15,0 0 1,-13 13-1,13-13 1,-13 13 15,14-13 32,-14 13-16,0 1-16,0-1-15,0 0-16,-14-13 15,14 13-15,-13 1 16,0-1-16,0-13 15,0 13-15,-1-13 16,1 0-16,0 0 16,0 0-16,-1 0 15,14-13-15,-13 0 16,26-1 0,-13 1-1,14 13-15,-14-13 16,13 13-16,0-13 15,0 13-15,-13-14 0,14 14 16,-1-13 0,0 13-16,-13-13 0,13 13 0,-13-13 15,0-1 1,0 1-16,0 0 16,-13 0-1,0 0 1,0 13-1,-1 0 1</inkml:trace>
  <inkml:trace contextRef="#ctx0" brushRef="#br0" timeOffset="22552.72">16166 6906 0,'-26'26'16,"12"1"-1,14-1 1,0-13-16,0 0 0,14 1 16,-14-1-16,0 0 0,13 0 15,0 1-15,0-14 0,0 0 16,14 0-1,13-14-15,-27 1 16,0 13-16,-13-13 16,0 0-16,13-1 15,-13 1-15,-13-13 16,0 13 0,0-1-16,-1 14 15,-12-13-15,13 13 16,-14 13-1,14-13 1</inkml:trace>
  <inkml:trace contextRef="#ctx0" brushRef="#br0" timeOffset="22765.75">16510 6879 0,'0'13'16,"0"1"0,-13 12-16,0 27 31,-1-40-31,14 0 0,-26 40 16,26-39-16,-13 12 15</inkml:trace>
  <inkml:trace contextRef="#ctx0" brushRef="#br0" timeOffset="22935.91">16219 6906 0,'-27'-14'15,"67"28"1,-27-14 0,1 0-16</inkml:trace>
  <inkml:trace contextRef="#ctx0" brushRef="#br0" timeOffset="23091.06">16629 7025 0,'0'-14'16,"-26"41"31</inkml:trace>
  <inkml:trace contextRef="#ctx0" brushRef="#br0" timeOffset="25130.22">9737 5636 0,'39'0'15,"147"-27"1,-134 27-16,1 0 16,53-13-16,13 13 15,-13-13-15,0 13 16,-66 0-16,-14 0 15,53 0-15,-65 0 16,25 0-16,-25 0 16,-1 0-16,-26 13 47,-1-13-47,1 0 15</inkml:trace>
  <inkml:trace contextRef="#ctx0" brushRef="#br0" timeOffset="28559.01">12554 8572 0,'67'14'47,"12"-14"-31,0 13-16,-12-13 15,-41 0-15,0 13 16,14-13-16,26 0 15,0 13-15,40-13 16,-66 0-16,13 14 16,0-14-16,-27 0 15,54 13 1,-41 0-16,-12-13 16,-1 0-16,14 13 15,-14-13 1,1 14-16,-1-14 0,1 0 15,-14 0-15,0 0 0,0 13 16,1-13-16,-1 0 16,13 0-16,67 13 15,-80-13 1,0 0-16,14 0 0,-1 0 16,-12 0-16,25 0 15,-26 0-15,40 0 16,-26 0-1,-1 0-15,1 0 16,-14 0-16,0 0 0,0 0 16,14 0-16,-14 0 15,0 0-15,14 0 0,-14 0 0,14-13 16,-14 13-16,26 0 16,-12 0-1,-14 0-15,0 0 16,1 0-16,-1-13 0,53 13 15,-53-14 1,27 14 0,-27 0-16,0-13 0,1 13 15,-1 0-15,13-13 16,14 13-16,-40-13 16,13 13-16,14 0 15,-14-14-15,0 14 16,0-13-16,1 13 0,-1 0 0,13-13 15,-26 0 1,13 13-16,1 0 0,-1-14 16,0 14-16,-13-13 15,13 13-15,1-13 16,-1 13-16,0-13 16,-13 0-1,13 13-15,-13-14 16,13 14-16,-13-26 0,14 26 15,-14-13 1,0-1-16,0 1 0,-14 0 16,14 0-1,0 0-15,0-1 16,0 1-16,0 0 16,0 0-16,-13-1 0,13 1 15,0 0-15,0 0 16,0-1-16,0-12 15,0 13-15,0 0 0,-13-1 16,13 1-16,0 0 16,-13 0-1,13-1-15,-13 1 16,13 0-16,-14 0 16,1-1-1,0 1-15,0 0 16,-1 13-16,14-13 15,-26 0-15,13-1 16,0 14 0,-14-13-1,14 0-15,-14 0 16,14 13 0,0-14-1,-14 14-15,1-13 16,13 13-1,-14 0-15,27-13 0,-13 13 0,0 0 16,0 0-16,-27 0 16,27-13-16,-1 13 0,-25 0 15,12 0 1,14-13-16,-27 13 16,14 0-1,13-14-15,0 14 0,-1 0 0,-25 0 16,12-13-16,14 13 0,-27 0 15,14 0 1,-1 0-16,14-13 0,-13 13 16,12 0-1,1 0-15,0 0 0,-14 0 16,14-13-16,0 13 16,-13 0-16,-14 0 15,13 0-15,14 0 16,-27-14-16,27 14 0,-26 0 15,-1 0 1,-26-13-16,39 13 16,1 0-16,-54-13 15,54 13-15,0 0 0,-1-13 16,14 13-16,-40 0 0,26 0 16,1 0-16,13 0 0,0 0 15,-1 0-15,-25-14 16,25 14-1,1 0-15,0 14 0,0-14 16,-1 0-16,-25 0 16,26 0-1,-1 0-15,-25 0 16,-1 0 0,27 0-1,0 0-15,-1 0 0,-12 0 16,-1 0-16,1 0 15,13 0 1,-1 13-16,-12-13 16,13 0-16,-14 0 15,14 13-15,0-13 0,0 0 16,-1 0-16,-12 13 16,13-13-16,-14 0 0,14 0 15,-27 14 1,-13-1-1,27 0-15,13-13 16,-1 0-16,1 13 0,0-13 16,0 14-16,0-14 15,-1 13-15,1 0 16,0-13-16,0 13 16,13 0-16,-14-13 15,1 14-15,13-1 16,-13-13-16,0 13 15,-1 14 1,1-14-16,0-13 16,13 13-16,-13 0 15,13 0-15,-13 1 16,13-1-16,-14 0 0,14 0 16,-13 1-1,13 12-15,-13-13 0,13 1 16,0-1-16,0 0 15,0 0-15,-13 14 16,13-14-16,13 0 16,-13 0-16,0 14 0,13-1 15,-13-12-15,0-1 16,13-13-16,-13 13 0,0 0 0,14 0 16,-1 1-1,13-1 1,-13 0-16,14-13 15,-14 13-15,14-13 16,-14 14-16,0-14 16,14 0-16,-14 13 15,0 0 1,27 0 0,-27-13-16,0 13 15,0-13 1,1 0-1,-1 0 1,-13 14 31,13-28 15,0 14-46,1 0-16,-1 0 0</inkml:trace>
  <inkml:trace contextRef="#ctx0" brushRef="#br0" timeOffset="33176.05">15690 8533 0,'-13'0'16,"39"13"15,0 0-31,1 0 15,-1-13-15,1 14 0,-1-14 16,14 13-16,26 13 16,14-12-16,-41-1 0,54 0 15,-54-13-15,1 0 0,13 13 16,0-13-16,-13 0 0,13 0 16,0 0-16,-14 0 0,1 0 15,0 0-15,52 0 0,-65 0 16,12 0-16,1 0 0,26 0 15,-39 0-15,-1 0 0,14-13 16,13 13-16,-27 0 16,1 0-16,26 0 15,-14 0-15,-26-13 0,14 13 0,-1 0 0,14 0 16,-13 0 0,12-13-16,-12 13 0,-1 0 0,-13 0 15,14-14-15,39 14 16,-26-13-16,-14 13 15,1 0-15,-14-13 0,13 13 16,1 0-16,-14 0 0,40-13 16,-40 13-16,14-14 0,-14 14 15,13 0-15,14-13 0,0 0 16,-27 13-16,13-13 0,-12 13 16,-1-13-16,13 13 15,1-14-15,12-12 16,-25 26-16,12-13 0,14-1 15,-27 1-15,0 13 16,0-13-16,14 0 0,-14 13 16,14-27-16,-1 14 15,-13-13 1,0 12-16,1-12 16,-14 13-1,13-1-15,-26 1 16,13 0-16,0 0 15,-14-14-15,14 14 0,0 0 16,-13 0-16,0-1 16,-13-12-16,12 13 15,1-1-15,0 1 16,-14 0-16,14 0 0,-13 0 16,-1-1-1,1 14-15,-1-26 0,14 26 16,0 0-16,0-13 0,-14 13 15,14-14-15,-13 14 0,-14-13 16,27 13-16,-14 0 16,14-13-16,-27 13 0,1-13 15,25 13-15,-25-13 16,-1 13-16,13 0 16,-12-14-16,26 14 0,-27 0 15,0-13-15,-13 13 16,27 0-1,-1 0-15,-12-13 16,12 13-16,1 0 16,13 0-16,-14 0 15,-26 0 1,27 0-16,-1 0 16,14 0-1,-13 0-15,-1 0 16,1 0-16,-1 0 15,14 0-15,0 0 0,-1 0 16,-38-13-16,12 13 16,27 0-1,-1 0-15,-12 0 0,-14 0 16,27 0 0,-40-14-1,27 14-15,12 0 16,1 0-16,-26 0 15,25 0-15,-25 0 0,25 0 16,-39-13-16,14 13 16,-27-13-1,13 13-15,13 0 16,14 0-16,12 0 16,-12 0-16,13 0 0,-27 0 15,-13 0 1,27 0-16,12 0 15,-25 0-15,-1 0 16,14 0-16,12 0 16,1 0-16,0 0 0,0 13 15,-1-13-15,-25 0 0,-1 0 16,27 13 0,-14-13-16,14 0 15,-13 0-15,12 0 16,1 14-16,0-14 15,0 0-15,-1 0 16,1 0-16,0 13 16,0-13-16,0 0 15,-1 0-15,14 13 16,-13-13-16,0 0 16,0 0-16,-1 13 15,-12-13 1,13 14-1,0-14 1,-1 0-16,1 13 16,0 0-16,0-13 15,-1 26 1,14-12-16,-13-1 0,0 13 16,13-12-16,-13-1 15,13 0-15,0 0 16,-14 14-16,14 39 15,0-26 1,0-14 0,14 14-16,-14-27 15,13 13-15,-13-12 16,0-1-16,13 13 0,-13-12 16,13-1-16,1 0 15,-14 0-15,13 0 0,0 1 16,27-1-1,-27 0-15,13-13 0,1 13 16,-14-13-16,14 14 16,12-14-1,-26 13-15,1-13 16,-1 0-16,0 13 16,0-13-1,1 0 1,12 0-1,-13 0 1</inkml:trace>
  <inkml:trace contextRef="#ctx0" brushRef="#br0" timeOffset="37230.94">15399 5543 0,'39'0'32,"-25"0"-32,25 0 0,1-13 0,13 13 15,0 0-15,13 0 0,-13-13 16,92 13-16,-12-14 15,12 1-15,-92 0 0,79 13 16,-92-13 0,66-1-16,-80 14 0,1 0 15,-1 0-15,54-13 16,-67 13-16,0 0 0,0 0 16,1 0-16,-1 0 15,0-13-15,0 13 16,1 0-1,-1 0 1,0 0 15,0 0 16,1 0 531,-1 0-562,0 0-16,0 0 16</inkml:trace>
  <inkml:trace contextRef="#ctx0" brushRef="#br0" timeOffset="38420.11">18018 5583 0,'27'0'16,"-14"0"-1,13 0-15,27 0 16,-40 0-16,14 0 16,-1 0-16,-12 0 15,12 0-15,0 0 16,-12 0 0,-1 0-1,-13 13 1,13-13-1,0 0-15,14 0 16</inkml:trace>
  <inkml:trace contextRef="#ctx0" brushRef="#br0" timeOffset="39355.32">19196 5569 0,'92'0'16,"93"-13"-1,-132 13-15,80 0 16,52-13-16,-132 13 16,52-13-16,1 13 15,-53 0-15,-26 0 0,12 0 16,14-13-16,-13 13 16,-14 0-1,14 0-15,-27 0 16,1 0-16,-1 0 15,0 0 1,0 0-16,1 0 16,-1 0 15,0 0 31,0 0 95,-39 13-110</inkml:trace>
  <inkml:trace contextRef="#ctx0" brushRef="#br0" timeOffset="40914.71">20069 5636 0,'0'39'31,"0"-25"-31,0-1 0,0 13 16,0 1-16,13-1 15,-13-13-15,13 14 0,0-14 0,27 40 16,-14-40-16,-12 14 0,12-14 16,14 0-16,0 14 0,-14-14 15,0-13-15,1 13 16,-1-13-16,14 13 0,-13-13 0,12 13 15,-26-13-15,1 0 16,-1 0-16,0 0 16,0 0-16,1 0 0,-1 0 15,0 0-15,-13-13 16,13 13 0,1-13-1,-1 13 1,-13-13-1,13 13-15</inkml:trace>
  <inkml:trace contextRef="#ctx0" brushRef="#br0" timeOffset="41654.92">20585 5834 0,'26'13'31,"-13"1"-31,1-1 16,-1-13-16,0 13 0,0 0 15,27 27 1,-27-27-16,0 14 16,-13-14-1,14 0 1,-14 0-16,0 14 0,-14-14 15,1 13-15,0-12 16,0 12-16,-27 14 16,27-14-1,0-13 1,-1 1 0,1-1-1,13 0 1,-13-13 15,13 13-15,0-39 171,0 13-171,-13-14-1</inkml:trace>
  <inkml:trace contextRef="#ctx0" brushRef="#br0" timeOffset="42335.91">18269 5821 0,'14'66'31,"-1"-26"-15,0-14-16,0 1 0,-13 12 0,27 14 16,13 13-1,-14-26-15,14 0 16,-27-27-16,0 13 15,0-26 1,1 14-16,-1-1 0,0-13 16,0 0-1,1 0-15</inkml:trace>
  <inkml:trace contextRef="#ctx0" brushRef="#br0" timeOffset="42639.25">18587 6099 0,'26'26'15,"-26"-13"1,14 1-16,-1 38 0,0-38 16,-13 12-16,13 40 15,-26-39-15,13-14 16,-13 27-16,-14-14 16,14 1-16,-13-14 15,13 0-15,-14 14 0,1-14 16</inkml:trace>
  <inkml:trace contextRef="#ctx0" brushRef="#br0" timeOffset="44715.85">19791 5556 0,'-40'-13'16</inkml:trace>
  <inkml:trace contextRef="#ctx0" brushRef="#br0" timeOffset="44826.28">19870 5583 0,'0'0'0,"-13"-14"16,0 14-1</inkml:trace>
  <inkml:trace contextRef="#ctx0" brushRef="#br0" timeOffset="44978.29">20029 5543 0,'0'0'16</inkml:trace>
  <inkml:trace contextRef="#ctx0" brushRef="#br0" timeOffset="47856.85">12475 9313 0,'66'0'16,"-39"0"-16,26-13 0,-14 13 16,80 0-16,40-13 15,0 13 1,0 0-16,-80 0 0,-13 0 15,14 0-15,-1 0 0,0 0 16,-26 0-16,66 0 0,-66 0 16,53 13-16,-80-13 15,14 0-15,-27 0 16,1 0-16</inkml:trace>
  <inkml:trace contextRef="#ctx0" brushRef="#br0" timeOffset="48484.53">12502 9551 0,'-14'0'16,"28"0"-16,12 0 15,53 0-15,27-13 16,53 0 0,-80 13-16,1 0 0,78-13 15,-25 13-15,-14 0 16,-13 0-16,13-13 16,-40 13-1,-52 0 1,-14 0-16,0 0 0,0 0 15,0-14-15,14 14 16,-14 0-16,0 0 16,1 0-1,-1 0-15,0 0 47,0 0-16,1 0 48,-28 14-48,14-1 16,-13-13-16,0-13-15</inkml:trace>
  <inkml:trace contextRef="#ctx0" brushRef="#br0" timeOffset="51592.35">4749 11774 0,'93'13'16,"-67"-13"-16,27 0 0,0 0 0,13-13 15,14 0-15,-14 0 0,13-14 0,-13 1 16,14 12-16,-14-12 0,0-1 15,0 1-15,-13 0 0,53-41 16,-13 14-16,-67 27 16,0 0-16,-12-14 0,12-26 15,-26 39-15,0-12 0,-13-41 16,-14 27-16,1 0 0,0 0 16,-14 1-16,0 12 0,-66-53 15,53 54-15,-13 12 0,0 1 16,-159-41-16,146 67 15,-1-13-15,1 13 16,0 13-16,-80 1 0,13 25 16,14 14-16,79-26 15,-13 12-15,0 1 0,0 26 16,0 0-16,-40 67 0,26-14 16,41-40-16,-27 133 15,52-133-15,14 54 16,40 52-1,-13-132-15,52 39 0,-26-52 16,0 0-16,66 13 16,26-27-16,80-26 15,-145 0-15</inkml:trace>
  <inkml:trace contextRef="#ctx0" brushRef="#br0" timeOffset="57193.01">15055 489 0,'-13'0'0,"-1"-13"15,1 13-15,13-13 0,-13 13 0,-14-13 16,14 13-16,0 0 0,0-13 15,-14 13-15,1-14 16,-1 14-16,1-13 0,-14 13 0,-52-13 16,52 0-16,-53 13 15,54 0-15,-41-14 16,41 14-16,-14 0 0,13 0 0,-53 0 16,14 0-1,39 0-15,1 14 0,-14-14 0,-27 0 16,-39 26-1,53 1-15,26-14 16,-26 26-16,40-25 0,-1-1 16,-39 40-16,0-13 15,-13 52-15,13-39 16,13 13-16,13-13 16,-26 40-1,39-54-15,14 1 16,-13 26-16,12-39 0,1 12 15,13 14-15,-13 13 16,26-39-16,-13-1 16,13 14-16,1-13 0,25 25 15,-12-25-15,79 52 16,-67-52-16,14-1 16,106 14-16,-40-14 15,-53-12-15,0-1 16,67 13-16,-1-13 0,-13 14 15,13-1 1,-79-12-16,13-1 0,53 13 16,67 14-1,-67-27-15,-53-13 0,53 0 16,-40 0-16,226-13 16,-133 0-1,92 0 1,-185 13-16,93-14 15,-92 1-15,92 13 0,-93 0 16,1 0-16,-1-13 0,80 13 16,92-13-1,-105 13-15,-67-14 16,291 1 0,-251 0-16,14 13 15,-67 0 1,106 0-16,-53 0 15,-13 13-15,-40-13 16,40 0-16,-14 13 16,-39-13-16,53 0 15,53 14-15,-106-1 16,0-13-16,39 13 16,-39-13-16,40 13 0,-40-13 15,-14 0-15,107 14 16,-93-14-16,-14 13 0,54-13 15,53 26 1,-67-26-16,14 27 16,-14-14-16,0 0 15,199 27 1,-185-27 0,-1 0-1,1 1-15,0-1 16,-41 0-16,28 0 0,12 0 15,1 1 1,0-14-16,-1 13 16,14 0-16,53 0 15,-106-13 1,53 14-16,-1-14 16,41 13-16,-93-13 15,26 0 1,1 0-16,-41 0 0,67 0 15,-66 0-15,39 0 0,-39-13 16,26 13-16,-40 0 16,94 0-1,-1-14 1,-27 14-16,-65 0 0,12-13 16,14 13-1,-13 0-15,13-13 0,-13 13 0,-14 0 16,53-13-16,-52 13 15,26-14-15,53 1 16,-53 13 0,-14-13-16,41 0 15,-54 0 1,14 13-16,-14-14 0,27 14 16,0-13-16,-27 0 15,54-14-15,-54 27 16,27-13-16,13-13 15,-13 12-15,-26 14 16,26-13-16,-27 0 16,1 13-16,26-13 0,-1 0 15,28-14 1,-27 1-16,-27 12 16,40-25-16,-39 39 15,-14-14-15,13 1 0,1 0 16,26-27-16,-27 14 15,14-1-15,-27 1 16,14-14-16,-1 1 16,-13 12-16,14-39 15,-14 53-15,-13-14 0,0-12 16,0-1 0,-26-53-1,-1 54-15,1 25 0,-1-39 16,-12 14-1,-14-14-15,26 40 16,1-14-16,-27 1 16,-40-14-1,-66-39 1,120 52-16,-107-39 16,27 13-1,79 27-15,-92-40 16,92 52-1,14 1-15,-80-40 0,27 27 16,-27-1 0,66 14-16,-39 0 15,52 0-15,-144-14 16,131 14-16,-40 0 16,14 13-1,-79-27-15,52 14 16,40 13-16,0-13 15,-92 0-15,-54-14 32,133 14-32,40 13 0,-27 0 15,-40-13-15,54 13 16,-1 0-16,0 0 0,-105-14 16,52 1-1,40 0-15,0 0 16,-13-1-16,-106-12 0,119 13 15,-92 0-15,52-1 16,40 14-16,0-13 16,-92 0-16,26 13 15,-80-27 1,14 27-16,-40-13 16,-13 0-1,172 13 1,-14 0-16,14 0 0,-53 0 15,-53 0-15,66 0 16,1 0 0,-1 0-16,-40 0 15,93 0-15,-172 13 16,67 0 0,105-13-16,-53 14 15,53-14-15,0 0 16,0 0-16,-13 0 0,-40 0 15,-13 13-15,-79-13 16,118 0-16,-78 13 16,78-13-16,-145 13 15,172-13-15,-13 0 16,0 14-16,-79-14 0,39 0 16,40 13-16,13-13 0,0 0 15,-13 0-15,-40 13 16,40 0-16,-53 0 0,-14 1 15,80-14-15,-13 13 16,13-13-16,-53 26 0,14-12 16,39-14-16,-53 26 15,66-26-15,-65 27 16,-28-1-16,1 0 16,79-26-1,13 14-15,-52 12 0,52-13 16,-13 1-16,14-1 0,-54 13 15,27 1-15,-14 12 16,41-12-16,-1-1 16,40-12-1</inkml:trace>
  <inkml:trace contextRef="#ctx0" brushRef="#br0" timeOffset="58145.12">23469 2170 0,'0'26'16,"13"0"-16,0 1 16,0-1-16,14 54 15,12 26-15,1 66 16,-13-53-16,-14-66 16,0 13-16,13 53 15,-26 26-15,0-105 16,0 26-16,-13-13 0,0 13 0,0-13 15,0-13-15,-80 158 16,27-118 0,26-41-16,-13 1 0,13 0 0,-12-1 15,12 1-15,-13 0 0,-40 26 16,40-40-16,-26 27 16,26-13-16,-39 13 0,52-27 15,-13 1-15,-53 12 16,13 1-16,1 0 15,13-14-15,-1 1 16,14-1 0,0-13-16,13 1 15,13-1 1,27-13-16,0 13 0,0-13 16,-27 13-16,13-13 15,14 0-15,0 0 0,0 0 16</inkml:trace>
  <inkml:trace contextRef="#ctx0" brushRef="#br0" timeOffset="58552.67">22159 4154 0,'-80'66'32,"41"-39"-32,-1 12 15,14-12-15,-14 26 16,27-40-16,13 0 15,-13 14-15,13-14 0,0 0 16,13 13-16,0 1 16,13-14-16,-12 0 0,12 1 0,1-1 15,39 13-15,-27-12 16,14-1-16,-26 0 0,52 0 16,-52 0-1,-1 1-15,-13-14 0,1 0 16,-1 13-16</inkml:trace>
  <inkml:trace contextRef="#ctx0" brushRef="#br0" timeOffset="68644.77">20386 7779 0,'0'53'0,"0"-27"15,0 1-15,0-1 16,0-13-16,0 1 0,0-1 0,0 13 16,0-13-16,0 14 0,-13-14 15,13 0 1,0 1-16,13-28 47,-13 1-47,13 13 0,-13-13 15,27 13-15,13 0 32,-27 0-32,0 0 0,-13 13 15,13-13-15,0 13 0,1-13 16,-14 14-16,13-1 16,0-13-16,14 13 15,-1-13 1</inkml:trace>
  <inkml:trace contextRef="#ctx0" brushRef="#br0" timeOffset="69009.94">20823 7938 0,'0'-14'0,"-14"1"15,1 13 1,0 0-16,53 27 15,-93-41-15,40 28 16,-1-1-16,14 0 16,0 0-1,14 0 1,12-26 0,-13 13-1,0-13 1,-13 0-16,14 13 15,-14 13 32,0 0-47,13 0 16,0 1 0,0-14-1,14 0 1</inkml:trace>
  <inkml:trace contextRef="#ctx0" brushRef="#br0" timeOffset="69288.02">21061 7858 0,'-40'13'0,"40"1"16,0 12-1,0-13-15,13 14 16,-13-14-16,14 0 16,-1 27-1,-13-27-15,0 0 16,-13 1-16,-1-1 0,-12 13 31,13-13-31,-1-13 16,1 0-1</inkml:trace>
  <inkml:trace contextRef="#ctx0" brushRef="#br0" timeOffset="69585.32">21365 7964 0,'53'0'16,"-40"-13"-16,27 13 15,-27 0-15,0 0 0,27-13 16,-13 13 0,-14-14-16,0 14 0,0-13 15</inkml:trace>
  <inkml:trace contextRef="#ctx0" brushRef="#br0" timeOffset="69841.99">21577 7792 0,'13'0'0,"27"26"16,-14 1 0,14-1-16,-27-12 15,0-1-15,1 0 16,12 27-16,-26-27 15,0 0-15,-13 0 0,13 1 16,-27 12-16,14-13 16,0 1-16,0-1 0,-14 0 15,14 0-15,0-13 16</inkml:trace>
  <inkml:trace contextRef="#ctx0" brushRef="#br0" timeOffset="70526.35">22503 7805 0,'-13'53'31,"13"-13"-16,0-27-15,0 0 0,0 14 16,0-14-16,0 0 16,0 14-16,0-14 15,0-40 17,0 14-32,0-13 15,0-1-15,13 1 0,0-1 16,-13-12-16,13 25 0,0-12 0,1 0 15,-1 12-15,-13 1 16,26 0-16,-12 26 16,-1-13-16,-13 13 15,13 1-15,14 38 0,-14-25 16,-13-14-16,13 14 16,0-1-16,0 1 15,1-1-15,-14-13 16,13-13-16</inkml:trace>
  <inkml:trace contextRef="#ctx0" brushRef="#br0" timeOffset="71360.1">22476 7924 0,'14'-13'15,"12"0"-15,0 13 16,54-27-16,-1 14 16,1-13-16,25-1 31,-78 14-31,-14 13 0,0-13 31,-52 39 0,39-13-31,-14-13 0,1 27 16,13-1 0,0-12-16,0-1 0,0 0 15,13-13-15,1 13 16,-14 1-16,13-14 0,27 0 16,-14 0-1,1-27 1,12 1-16,-26 12 0,1-12 15,-1-1-15,27-39 16,-27 40-16,0-40 0,0 39 16,14-12-1,-27 12-15,0 14 16,-13 39 0,13-12-1,-14-1-15,1 13 0,13-13 16,-13 40-16,0-26 15,13-14-15,0 14 0,13-1 16,-13-13-16,13 0 16,-13 1-16,13-1 0,27 0 15,-27 0 1,0-26-16,1 13 16,12-13-16,-13 13 15,1-13-15,-1-1 16,-13 28 31,0-1-32,0 0-15,13-13 16,0 0 0,0 0-1,1 0 1,-1 0-1,0 0 1,0 0-16,1 0 0,25 0 31,-39-13-31,14 13 0,12 0 16,-13-13-16</inkml:trace>
  <inkml:trace contextRef="#ctx0" brushRef="#br0" timeOffset="71531.74">23058 7726 0,'27'-13'15,"-14"13"-15,40 0 16,-40 0-16,27 0 15</inkml:trace>
  <inkml:trace contextRef="#ctx0" brushRef="#br0" timeOffset="72059.91">23760 7779 0,'-40'-13'15,"13"26"-15,14-13 16,0 13-16,0 0 16,0 0-1,13 1 16,13-14-31,13 0 16,-13 0-16,1 0 16,-1 0-16,0 0 15,0 0 1,1 0-16,-14 13 0,13-13 16,0 0-1,0-13-15,0 13 0,14-14 16,-14 1-16,14 0 0,-14-13 15,13 12-15,14-39 16,-27 27-16,14-1 16,-1-12-16,-13 26 15,-13-1 1,-26 54 0,26-14-16,0-12 15,0 12-15,13-13 16,-13 1-16,53 25 15,-13-25-15,26-1 16,-53-13-16</inkml:trace>
  <inkml:trace contextRef="#ctx0" brushRef="#br0" timeOffset="72720.22">20505 8784 0,'13'66'15,"14"-52"1,13-1 0,-14-13-16,27-13 0,-27 13 0,27-14 15,27-25 1,-67 25-16,0 1 16,0 0-1,-39 53 1,13-27-16,-1 0 15,1 14-15,0-1 0,-40 53 16,40-52-16,-27 26 16,27-14-1,0-12-15,13-1 16</inkml:trace>
  <inkml:trace contextRef="#ctx0" brushRef="#br0" timeOffset="73134.27">20915 9049 0,'66'-80'31,"-52"67"-31,-14 0 0,-80 119 0,133-199 47,-66 106-31,13 1-1,-13-1-15,26 0 16,0 0-16,27-13 31,-27 0-31,27-13 16,-27 0-16,0 13 0,1 0 15,25 0 1,-26 0-16,14 13 16,-14 0-1,-13 1-15,0-1 0,0 0 16,-13 0-16,0 14 16</inkml:trace>
  <inkml:trace contextRef="#ctx0" brushRef="#br0" timeOffset="73331.81">21683 8956 0,'26'-13'16,"14"0"0,-106 39-16,158-52 0,-79 26 15</inkml:trace>
  <inkml:trace contextRef="#ctx0" brushRef="#br0" timeOffset="73542.33">21841 8797 0,'106'40'16,"-106"-27"-16,40 67 16,-40-41-1,0-12-15,-13 13 16,-1-27-16,14 13 15,-119-304-15</inkml:trace>
  <inkml:trace contextRef="#ctx0" brushRef="#br0" timeOffset="74328.72">22767 8678 0,'-26'119'31,"26"40"-16,-13-106 1,13 0 15,0-40-15,-14-39 0,14-159 15,14 145-31,52-119 47,-53 146-47,53 92 47,-66-66-47,-26 40 15,26-39-15,-53 39 31,26-239-31,27 398 32,14-238-1,39 26 0,-40 0-15,26 39-1,-39-26-15,0 40 32,0-39-32,0-1 31,53-79 0,-13 26-15,0 27-1,-1 13 1,-12 13 0</inkml:trace>
  <inkml:trace contextRef="#ctx0" brushRef="#br0" timeOffset="75087.96">23270 9036 0,'27'-106'47,"-41"92"-31,-25 41-1,25-14 17,14 0-32,67-13 31,-41-13-31,80-13 31,-93 26-31,0-14 16,1 14-1,-54 40 17,13-13-17,14-14-15,13 27 32,13-40-32,1 0 15,12 0 1,1-14-16,-1-25 15,14-28 1,-27 15 0,0 38-16,-13-12 15,13-40 1,-13 52-16,0 1 16,-13 26-1,-13 1 1,26-1-16,-14 0 15,1 14 1,13-14-16,0 27 16,13-14-16,1-13 15,12-13-15,-13 0 16,1 0 0,12 0-16,-13 0 15,1 0-15,12 13 16,-26 14-1,13-14 1,-13 0 0,13-13-1,1 0 1</inkml:trace>
  <inkml:trace contextRef="#ctx0" brushRef="#br0" timeOffset="75234.1">23839 8797 0,'0'-13'32</inkml:trace>
  <inkml:trace contextRef="#ctx0" brushRef="#br0" timeOffset="75900.21">23945 8837 0,'-40'0'31,"0"53"-15,40 13 15,27-53-15,-14-13-16,27 0 31,-27-13-31,53-13 16,-13-14-1,40-119 1,-80 133 0,0-14-16,-13 14 15,13 12-15,-39 28 47,13-1-47,-14 53 16,14-13-1,13-13 1,0-27-16,53 66 47,-27-79-47,1-26 31</inkml:trace>
  <inkml:trace contextRef="#ctx0" brushRef="#br0" timeOffset="76058.64">24130 8797 0,'53'-39'62,"-40"39"-62,93 13 31</inkml:trace>
  <inkml:trace contextRef="#ctx0" brushRef="#br0" timeOffset="76619.19">24381 8890 0,'53'-53'31,"-39"40"-15,-41 26 31,14 0-32,26-13 17,0 14-32,27-14 15,-27-14 1,0 28-16,1-14 16,-1 0-1,0 0-15,-13 13 16,13-26-1,14-1 1,12-12-16,-12-27 16,-14 13-1,0 14-15,27-80 16,-27 93 0,1-14-1,-41 40 1,14 14-16,13-14 15,-13 0-15,-1 27 16,14 0-16,-13-1 16,13 14-1,0-39-15,0-1 16,13 13-16,-13-12 16,14-14-1</inkml:trace>
  <inkml:trace contextRef="#ctx0" brushRef="#br0" timeOffset="76750.97">24871 8903 0,'-13'-26'16</inkml:trace>
  <inkml:trace contextRef="#ctx0" brushRef="#br0" timeOffset="77248.67">23151 9379 0,'410'-92'15,"-238"65"1,-119 27 0,40-13-16,52 0 15,-118 13 1,-14 0-16,0 0 16</inkml:trace>
  <inkml:trace contextRef="#ctx0" brushRef="#br0" timeOffset="77498.06">23376 9432 0,'26'14'0,"93"-28"31,-92 14-31,52 0 0,-39 0 0,53-13 15,-67 13 1,0 0-16,14 0 0,-13 0 16,-14 0-16,40-13 15,-27 13 1,-13 0 0</inkml:trace>
  <inkml:trace contextRef="#ctx0" brushRef="#br0" timeOffset="80054.99">23006 9644 0,'26'-13'16,"-26"26"-16,13 0 15,0 1-15,1 12 0,-1 27 16,-13-40-1,0 14-15,0 12 16,0-26-16,0 14 16,0-14-16,0 0 15,0 1 1,-13-41 0,-1 1-1,14-1-15,0-131 16,14 131-1,-1-39 1,27 13 0,-27 40-16,0 13 0,0 0 15,1 13 1,-1 40 0,-13-27-16,-13 1 15,-1-14 1,1 14-16,0-1 15,0-26-15,13 13 0,-27 14 32,27-14-17,0 0 1,13-13-16,1 13 0,12 1 16,-13-14-16,1 0 15,-1 13-15,0-13 16,0 13-16,0-13 0,1 13 15,-1-13-15,13 13 16</inkml:trace>
  <inkml:trace contextRef="#ctx0" brushRef="#br0" timeOffset="80402.17">23363 9869 0,'39'-79'16,"-39"65"0,14 1-1,-14 0 1,-27 0-1,1 26-15,-1 0 16,14 27 0,0-40-1,13 26 1,13-13-16,0-13 0,0 0 16,1 0-16,12 0 15,1 0-15,12-13 16,-25 13-16</inkml:trace>
  <inkml:trace contextRef="#ctx0" brushRef="#br0" timeOffset="80656.05">23601 9723 0,'-13'-13'15,"26"40"16,-13-14-31,13 0 0,0 14 16,-13-14 0,0 0-16,0 13 15,-13-12-15,0-1 16,0-13-16,-14 13 16,1-13-1,12 0-15,94-159 16</inkml:trace>
  <inkml:trace contextRef="#ctx0" brushRef="#br0" timeOffset="81483.23">23707 9723 0,'0'27'32,"0"-14"-1,0 0-31,13 1 16,0-1 15,0-26-31,14 13 15,-14-14 1,0 14-16,0-13 0,1 13 16,-1 0-1,0 13 1,0 1 0,-13-1-16,14-13 15,-14 13-15,13-13 16,0 0-16,0 0 15,1-13-15,12 0 16,-13-1-16,0-12 16,27-27-1,-40 27-15,40-41 16,-40 54 0,13 0-16,-26 39 31,0-12-16,-1 25-15,14-25 16,0-1-16,0 0 0,-13 0 0,13 14 16,13-1-1,14-13 1,-1-26 0,-12 0-16,12-14 15,14-25 1,-27 25-16,13-39 15,-12 53-15,-1-40 16,-13 40-16,26-27 16,-26 27-1,0 52 17,-13 1-32,26-14 15,-13-12-15,14 52 16,-1-53-1,-13 14-15,13-14 16,0-13-16,0 13 16,1-26 31</inkml:trace>
  <inkml:trace contextRef="#ctx0" brushRef="#br0" timeOffset="81644.07">24156 9618 0,'-13'0'15,"146"-40"17,-28 0-17,-91 40 1</inkml:trace>
  <inkml:trace contextRef="#ctx0" brushRef="#br0" timeOffset="82383.92">22093 9856 0,'13'13'15,"0"-13"1,53-13-1,-52-1-15,-1 14 0,13-26 16,14 13 0,-27-14-16,-13 1 0,13 13 15,-13-14-15,14 14 16,-14 0-16,-14 0 16,14-1-1,-13 14-15,0 14 0,0-14 0,13 13 16,-14 0-16,1 40 15,-13-13 1,13 26-16,13-40 16,0 27-1,0 0 1,26-27 0,-26-12-16,13-14 0,0 0 15,1 0 1</inkml:trace>
  <inkml:trace contextRef="#ctx0" brushRef="#br0" timeOffset="82699.09">22331 10067 0,'79'-66'16,"-79"53"-16,13-40 31,-39 66 1,13-13-17,13 14 1,0-1-1,0 0 1,13-13-16,0 0 0,14 0 16,-133 79-16,225-158 15</inkml:trace>
  <inkml:trace contextRef="#ctx0" brushRef="#br0" timeOffset="82928.08">22516 9935 0,'13'-13'16,"0"26"0,-13 0-1,0 1-15,14-14 0,-14 13 16,0 0-16,0 0 16,0 0-1,0 1-15,-14-1 16,1-13-16,13 13 15,-13-13-15</inkml:trace>
  <inkml:trace contextRef="#ctx0" brushRef="#br0" timeOffset="83162.95">22675 9737 0,'0'-14'0,"0"28"32,0-1-17,0 0-15,0 27 16,0-14-16,0-13 16,0-118-16,0 237 15,0-106-15,0-12 16,13-1-1</inkml:trace>
  <inkml:trace contextRef="#ctx0" brushRef="#br0" timeOffset="83313.09">22582 9842 0,'40'0'0,"39"-26"16</inkml:trace>
  <inkml:trace contextRef="#ctx0" brushRef="#br0" timeOffset="125335.92">11999 10901 0,'-40'-13'16,"27"13"-16,0 0 16,-1 13-16,1 0 0,0 0 15,0 14-15,0-14 16,-1 40-16,14-40 16,0 14-16,0-1 0,14 27 0,-1-40 15,0 27-15,0-14 16,0-12-16,14-1 0,-14 0 0,0-13 15,14 13-15,-14-13 16,0 0-16,14 0 0,-1 0 16,-13-13-16,14 0 0,-14-14 15,0 14-15,-13-13 16,0 12-16,0 1 0,0-13 16,0 12-16,-26-25 0,13-1 15,-14 14-15,14 12 0,0 1 16,0 13-16,-1-13 0,-12 0 15,-1 0-15,1 13 16,13 13-16,-1-13 16,1 13-16,0 0 15</inkml:trace>
  <inkml:trace contextRef="#ctx0" brushRef="#br0" timeOffset="125516.86">12290 11086 0,'13'0'47</inkml:trace>
  <inkml:trace contextRef="#ctx0" brushRef="#br0" timeOffset="125999.92">12554 10993 0,'-26'14'16,"0"12"-1,12 1-15,1-14 16,13 0-16,0 0 0,0 0 0,13 27 16,1-27-1,-1 1-15,0-1 0,13 0 16,1-13-16,13 0 16,-27 0-16,13-13 0,-12 13 0,-1-13 15,26-14 1,-25 14-16,-1-14 15,-26-12-15,13 26 16,-14-1-16,-12-12 16,0 13-16,12-1 15,1 14-15,-13 0 0,-1 0 16,14 0 0,0 14-16</inkml:trace>
  <inkml:trace contextRef="#ctx0" brushRef="#br0" timeOffset="126228.03">12898 10927 0,'40'53'15,"-80"-106"-15,93 133 16,-39-54-16,-1 27 15,0 0 1,-13-40-16,0 27 16,0-27-16,0 0 15,0 1-15,0 12 16</inkml:trace>
  <inkml:trace contextRef="#ctx0" brushRef="#br0" timeOffset="126979.62">14049 10821 0,'-53'106'32,"40"-92"-32,-13 65 0,26-39 15,-13-1 1,-1-12-16,14-14 0,0 0 0,0 0 16</inkml:trace>
  <inkml:trace contextRef="#ctx0" brushRef="#br0" timeOffset="127226.92">13679 11060 0,'66'-14'15,"-13"14"-15,-27 0 16,1 0-16,13-13 0,13 13 16,-14 0-16,14-13 15,-13 13-15,-14 0 0,1 0 0,26 0 16,-40 0-16,13 0 16</inkml:trace>
  <inkml:trace contextRef="#ctx0" brushRef="#br0" timeOffset="127702.04">14605 10941 0,'-53'79'31,"53"-66"-31,0 40 16,0-40-16,13 14 0,-13-1 15,14-26-15,-1 13 16,0 1-16,66-14 16,-65 0-1,-1 0-15,13-14 0,-12-12 16,-1 13-16,-13-14 0,0 14 16,0 0-16,-13 0 0,-1-27 15,-12 0-15,26 27 16,-13 0-16,-27-14 15,27 27-15,-1-13 0,1 13 16,0 0-16,0 13 16</inkml:trace>
  <inkml:trace contextRef="#ctx0" brushRef="#br0" timeOffset="127866.94">14989 11033 0</inkml:trace>
  <inkml:trace contextRef="#ctx0" brushRef="#br0" timeOffset="128307.89">15253 10914 0,'-39'-13'0,"78"26"15,-118-26-15,66 13 0,-14 0 16,14 0-16,0 13 15,-14 0-15,-12 27 16,25-27-16,14 0 16,0 1-16,14-14 0,-14 13 15,13-13-15,13 13 0,-13-13 16,40 0-16,-13-13 16,-13 0-1,12-14-15,-26 14 0,1 13 16,12-26-16,-13 12 15,1 14-15,-1 0 16,0 0 0,-13 27-1,0-14-15,0 0 0,0 40 16,0-40 0,-13 1-16,13-1 0,0 0 0,0 0 15,0 0-15,0 1 0,0-1 16,0 0-16,0 0 15,13 1-15,0-14 16</inkml:trace>
  <inkml:trace contextRef="#ctx0" brushRef="#br0" timeOffset="128624.57">15677 10941 0,'-53'0'16,"26"13"-16,14-13 16,0 13-16,0-13 0,-27 26 15,40-12-15,0-1 16,26-13 0,-12 0-1,-1 0-15,0 0 16,80-79-1,-160 158-15,81-79 0,-1 13 16,-13 0-16,0 1 16,13-14-16,-13 26 15,13-13-15,-13 0 16,14-13-16,-1 14 16,0-14-16,0 0 15</inkml:trace>
  <inkml:trace contextRef="#ctx0" brushRef="#br0" timeOffset="128878.61">16338 11046 0,'53'0'0,"0"0"16,-40 0-1,14 0-15,-14 0 0</inkml:trace>
  <inkml:trace contextRef="#ctx0" brushRef="#br0" timeOffset="129060.61">16312 11192 0,'52'0'16,"-25"0"-1,13-13-15,-14 13 0,14 0 16,13 0 0,-27-14-16</inkml:trace>
  <inkml:trace contextRef="#ctx0" brushRef="#br0" timeOffset="129374.07">17859 11060 0,'0'13'16,"-13"0"-16,13 0 16,-13 0-16,13 27 15,-13-13-15,-1 12 16,1 14-16,13-40 16,0 1-16,0 12 15</inkml:trace>
  <inkml:trace contextRef="#ctx0" brushRef="#br0" timeOffset="129705.72">18045 11112 0,'-67'40'16,"67"-27"-16,0 1 15,0-1-15,14 13 16,-14-12-16,26-1 16,40 0-16,-52-13 15,12 0-15,-13 0 0,0 0 16,1-13-16,12 0 16,-26-1-16,0 1 0,0 0 15,-13 0-15,-14-14 16,1 27-1,13-13-15,0 13 0,-1 0 16,1 0-16,0 0 16</inkml:trace>
  <inkml:trace contextRef="#ctx0" brushRef="#br0" timeOffset="129985.82">18269 11126 0,'0'13'0,"14"66"16,-1-65-1,13-1 1,-12 0-16,-1-13 0,0 0 0,0 0 16,14 0-16,-14-13 15,13 0-15,-26-1 16,14 14-16,-14-13 0,-14-13 15,1 12-15,0 1 16,0 0-16,0 0 16,-14 13-16,14-14 15,-14 14-15,14 14 16</inkml:trace>
  <inkml:trace contextRef="#ctx0" brushRef="#br0" timeOffset="130218.66">18865 10993 0,'0'14'15,"-40"65"1,27-53-16,-27 27 15,14-13-15,12-27 16,1 1-16,13-1 0,-13 0 0,0 0 16,0 0-16,-1 1 15</inkml:trace>
  <inkml:trace contextRef="#ctx0" brushRef="#br0" timeOffset="130358.76">18547 11033 0,'-26'-26'0</inkml:trace>
  <inkml:trace contextRef="#ctx0" brushRef="#br0" timeOffset="130523.82">18971 11245 0,'0'0'15,"13"-13"1</inkml:trace>
  <inkml:trace contextRef="#ctx0" brushRef="#br0" timeOffset="130939.85">17066 11800 0,'53'-39'16,"-14"26"-1,795-14 1,-728 27-16,-1 0 16,1 0-16,0 0 0,0 0 0,-14 0 15,186 0 1,-198 0-16,-27 0 0,-1 0 0,15 13 15,-54-13 1,-40 0 0,1 0-16</inkml:trace>
  <inkml:trace contextRef="#ctx0" brushRef="#br0" timeOffset="131187.14">17383 11919 0,'384'14'0,"-225"-14"16,-67 0-16,-12 0 0,12 0 0,-13 0 15,54 0-15,-80 0 16,0 0-16,-14 0 0,-12 0 15,26-14-15,-27 14 0,27-26 16,-40 13 0</inkml:trace>
  <inkml:trace contextRef="#ctx0" brushRef="#br0" timeOffset="136750.87">12237 11562 0,'781'106'31,"-636"-79"-31,794 26 16,-793-53-16,13 0 0,-14 0 16,-13-14-16,1 14 0,-14-13 0,-27 0 0,1 0 15,66-27-15,-80 27 16,-13-14-16,0 14 0,-13-13 16,0 12-16,-13-12 0,0-1 0,-1 14 15,-12-13-15,26-27 0,-40 26 16,13 1-16,-12-14 0,-1 14 15,0 12-15,-13-12 0,13 0 0,-13-1 16,13 1-16,-13-1 0,0 1 16,0-27-16,0 26 15,0-12-15,-13-1 0,13 0 0,-26-39 16,13 39-16,-27-52 0,27 52 16,-14-13-16,-39-26 15,0 13 1,26 26-16,1 13 0,-14 1 0,0-14 0,-53 1 15,40 12-15,0 1 16,-1-1-16,1 1 0,-13 12 16,-1-12-16,-91-14 0,-28 1 15,80 25-15,0 1 0,0-13 16,13 12-16,-251-12 16,238 13-16,-13 13 0,-1-13 0,-105 13 15,93 0-15,-133 0 16,0 13-1,-145 26-15,290-25 16,-12 12-16,13-13 0,-1 14 16,1-14-16,0 14 0,13 12 0,0-12 15,-1 12-15,-91 41 0,26 26 16,105-53-16,14 13 16,-13-13-16,26 13 0,-27 53 15,27 53-15,53-119 16,80 105-1,-27-118-15,0 0 0,39 13 16,1-27-16,13 14 0,105 0 0,28-1 16,-41-26-1,-105 1-15,12-14 0,1 13 16,199 0-16,-120 0 16,-93-13-16,67 27 15</inkml:trace>
  <inkml:trace contextRef="#ctx0" brushRef="#br0" timeOffset="138914.5">12078 12197 0,'0'133'16,"-13"-94"-16,13 1 15,0 13 1,0-40-16,0 14 15,0-14-15,0 0 0</inkml:trace>
  <inkml:trace contextRef="#ctx0" brushRef="#br0" timeOffset="139167.18">12488 12171 0,'0'13'16,"0"14"-16,0-1 0,-13-13 16,13 0-16,0 14 0,-13 13 15,0-1-15,-1 1 16,1-14-16,13-12 15,-13-1-15,13 13 0,-13-26 16,13 14-16</inkml:trace>
  <inkml:trace contextRef="#ctx0" brushRef="#br0" timeOffset="139346.81">12303 12224 0,'-13'-13'0,"26"39"31,0-13-15</inkml:trace>
  <inkml:trace contextRef="#ctx0" brushRef="#br0" timeOffset="139475.29">12740 12435 0,'13'0'16</inkml:trace>
  <inkml:trace contextRef="#ctx0" brushRef="#br0" timeOffset="140047.16">13745 12184 0,'0'-13'0,"13"53"16,-13-14-1,0 40-15,0-39 16,14 12-16,-14 14 15,0-26-15,13 12 16,-13-25-16</inkml:trace>
  <inkml:trace contextRef="#ctx0" brushRef="#br0" timeOffset="140257.01">13573 12396 0,'79'-27'16,"-52"14"-16,158 0 16,-132 13-1,26-13 1</inkml:trace>
  <inkml:trace contextRef="#ctx0" brushRef="#br0" timeOffset="140672.82">14631 12131 0,'-119'0'16,"106"0"-16,0 13 16,-27 14-16,27-1 15,0-12-15,13 12 16,13-13 0,0-13-16,0 0 15,40 0-15,-39-13 16,25 0-16,1 0 15,-14-1 1,1 14-16,-14 0 16,14 27-1,-27-14 1,13 13-16,-13 1 16,13-14-16,-13 27 15,13-27 1,1 0-1,-14 0-15,13-13 16</inkml:trace>
  <inkml:trace contextRef="#ctx0" brushRef="#br0" timeOffset="141011.89">15015 12144 0,'-66'0'16,"26"0"-16,27 14 16,0-14-16,-14 13 0,14 0 15,13 0 1,0 1-16,13-14 16,14 0-16,-14 0 15,27-14 1,-27 14-16,27 0 15,-27 0-15,0 14 16,0 12 0,-13 0-1,0 14-15,0-13 16,0-14-16,0 0 16,0 0-16,14 0 0,-14 1 15,26-14 1</inkml:trace>
  <inkml:trace contextRef="#ctx0" brushRef="#br0" timeOffset="141247.82">15518 12078 0,'-27'13'15,"14"14"-15,0 13 16,0-1-16,-14 1 16,27-14-16,-26 14 15,-1 13-15,1-13 16,13-40 0,-1 13-16</inkml:trace>
  <inkml:trace contextRef="#ctx0" brushRef="#br0" timeOffset="141426.85">15266 12197 0,'-13'-26'31</inkml:trace>
  <inkml:trace contextRef="#ctx0" brushRef="#br0" timeOffset="141588.89">15505 12250 0,'26'13'31</inkml:trace>
  <inkml:trace contextRef="#ctx0" brushRef="#br0" timeOffset="143874.78">12885 8440 0,'66'40'15,"-39"-40"-15,52 13 16,-26 0-16,-13-13 15,-14 14-15,-13-14 0,14 0 16,26 0-16,-27 0 16,1 13-16,-1-26 0,14 13 15,-27 0-15,0 0 16,27 0-16,-27-14 0,14 14 16,-1-13-16,1 0 15,-27 0-15,13-1 16,13 1-16,1-13 15,-14 26-15,-13-13 16,13-1-16,0 14 0,1-13 16,-1-13-16,13 12 15,-12 1-15,-14 0 16,13 13 0,-13-13-16,0-1 0,13 1 15,-13 0-15,0-13 16,-13-1-1,0 14-15,13-14 0,-27 1 16,14-1-16,0 14 16,-1 0-16,-25-27 15,-1 14 1,0-1-16,14 14 0,13 13 16,-14-13-16,1 0 0,-1 0 15,-39-14-15,0 1 16,13 12-1,13 1 1,27 0-16,-26 0 0,25 13 0,-25-14 16,12 14-16,14-13 15,-27 13-15,1 0 16,12-13-16,-13 13 0,27 0 16,0 0-16,-13 0 15,-41 0-15,28 13 16,-14 0-1,26-13-15,14 14 16,-13-14-16,-27 26 0,26-13 16,-12 14-16,25-27 15,-52 53 1,53-40-16,0 0 16,-27 27-16,27-27 0,-14 27 15,1-1 1,13 1-16,-1 13 15,14-40-15,0 14 16,14 52 0,105 1-1,-66-54-15,0-13 0,13 14 0,66-1 16,27-13 0,-67 1-16,-12-1 0</inkml:trace>
  <inkml:trace contextRef="#ctx0" brushRef="#br0" timeOffset="145503.6">15544 8506 0,'14'14'31,"12"-1"-31,14 0 16,-14-13-16,-13 13 16,40-13-16,0 13 15,-26-13-15,26 0 0,-1 0 16,1 14 0,-13-14-16,13 0 15,13 0 1,-53 0-16,1 0 0,12 0 15,-13 0-15,27 0 16,-27 0-16,14 0 0,-1-14 0,-13 14 16,1 0-16,25 0 15,-12-13-15,-1 13 16,-13 0-16,1 0 0,12-13 16,-13 13-16,1-13 0,12 13 15,0-13 1,1-1-16,13 1 15,-14 0-15,1 0 16,-14 13-16,13-14 16,-13 1-16,1 0 15,-1 0-15,0 0 16,0-1 0,-13 1-16,14 0 0,-14 0 15,13-1 1,-13-12-16,13 13 15,-13-1-15,0-12 0,0 13 16,0 0 0,0-14-16,0 14 0,-13-27 15,13 14 1,-27-1 0,14 1-16,0 13 15,0-1-15,-1 1 0,1 0 16,-13 0-1,13-1-15,-14 1 0,1-13 16,12 26-16,-25-13 16,25-1-16,-38 1 15,25 13-15,14-13 0,-40 13 16,0-13-16,0-1 16,27 14-16,-54-13 15,41 13 1,-14-13-16,26 13 0,14 0 15,-13 0-15,-14 0 16,13 0-16,-12 0 0,25 0 16,-25 0-16,12 0 15,1 0-15,-14 0 16,27 13-16,-27-13 16,27 0-16,-13 13 0,12-13 0,-12 0 15,-1 14-15,1-1 16,13-13-1,-14 13-15,14-13 16,0 13-16,0-13 0,-14 14 16,14-1-1,0-13-15,-1 0 16,1 13-16,0-13 16,0 13-16,0-13 15,13 13-15,-27 1 16,14-1-16,13 0 31,-13 0-31,13 1 0,0 12 0,0 27 16,0-13-1,13-1-15,0 14 16,14 0 0,-1-26-16,14 26 0,13-27 15,0 14-15,-1-14 16,-12-13-1,26 14-15,-26-14 16,-14-13-16,14 13 16,0-13-16,-27 0 15,13 0-15,1 0 0,-1 0 16,14 0 0,-27 13-16,1-13 0,25 0 15</inkml:trace>
  <inkml:trace contextRef="#ctx0" brushRef="#br0" timeOffset="151406.91">14195 8546 0,'26'13'16,"-12"-13"-16,25 0 0,-25 0 15,12 0-15,0 0 0,1 0 16,-1 0-16,1 0 0,-1 0 16,1 0-16,26 0 0,-14 0 15,-12 0-15,12 0 16,-25 0-16,-1 13 0,0-13 16,0 0-16,1 0 15,-1 0-15</inkml:trace>
  <inkml:trace contextRef="#ctx0" brushRef="#br0" timeOffset="152345.85">14433 8599 0,'0'13'0,"13"0"16,-13 14-16,13-14 0,-13 0 16,27 27-16,-14-27 0,0 14 15,40 26-15,-26-40 0,12 13 16,-12 1-16,13-1 16,13 1-16,-14-14 0,67 40 0,-40-40 15,-13 0-15,0 14 0,13-14 16,-13 0-16,66 14 0,13-14 15,1 0-15,-67 0 16,0-13-16,13 14 16,67-1-16,-1-13 0,-78 13 15,-1-13-15,13 0 0,-13 0 0,-13 0 16,13 0-16,-13 0 16,0-13-16,0 13 0,0 0 0,0-13 15,79-1-15,-92 1 16,0 13-16,-14-13 0,14 0 15,-1-1-15,-12 1 0,13-13 16,-14 26-16,0-13 0,-12-1 16,-1 1-16,27-13 15,-27 26-15,0-14 0,0 1 0,1 13 16,-1-13-16,-13 0 0,13 13 16,0-14-16,0 14 0,-13-13 15,40-13 1,-27 26-16,1-13 0,12-1 15,-13 1 1,0 0 0,1 0-16,-1 13 31,-13-14-31,13 14 16,-13-13-1,13 13 1,-13-13-1,14 0 17,-1 13-1,-13-14-31,13 14 31,0-13-31,1 0 47,-1 13 0</inkml:trace>
  <inkml:trace contextRef="#ctx0" brushRef="#br0" timeOffset="152867.84">17357 8599 0,'39'13'47,"1"-13"-31,-27 13-16,14-13 0,-14 0 15,13 0-15,14 14 0,-13-14 16,-14 0-16,13 0 0,-13 0 15,14 0-15,-1 13 16,-12-13-16,-1 0 0,0 0 16,0 0-1,1 0 1,-1 0 0,0 0-1,0 0 63,0-13-62,1 13-16,-14-14 16,13 14-16,0-13 0</inkml:trace>
  <inkml:trace contextRef="#ctx0" brushRef="#br0" timeOffset="156183.87">10160 5622 0,'106'14'32,"-14"-14"-32,-39 0 15,-13 0-15,-13 0 0,-14 0 0,13 0 16,14 0-16,-27 0 15,14 0-15,-14 0 0,13 13 16,-13-13-16,1 0 0,12 0 16</inkml:trace>
  <inkml:trace contextRef="#ctx0" brushRef="#br0" timeOffset="156965.85">15584 5424 0,'66'13'0,"-39"0"0,12-13 15,1 0-15,53 14 0,-41-14 16,1 13-16,53-13 15,-53 13-15,0-13 0,0 0 0,0 13 16,0-13-16,0 0 0,39 14 16,-65-14-16,12 0 15,-12 0-15,-1 0 0,14 13 16,-27-13-16,1 0 0,-1 0 0,0 0 16,0 0-16,0 0 0,1 0 15,-1 0 1,0 0-16,0 0 15,1 0 1,-1 13 0,13-13-1,-12-13 1</inkml:trace>
  <inkml:trace contextRef="#ctx0" brushRef="#br0" timeOffset="160235.76">16828 1773 0,'0'26'15,"-14"-13"1,14 1-16,0 12 0,0-13 0,0 1 16,0 12-16,0-13 0,0 14 15,0-14-15,0 13 0,0 14 16,27 0-16,-14-1 15,13-12-15,1-1 16,13 27-16,-14-40 0,14 14 16,26-1-16,-26 1 0,-14-14 15,14 0-15,-1 1 0,1-1 16,53 0-16,-40 0 0,39 0 16,-39-13-16,0 14 0,0-1 15,13-13-15,0 13 0,-13 0 16,13-13-16,0 14 0,1-1 0,-1-13 15,0 13-15,0 0 0,0 1 16,0-1-16,0-13 0,-13 13 16,27 0-16,-14 0 0,0-13 0,13 14 0,-12-1 15,78 0-15,-66 0 16,-12-13-16,12 14 0,80-14 16,-93 0-16,13 0 0,-13 0 15,-13 0-15,27 0 0,-27 0 16,66 0-16,-66-14 0,-1 14 15,1 0-15,40-13 0,-40 13 16,53-13-16,-67 0 16,14 13-16,0-14 0,-13 1 0,53 0 15,-14-13 1,14-14-16,-80 27 16,40-27-16,-27 0 15,-13 27-15,1 0 16,-1 0-16,13-27 0,1 13 15,-14 1-15,0 13 16,-13-1-16,13-12 0,27-14 16,-27 14-16,1 13 15,-1-1-15,-13 1 0,40-26 16,-14-1 0,-26 27-16,13-1 0,0 1 15,1 0-15,-1 0 16,0-1-16,-13 1 15,13 13-15,-13-13 16,14 13-16,-14-13 16,13 13-16,-13-13 15,13 13 17</inkml:trace>
  <inkml:trace contextRef="#ctx0" brushRef="#br0" timeOffset="160587.85">21008 1852 0,'-13'0'0,"66"-26"32,-27 26-17,1 0-15,-14 13 16,26-13-16,-12 13 0,-14-13 16,14 27-16,-1-14 15,-13 0-15,14 27 16,-14-14-16,-13-13 0,13 1 15,0 65 1,14-26 0,13 13-16,-27-53 15</inkml:trace>
  <inkml:trace contextRef="#ctx0" brushRef="#br0" timeOffset="164330.53">18481 1918 0,'80'66'16,"-54"-52"-1,-13-1-15,14 0 0,-1 0 0,67 53 16,-67-52-1,14 12-15,0-13 0,-1 14 0,14-14 16,-13 13-16,13 1 0,0-14 16,92 53-16,-105-52 15,13-1-15,0 0 0,0 13 16,119 14-16,-106-27 0,-13 1 16,53 12-16,-1-13 15,-39 1-15,1-1 16,-1 0-16,0 0 0,212 27 15,-212-40-15,13 13 16,-13 0-16,67 1 16,12-1-16,-79 0 15,1-13-15,-1 0 0,-13 0 0,13 0 0,-13 0 16,13 0-16,-13 0 0,0 0 16,26-13-16,-26 13 0,0-13 15,53-1-15,-67 1 0,14 13 16,-13-13-16,0 0 0,-1-1 15,41-12-15,-41 26 0,1-13 16,0-14-16,-1 14 0,14 0 0,-13 0 16,0-1-16,-1 1 0,1 0 15,0 0-15,39-27 0,-52 27 16,52-14-16,-39 14 16,-14 0-16,14 0 0,0-1 15,-14-12-15,14 13 0,-14-1 0,1 1 0,-1-13 16,27-1-16,-27 1 15,1 13-15,-14-14 0,27 1 16,-27 13-16,27-27 0,-27 27 16,0-1-16,0 1 15,14 0-15,-14-14 16,0 27-16,-13-13 0,14 13 0,-14-13 16,13 13-1,-13-13-15,13 13 16,-13-13-16,13 13 15,0-14 17</inkml:trace>
  <inkml:trace contextRef="#ctx0" brushRef="#br0" timeOffset="164682.84">23019 1839 0,'0'-13'16,"39"13"-1,-25 0-15,25 0 16,-25-14-16,-1 28 0,13-14 16,-12 0-16,38 0 0,-38 13 15,25 0-15,-25-13 0,12 13 16,0 1-16,1 12 16,-14 0-16,0-12 15,1-1-15,-14 0 0,13 0 16,0 40-16,-13-39 15,0-1-15,0 0 0,13 27 16,-13-27-16</inkml:trace>
  <inkml:trace contextRef="#ctx0" brushRef="#br0" timeOffset="179895.69">11576 13322 0,'0'26'16,"0"-13"-16,0 1 0,0-1 15,0 13-15,0 1 0,0-14 16,0 14-16,0-1 0,0-13 16,13 14-16,-13-14 0,0 13 0,0 1 15,0-1-15,0-13 16,0 1-16</inkml:trace>
  <inkml:trace contextRef="#ctx0" brushRef="#br0" timeOffset="180182.69">11576 13282 0,'79'-26'15,"-53"39"-15,-12-13 16,-1 13-16,0 0 0,0 1 16,-13-1-16,14 0 0,-14 0 0,0 0 15,-14 1-15,14 12 16,-13-13-16,-13 14 0,12-14 15,1 0-15,0 1 0,0-1 16,-1-13-16,1 0 16</inkml:trace>
  <inkml:trace contextRef="#ctx0" brushRef="#br0" timeOffset="180442.47">11933 13229 0,'-14'13'15,"1"14"-15,0 26 16,0-40 0,13 13-16,0 1 0,0-1 0,0 14 15,13-13-15,-13-14 0,13 13 16,-13-13-16,13 1 0,1 12 15,-1-13-15,0-13 0,-13 14 16,13-14-16,1 0 0,12 0 16</inkml:trace>
  <inkml:trace contextRef="#ctx0" brushRef="#br0" timeOffset="180815.09">12197 13322 0,'0'-13'31,"0"39"-15,0-13-16,-13 40 16,13-40-16,0 14 15,13-120-15,-26 252 16,13-133-16,0-12 0,0-1 16,13-251-16,-26 489 15,13-277 1,0-1-1,0 14-15,13-13 0,1-27 16,-14 26-16,26-26 16,-13 27-16,0 26 15,-13-13-15,27 13 16,-14 13-16,0 0 0,1 0 16,12 14-16,-13-14 15,14 53-15,-14-53 16,13 27-16,-12 0 15,-14-27-15,13-13 16,-13 13-16,0 0 16</inkml:trace>
  <inkml:trace contextRef="#ctx0" brushRef="#br0" timeOffset="181003.7">12197 13481 0,'-13'0'16,"40"0"0,-14 0-16,26 0 15,1 0-15,-27-14 16,14 1-16,-1 0 16,1 0-16,-1-1 15</inkml:trace>
  <inkml:trace contextRef="#ctx0" brushRef="#br0" timeOffset="181206.46">12528 13110 0,'66'53'16,"0"13"-1,-39 0-15,-14-52 0,-13 12 16,13 0-16,-13 1 15,-26 52-15,26-65 16,-13 12-16,-1-13 0,1 14 0,0-14 16,13 0-16</inkml:trace>
  <inkml:trace contextRef="#ctx0" brushRef="#br0" timeOffset="181520.97">14155 13150 0,'-26'92'31,"26"-65"-31,13 39 16,-13-40-16,0 14 0,13-13 16,-13-1-16,0 14 15,0-27-15,0 0 0,-13-13 16</inkml:trace>
  <inkml:trace contextRef="#ctx0" brushRef="#br0" timeOffset="181698.14">13970 13441 0,'40'-13'15,"-27"13"1,0 0-16,14 0 15,-1-14-15,1 14 0,39-13 0,26-13 16,-26 26 0,-26 0-1,-13-14-15</inkml:trace>
  <inkml:trace contextRef="#ctx0" brushRef="#br0" timeOffset="182183.08">14909 13216 0,'-26'66'31,"13"-39"-31,-1 25 15,14 1-15,0-26 0,0 13 16,0-14-16,0 0 16,0-12-16,0 25 15,-26-78 17,13-14-17,-1-27 1,1-12-16,26 12 0,-13 41 15,0 25-15,14-25 16,-1 12-16,0 14 0,0 0 16,1 13-16,-1 0 0,13 13 15,1 14 1,-14-14-16,0 0 0,-13 0 0,0 27 16,-13 0-16,13-14 15,-13-13-15,-1 1 0,-12 25 16,0-26-16,12 1 15,1-1-15</inkml:trace>
  <inkml:trace contextRef="#ctx0" brushRef="#br0" timeOffset="182544">15544 13070 0,'-79'93'16,"52"-53"-16,-39 145 15,40-106 1,39 14-16,-13-67 16,13-12-16,1 12 0,12 0 15,-13-12-15,0-1 0,14 0 16,39-13-16,-13-13 15,-27 0-15,1-1 16</inkml:trace>
  <inkml:trace contextRef="#ctx0" brushRef="#br0" timeOffset="183747.59">15703 13361 0,'13'53'16,"-13"-26"0,0-14-1,13-13 1,1-13-1,-14 0-15,13 13 0,-13-14 16,13 14-16,-13-13 16,13 13-16,1-13 0,-1 13 31,0 0-31,-13 13 0,13-13 16,-13 13-16,14 1 0,-1-1 15,0-13-15,0 13 16,0 0-16,14-13 15,-1 0-15,-12 0 16,-1 0 0,0-13-16,0 13 0,1-13 15,-1 13 1,0 0 0,-13 13-16,13-13 15,0 13-15,1-13 16,-1-13-1,0 13-15,14 0 0,-1-26 16,-13 12-16,-13 1 16,0-13-1,-13 26-15,13-14 0,-13 1 16,0 13-16,-14 0 16,14 0-1,0 13-15,-1 1 16,14-1-1,14 0 1,-1-13-16,0 0 0,0 0 0,1-13 16,12 13-16,-13-13 0,0-1 15,14 14-15,-14-13 0,0 0 0,1 0 16,12-14-16,-26 14 0,13 0 16,1 0-16,-14-1 0,13 1 15,-13 0 1,0 53-1,0-27-15,0 0 16,0 14-16,13-1 16,-13-13-16,0 0 0,13 1 15,0 12-15,-13-13 16,14 1-16,-1-1 16,0-13-1</inkml:trace>
  <inkml:trace contextRef="#ctx0" brushRef="#br0" timeOffset="183894.64">16192 13322 0,'53'-13'16,"-26"-1"-1,-14 14-15,0 0 16,27-13-16</inkml:trace>
  <inkml:trace contextRef="#ctx0" brushRef="#br0" timeOffset="184370.7">16775 13229 0,'13'27'16,"-13"-1"-16,0-13 0,0 1 15,0-1-15,-13 0 0,13 13 16,0 1-16,-14-1 15,14-12 1,0-41 15,14 14-31,-14 0 0,26-67 32,-13 54-32,1 13 0,-1-14 15,0 27-15,-13-13 16,26 13-16,-12 0 15,12 13-15,-26 0 0,13 1 16,1-1-16,-1 13 16,-13-12-16,13-1 15,-13 0-15,0 13 0,13 14 16,-13-27 0,0 1-16</inkml:trace>
  <inkml:trace contextRef="#ctx0" brushRef="#br0" timeOffset="184547.54">16841 13295 0,'-13'0'16,"39"0"-1,-13 14-15,40-14 16,-26 0-16,-14-14 15,13 14-15,-13 0 0,14 0 16,-14 0-16,0-13 0</inkml:trace>
  <inkml:trace contextRef="#ctx0" brushRef="#br0" timeOffset="184814.78">17013 12991 0,'79'66'16,"-66"-39"0,1 12-16,-1-25 0,13 52 15,-26-40-15,0 54 16,-13-14-16,0-40 15,0 14-15,-1-14 0,1 1 16,0-14-16,0 0 0,-1 0 0,1 14 16,0-27-16</inkml:trace>
  <inkml:trace contextRef="#ctx0" brushRef="#br0" timeOffset="186682.89">20862 12105 0,'14'26'15,"-14"1"1,0-14-16,0 0 0,0 0 16,0 14-16,0-1 0,0-13 15,0 27-15,0-27 0,0 1 16,13-1-16,-13 0 15,0 0-15,-13 0 0,26-13 0,-13 14 16,0-1 0</inkml:trace>
  <inkml:trace contextRef="#ctx0" brushRef="#br0" timeOffset="187623.72">20876 12091 0,'79'-26'16,"-39"39"-1,-14 0-15,-26 1 16,13 12-16,1 1 15,-14-14-15,-14 0 0,14 14 16,-26-1-16,26-13 16,-13 0-16,-1 1 0,1-14 15,-26 26-15,25-26 16,14-13 0</inkml:trace>
  <inkml:trace contextRef="#ctx0" brushRef="#br0" timeOffset="187835.63">21259 12012 0,'-13'27'16,"0"-14"-1,13 0-15,-13 27 0,-1-14 16,1 67-16,13-80 15,13 0-15,-13 27 16,14-14-16,-1-12 16,13-1-16,-13-13 15,1 0-15,-1 0 16</inkml:trace>
  <inkml:trace contextRef="#ctx0" brushRef="#br0" timeOffset="188062.85">21497 12039 0,'0'-14'16,"14"41"15,-14-1-31,-14 1 16,14-14-16,0 13 0,0-12 15,0 12-15,0 1 16,0 25-16,0-38 15,-13 12-15,13-13 0,13 1 16,-13-292-16,0 265 16</inkml:trace>
  <inkml:trace contextRef="#ctx0" brushRef="#br0" timeOffset="188268.23">21656 12078 0,'13'-26'15,"-26"52"17,13-13-32,0 14 15,0-1-15,-13-12 0,13 12 16,0-13-16,0 27 16,0-14-16,0-12 15,0-1-15,0 0 16</inkml:trace>
  <inkml:trace contextRef="#ctx0" brushRef="#br0" timeOffset="188463.41">21471 12224 0,'79'0'46,"-39"0"-30,26-146-16,-106 292 0,67-146 16,13-13-1,-14 13-15,-13 0 0</inkml:trace>
  <inkml:trace contextRef="#ctx0" brushRef="#br0" timeOffset="188779.49">21868 11867 0,'79'132'31,"-66"-40"-31,1-39 16,-14-26-16,-14 26 16,-12 13-1,13-40-15,0 1 16,-1-27-16</inkml:trace>
  <inkml:trace contextRef="#ctx0" brushRef="#br0" timeOffset="189214.68">22701 12025 0,'-39'0'31,"12"0"-15,27 14-16,-13-14 0,0 0 15,-1 13-15,14 0 16,0 0-16,0 0 16,14 1-16,-14-1 0,13 0 15,-13 0-15,13 14 16,-13-14-16,-13 0 15,13 1-15,-13-14 16,-1 13-16,1-13 16,0 13-16,0-13 15</inkml:trace>
  <inkml:trace contextRef="#ctx0" brushRef="#br0" timeOffset="189470.46">22820 12131 0,'0'40'0,"14"-27"16,-28-66-16,54 106 16,-27-53-16,14 0 15,-14-13-15,0 13 16,-13-13-16,0-1 15,-13 1-15,0 0 16,13 0-16,-14 13 0,1 0 16,0-14-16,0 14 0,-14 0 15,14 0-15,0 14 16,0-14-16</inkml:trace>
  <inkml:trace contextRef="#ctx0" brushRef="#br0" timeOffset="189874.77">22291 12052 0,'0'13'16,"-13"27"-16,13-27 15,0 0-15,0 0 0,-13 1 0,13-1 16,-14 27-16,14-14 16,0-13-16</inkml:trace>
  <inkml:trace contextRef="#ctx0" brushRef="#br0" timeOffset="190054.77">22172 12197 0,'13'-13'0,"1"13"15,-1 0-15,13-13 16,14 13-16,13 0 15,0 0-15,-40 0 0,13 0 16,1 0-16</inkml:trace>
  <inkml:trace contextRef="#ctx0" brushRef="#br0" timeOffset="190904.41">20942 13176 0,'-13'27'16,"13"-1"-16,0-13 0,0 27 16,0-27-1,0 40-15,0-26 16,0-14-16,0 0 15,0 0-15,13-39 32,-13 13-17,0-1-15,13-38 16,0 25-16,0-26 0,14 0 16,-27 40-16,26-27 15,-12 27-15,12 0 16,-13 0-16,1 13 15,12 13-15,-26 0 16,0 14 0,0-14-16,-13 0 15,0 13-15,-1-12 0,-12 12 16,13-13 0,-14 1-16,14-1 0,0-13 15,13 13-15,-14-13 16</inkml:trace>
  <inkml:trace contextRef="#ctx0" brushRef="#br0" timeOffset="191138.52">21325 13057 0,'-39'53'31,"39"-40"-31,-14 14 0,14-1 16,-13 14-16,0 0 15,13-14-15,0-13 0,0 27 16,13-14-16,0 1 16,1-27-16,12 13 15,1 0-15</inkml:trace>
  <inkml:trace contextRef="#ctx0" brushRef="#br0" timeOffset="191551.79">21511 13414 0,'-14'-26'0,"28"-53"31,-1 65-15,-13 1 15,26 26-15,-26 1-16,0-1 15,27 0-15,-1-13 16,-13 0 0,1 0-16,-1-13 15,0 0 1,-13-1-16,13-12 0,-13 13 16,-158 171-16,316-330 15,-158 159-15,0 0 16,0 0-16,14-1 15,-14 1 1</inkml:trace>
  <inkml:trace contextRef="#ctx0" brushRef="#br0" timeOffset="191727.82">21788 13123 0,'0'40'31,"0"53"1,0-80-17,0 0 1,0 0-16</inkml:trace>
  <inkml:trace contextRef="#ctx0" brushRef="#br0" timeOffset="191939.77">22013 13123 0,'14'-13'31,"-1"53"1,-13-27-32,13 27 31,0-1-16,-13-25-15,13 12 0,-13-13 16,0 1-16,0-1 16</inkml:trace>
  <inkml:trace contextRef="#ctx0" brushRef="#br0" timeOffset="192147.73">21841 13269 0,'-13'0'16,"66"0"15,-40-13-15,14 13-16,26 0 16,-14 0-16,-12-14 0,-14 14 15,13-13-15,-12 13 16,12 0-16,-13-13 15</inkml:trace>
  <inkml:trace contextRef="#ctx0" brushRef="#br0" timeOffset="192433.31">22265 12925 0,'79'132'16,"-79"-119"0,0 14-16,0 13 0,-13 12 15,0 1 1,-1-39-16,14 12 15,-13-13-15,26 1 16,1-1-16</inkml:trace>
  <inkml:trace contextRef="#ctx0" brushRef="#br0" timeOffset="192839.8">22714 13097 0,'14'0'15,"-1"0"-15,13 0 16,1 0-16,-1 0 16,-132 0-1,239 0-15,-133 13 16</inkml:trace>
  <inkml:trace contextRef="#ctx0" brushRef="#br0" timeOffset="193008.75">22741 13256 0,'40'0'32,"-14"-14"-32,40 14 15</inkml:trace>
  <inkml:trace contextRef="#ctx0" brushRef="#br0" timeOffset="193402.79">23310 13044 0,'-27'0'16,"1"0"-16,-1 13 15,107-26-15,-186 26 0,93 0 16,0-13-16,-14 0 16,27 14-16,0-1 15,0 0 1,13-13-16,14 27 15,-1-14-15,-13 0 0,1-13 16,-1 13 0,-13 0-16,0 14 15,-13-14 1,-14 0-16,-26 14 16,27-14-1,13 0-15,-1-13 16</inkml:trace>
  <inkml:trace contextRef="#ctx0" brushRef="#br0" timeOffset="193755.35">23442 13044 0,'-40'93'47,"54"-80"-47,-1 0 15,0 0-15,27 0 16,-1-13 0,-12 0-16,-14 0 0,14-13 15,-14 13 1,0-13-16,0 0 0,-13 0 15,0-1-15,0-12 16,-13 13-16,0-1 16,-146-12-16,291 39 0,-145-13 15,0-13-15,-14 13 16,14 0-16,-40 13 16,53 0-16,-39-13 15</inkml:trace>
  <inkml:trace contextRef="#ctx0" brushRef="#br0" timeOffset="193987.83">23932 12938 0,'0'-13'0,"0"79"31,-14-53-31,1 27 16,-13 26 0,-14-13-16,13-13 15,27-27 1,-26 13 0</inkml:trace>
  <inkml:trace contextRef="#ctx0" brushRef="#br0" timeOffset="194139.58">23680 13084 0,'-13'-14'31</inkml:trace>
  <inkml:trace contextRef="#ctx0" brushRef="#br0" timeOffset="194290.83">23984 13163 0</inkml:trace>
  <inkml:trace contextRef="#ctx0" brushRef="#br0" timeOffset="195735.59">1164 8930 0,'13'92'16,"-13"-65"-1,0-14-15,14 66 16,-14-39-16,13 0 16,-13-14-1,13-13-15,-13 1 16,0-1-16,13 0 16</inkml:trace>
  <inkml:trace contextRef="#ctx0" brushRef="#br0" timeOffset="196018.81">1058 8916 0,'27'-26'16,"-14"26"-16,13 0 15,1 0-15,39 26 16,-39 1 0,-14-14-16,0 14 15,-13 26 1,-13-14-16,0-26 16,-1 14-16,1-14 0,-13 0 15,12 1 1,-12-1-16</inkml:trace>
  <inkml:trace contextRef="#ctx0" brushRef="#br0" timeOffset="196285.63">1455 8877 0,'-13'26'0,"13"-13"0,0 14 16,0 39-1,0-53-15,13 27 16,0-27-16,-13 0 0,14 14 16,25-1-1,-12 1-15,-14-27 16,0 0-16,1 0 15</inkml:trace>
  <inkml:trace contextRef="#ctx0" brushRef="#br0" timeOffset="196497.05">1746 8864 0,'0'26'47,"13"-13"-47,-13 40 16,0-40-1,14 27-15,-14-27 16,0 1-16,-318-173 0,636 331 16,-305-159-16</inkml:trace>
  <inkml:trace contextRef="#ctx0" brushRef="#br0" timeOffset="196703.51">1905 8797 0,'26'106'46,"-12"-79"-30,-14-14-16,13 0 16,-13 0-16,13 1 15</inkml:trace>
  <inkml:trace contextRef="#ctx0" brushRef="#br0" timeOffset="196906.73">1799 8983 0,'-26'-14'47,"65"1"-47,-25 13 16,12-13-16,-13 13 0,40-27 15,0 14 1,-40 0-16,1 0 15</inkml:trace>
  <inkml:trace contextRef="#ctx0" brushRef="#br0" timeOffset="197186.79">2024 8533 0,'159'92'16,"-146"-78"0,40 52-16,-40-27 15,14 1-15,-27 0 16,0-27-16,0 27 15,0-1 1,-14-25-16,14-1 16</inkml:trace>
  <inkml:trace contextRef="#ctx0" brushRef="#br0" timeOffset="198466.64">2950 8414 0,'0'26'16,"13"1"-16,1-1 15,-1 1-15,-13-14 16,13 13-16,-13-13 0,0 1 0,26 25 16,-26-25-16,0-1 15,0 0-15</inkml:trace>
  <inkml:trace contextRef="#ctx0" brushRef="#br0" timeOffset="198665.41">2858 8612 0,'66'-53'32,"-13"27"-32,-14 13 15,27-14 1,-52 14-16,12 13 0,1-13 15,-14 13-15</inkml:trace>
  <inkml:trace contextRef="#ctx0" brushRef="#br0" timeOffset="199217.91">3559 8096 0,'0'-13'0,"-14"66"16,14-40-16,0 53 16,14-26-16,-1 39 15,53 80 1,-53-132-1,40 25 1,-40-38-16,40-1 0,-26-13 16,-14 0-16,13 0 15,1-13-15</inkml:trace>
  <inkml:trace contextRef="#ctx0" brushRef="#br0" timeOffset="199830.73">3334 8374 0,'13'40'15,"0"13"1,-13-40-16,13 13 15,1 14-15,-14-14 16,13-12-16,-13-1 0,13 13 16,-13-12-1</inkml:trace>
  <inkml:trace contextRef="#ctx0" brushRef="#br0" timeOffset="200195.63">3294 8401 0,'13'-93'16,"14"93"0,-14 0-16,0 13 15,0-13-15,1 13 16,-14 1-16,13 12 0,-13 1 16,0-1-1,-13 0-15,13-12 16,-27 12-1,14-26 1</inkml:trace>
  <inkml:trace contextRef="#ctx0" brushRef="#br0" timeOffset="201859.52">3731 8255 0,'-14'-13'16,"14"0"-1,14 13 1,-14-14 0,26 1-1,-13 13 1,1 0-16,-1 13 16,0-13-1,0 0-15,-13 14 0,13-14 0,-13 13 16,14-13-16,-14 13 0,13 0 15,-13 0-15,-13 14 16,13-1-16,-14-12 16,14-1-16,0 0 0,-13 0 15,0 1-15,13-1 0,-13 0 16,13 0 0,13 0 15,0-26-16,0 13-15,1-13 16,12 13-16,1-13 16,-14 0-1,0 13-15,0-14 0,1 14 16,-14-13-16,13 13 16</inkml:trace>
  <inkml:trace contextRef="#ctx0" brushRef="#br0" timeOffset="202252.75">3982 8136 0,'26'53'16,"-12"-40"-1,-14 14-15,13-1 16,0-13 0,-13 0-16,13 1 0,-13-1 15</inkml:trace>
  <inkml:trace contextRef="#ctx0" brushRef="#br0" timeOffset="202483.8">4167 8083 0,'-13'-13'0,"53"66"46,-40-40-30,13 0-16,0 14 16,-66-120-16,119 199 15,-66-93-15,14-13 0,-14 13 0,13 1 32,-13-1-32</inkml:trace>
  <inkml:trace contextRef="#ctx0" brushRef="#br0" timeOffset="202719.43">4048 8242 0,'53'-27'16,"-40"27"-16,14-13 16,-14 0-16,13 13 15,-158 53-15,278-106 0,-146 40 0,13 13 16,0 0-16</inkml:trace>
  <inkml:trace contextRef="#ctx0" brushRef="#br0" timeOffset="203188.94">4260 7845 0,'0'-13'16,"13"52"-16,13-12 15,-12-1-15,-1 14 16,0-27-16,14 40 16,-14 0-16,0-13 15,0-27-15,1 27 16,-1-27-16,-13 0 0,13 0 15,-13 1-15,13-14 16</inkml:trace>
  <inkml:trace contextRef="#ctx0" brushRef="#br0" timeOffset="203651.74">4564 7924 0,'13'14'16,"1"12"-1,-1 27 17,0-27-32,-13-12 15,0-1 1,13 0-16</inkml:trace>
  <inkml:trace contextRef="#ctx0" brushRef="#br0" timeOffset="203966.83">4749 7845 0,'0'-13'0,"13"39"47,1 14-32,12 13 1,-26-40-1,0 0-15,13 0 0,-13 1 16,0-1-16,14-13 16,-14 13-16,13-13 31</inkml:trace>
  <inkml:trace contextRef="#ctx0" brushRef="#br0" timeOffset="204196.59">4604 8017 0,'13'0'15,"0"-13"1,0 13-16,14-14 15,-1 1-15,1 0 16,-1-13-16,-13 26 16,1-27-16,-1 27 0</inkml:trace>
  <inkml:trace contextRef="#ctx0" brushRef="#br0" timeOffset="204495.41">4683 7488 0,'40'0'15,"13"13"-15,0 13 16,0 14-16,26 26 15,-53-39 1,1-1-16,-14 1 0,27 52 16,-40-26-16,-13 0 15,13-13-15,-27 26 16,-317-582-16,675 1058 0,-344-502 16,-27 13-16,27-27 0</inkml:trace>
  <inkml:trace contextRef="#ctx0" brushRef="#br0" timeOffset="206869.86">3995 8506 0,'66'-39'16,"-39"25"0,-14 14-16,0-13 15,14 13-15,-27-13 16,26 13-16,-26-13 0,13 13 16,1 0-16</inkml:trace>
  <inkml:trace contextRef="#ctx0" brushRef="#br0" timeOffset="207083.53">4035 8572 0,'66'-39'15,"-39"26"1,-14 13-16,0-14 16,0 14-16,0-13 0,14 0 15</inkml:trace>
  <inkml:trace contextRef="#ctx0" brushRef="#br0" timeOffset="208062.57">1111 8652 0,'27'-27'31,"-14"14"-15,0 13-16,0-13 15,1 13-15,-1-13 16,0 13-16,14 0 0,-14-14 16</inkml:trace>
  <inkml:trace contextRef="#ctx0" brushRef="#br0" timeOffset="209204.44">1746 9988 0,'-13'-13'16,"0"39"-16,13 1 16,0-1-16,13-13 0,-13 14 15,0-14-15,13 0 16,27 40-1,-14-26-15,-12-27 16,12 0 0,-13 0-16,14-14 0,-1 1 15,-13 13-15,-13-13 16,14 0-16,-14 0 16,0-27-16,-14 0 15,-12 14 1,-14-14-16,14 27 15,-1-14-15,14 27 16,0 0 0,0 14-16,-1-14 15,14 13-15</inkml:trace>
  <inkml:trace contextRef="#ctx0" brushRef="#br0" timeOffset="209404.65">2090 9962 0,'13'0'31</inkml:trace>
  <inkml:trace contextRef="#ctx0" brushRef="#br0" timeOffset="209819.79">2355 9790 0,'-40'26'32,"27"-26"-17,13 13-15,-13 0 16,13 1-1,66-80-15,-119 145 0,79-66 16,-12-13 0,-1 13-16,26 1 15,-25-1-15,-1-13 16,0 13-16,-13 0 0,13 1 16,-26 25-1,-27 1 1,-12 0-1,38-27-15,-25 0 0,25 0 16,1-13 0</inkml:trace>
  <inkml:trace contextRef="#ctx0" brushRef="#br0" timeOffset="210222.67">2910 9618 0,'14'39'16,"-14"-25"-16,26 65 15,-26-53-15,13 14 16,1-14-16,-1-12 16,0 12-16,-13 1 15,13-14-15</inkml:trace>
  <inkml:trace contextRef="#ctx0" brushRef="#br0" timeOffset="210473.27">2738 9816 0,'93'-40'16,"-66"40"-16,65-26 15,-39 13-15,-27-1 16,1 14 0,-1-13-1</inkml:trace>
  <inkml:trace contextRef="#ctx0" brushRef="#br0" timeOffset="-212879.13">2394 1574 0,'0'27'15,"0"-14"-15,0 13 16,0 14-1,-13-13-15,13-14 16,0 13-16,0 1 16,-13-1-16,13-13 15,0 1-15,0-1 32</inkml:trace>
  <inkml:trace contextRef="#ctx0" brushRef="#br0" timeOffset="-212460.11">2355 1508 0,'53'-40'16,"-40"40"-1,80 53 1,-80-39-16,0-1 0,0 13 16,-13-12-16,0-1 0,0 0 0,0 0 15,-13 0-15,-13 27 16,26-27-16,-14 1 16,-12-1-16,-14 0 15,27 0-15,0-13 16,-1 0-1</inkml:trace>
  <inkml:trace contextRef="#ctx0" brushRef="#br0" timeOffset="-211992.81">2765 1495 0,'-13'0'16,"-1"26"-16,1 1 15,0-14-15,13 0 16,-13 40-16,0-13 15,13-14-15,-14 14 0,28 13 16,-14-27 0,13-12-16,0-1 15,0 0-15,0-13 16,1 13-16,-1-13 0,0 0 16,14-13-16,-1 0 15,-13 13-15</inkml:trace>
  <inkml:trace contextRef="#ctx0" brushRef="#br0" timeOffset="-211782.43">3043 1574 0,'0'53'31,"0"-40"-31,-14 1 0,14 25 15,0-25-15,-13 38 16,13-38 0,0-1-16,13 0 15,1-13 1</inkml:trace>
  <inkml:trace contextRef="#ctx0" brushRef="#br0" timeOffset="-211542.07">3228 1561 0,'0'13'31,"0"1"-15,0 25-16,0 1 15,0 0 1,0-27-16,0 0 0,0 13 15,0 1 1,0-14-16,13 0 16</inkml:trace>
  <inkml:trace contextRef="#ctx0" brushRef="#br0" timeOffset="-211352.84">3082 1786 0,'-13'0'16,"66"0"31,-40-13-47,14 13 15,-14 0-15,27-14 16,-27 14-16</inkml:trace>
  <inkml:trace contextRef="#ctx0" brushRef="#br0" timeOffset="-211057.32">3228 1389 0,'53'13'16,"13"67"-1,-13-1 1,-40-52-16,14 25 16,-27-25-16,13 65 15,-26-52 1,-14 0-16,14 0 15,0-14 1,-1-26-16,1 13 0,0-13 16</inkml:trace>
  <inkml:trace contextRef="#ctx0" brushRef="#br0" timeOffset="-210762.93">3757 1680 0,'79'-13'16,"-52"26"-16,26-13 15,-40 0-15,14 13 16,-14 1 0</inkml:trace>
  <inkml:trace contextRef="#ctx0" brushRef="#br0" timeOffset="-210577.98">3797 1852 0,'-13'0'16,"145"0"31,-106 0-47,40-13 15,-26 0 1</inkml:trace>
  <inkml:trace contextRef="#ctx0" brushRef="#br0" timeOffset="-210086.2">4538 1561 0,'-14'-13'16,"-12"53"0,-1 12-1,-647 160-15,1348-410 0,-674 211 16,0 27-16,0-27 0,14 26 16,-14-25-16,13-1 0,13 13 15,-12-26-15,12 14 16,14-14-16,-14 0 15,-13-14-15,14 1 16,-14-13 0,-13-27-1,-13 0-15,-14 13 16,27 27 0,-13 0-16,0 0 0,-66-14 0,145 40 15,-79-13 1,-14 14-16</inkml:trace>
  <inkml:trace contextRef="#ctx0" brushRef="#br0" timeOffset="-209856.12">4948 1720 0</inkml:trace>
  <inkml:trace contextRef="#ctx0" brushRef="#br0" timeOffset="-209278.31">5398 1574 0,'39'-13'15,"-26"13"1,-39 13 0,-14 1-16,-13-1 15,27 0 1,13-13-16,-1 0 15,1 0-15,0 13 0,0 0 16,26-13 15,0 14-31,0-1 0,1-13 16,12 13-16,1 14 16,-14-14-16,13 0 15,-26 0-15,27 14 16,-40-14-1,13 0-15,-14-13 16,-39 27-16,14-14 16,-41 0-16,14 0 15,40 1-15,-40-14 16</inkml:trace>
  <inkml:trace contextRef="#ctx0" brushRef="#br0" timeOffset="-206568.45">2686 2262 0,'0'80'16,"-14"-67"-16,14 13 0,0-13 16,0 1-16,0 12 0,-13-13 15,13 14-15,0-14 0,0 0 16,0 1-16,0-1 0,-13 13 15,13-13 1</inkml:trace>
  <inkml:trace contextRef="#ctx0" brushRef="#br0" timeOffset="-206201.34">2646 2262 0,'79'-13'15,"-52"13"-15,-14 13 16,0 0-16,0-13 0,14 27 16,-14-14-16,-13 0 15,0 1-15,13-14 0,-26 13 0,13 0 16,0 0-16,-13-13 0,13 13 16,-40 14-16,27-14 15,0-13-15,-1 0 0,1 13 16,0-13-1,0 0-15</inkml:trace>
  <inkml:trace contextRef="#ctx0" brushRef="#br0" timeOffset="-205661.14">3016 2249 0,'-39'66'16,"39"-53"-16,-14 27 0,14-27 0,-13 14 0,13 12 15,0-12-15,0-1 16,0-12-16,0-1 0,13 0 15,-13 0-15,27 27 16,-14-27-16,0-13 16,0 0-16,1 0 0,-1 0 15,13 0-15,-12 0 0</inkml:trace>
  <inkml:trace contextRef="#ctx0" brushRef="#br0" timeOffset="-204390.1">3082 2368 0,'0'-13'16,"0"0"-16,14 13 16,-1 0-1,27 13 1,-27-13-16,0 13 15,-13 0-15,0 0 16,0 1-16,0-1 0,0 0 16,-13 0-16,-14 14 0,14-14 0,0 0 15,0-13-15,-1 14 0,-12-1 16,13 0-16,-1-13 16,14 13-16,-13-13 15,26 13 16,14-13-31,-14 0 16,0 0-16,1 0 16,-1 0-16,13 0 0,-12 0 0,-1-13 15,0 13-15,0 0 0,0 0 16,14 0-16</inkml:trace>
  <inkml:trace contextRef="#ctx0" brushRef="#br0" timeOffset="-204122.01">3373 2368 0,'14'26'31,"-14"-12"-15,0-1-16,0 0 16,0 14-16,-14-14 0,14 13 15,-13-12-15,13 12 16,-13-13-16,13 0 16</inkml:trace>
  <inkml:trace contextRef="#ctx0" brushRef="#br0" timeOffset="-203893.24">3559 2355 0,'0'-13'16,"0"65"15,0-38-16,0-1-15,0 13 16,0-12-16,0-1 0,0 13 16,-14-12-1,14-1-15,14-185 0,-28 357 16,14-172-16</inkml:trace>
  <inkml:trace contextRef="#ctx0" brushRef="#br0" timeOffset="-203624.99">3360 2514 0,'40'0'16,"-27"0"-1,0 0-15,1 0 16,-1 0-16,0 0 0,0 0 16,14 0-16,-14 0 15,0 0 1,-185 0-16,357 0 16,-171 0-16</inkml:trace>
  <inkml:trace contextRef="#ctx0" brushRef="#br0" timeOffset="-202921.79">3744 2249 0,'0'26'15,"0"14"1,0 0-16,0-1 16,-13-25-16,13 12 15,0-13-15,0 14 0,0-14 0,0 14 16,0-14-16,0 0 16,0 0-16,0 0 0,0 1 15,-14-1 1,28-40 31,-1 27-47,-13-13 15,13 13-15</inkml:trace>
  <inkml:trace contextRef="#ctx0" brushRef="#br0" timeOffset="-202182.2">3969 2328 0,'0'27'16,"0"-14"-1,0 13 1,0 1 0,0-14-16,-13 0 15,13 1-15,0-1 16,0 0-16,0 0 15,0 1 1</inkml:trace>
  <inkml:trace contextRef="#ctx0" brushRef="#br0" timeOffset="-201849.42">4194 2355 0,'13'0'31,"-13"26"-16,0-13 1,-13 40 0,13-26-1,0-14 1,0 14 0,-14-14 15</inkml:trace>
  <inkml:trace contextRef="#ctx0" brushRef="#br0" timeOffset="-201534.43">3982 2461 0,'-13'0'0,"39"0"31,-13 0-31,1 0 16,-1 0-16,0 13 0,0-13 15,1 0-15,-1 0 16,0 0-16,40 0 16,-40 0-16,0 0 15,1-13-15</inkml:trace>
  <inkml:trace contextRef="#ctx0" brushRef="#br0" timeOffset="-201106.38">4299 2222 0,'27'40'16,"-14"-40"-16,14 27 0,-14 12 15,0-25-15,0 12 0,1-13 16,-1 27-16,0-14 16,-13 1-16,-13-1 15,13-12-15,0-1 0,-13 13 16,-14 1-16,14-14 0,0 0 16,13 0-16,-27 1 0,27-1 15</inkml:trace>
  <inkml:trace contextRef="#ctx0" brushRef="#br0" timeOffset="-200771.28">4855 2421 0,'0'-13'0,"13"13"15,1 0-15,-1 0 16,0 0-16,0 0 16,14 0-16,-14 0 15,0-14-15,-13 28 0,27-14 16</inkml:trace>
  <inkml:trace contextRef="#ctx0" brushRef="#br0" timeOffset="-200585.36">4842 2527 0,'0'13'15,"13"-26"1,-13 26-16,-13-26 0,39 26 0,-12-13 16,-1 0-1,13 0-15,-13 0 0,-13 13 16,14-13-16,-1 0 0,0 0 15,0-13-15</inkml:trace>
  <inkml:trace contextRef="#ctx0" brushRef="#br0" timeOffset="-158836.16">3810 9340 0,'0'238'266</inkml:trace>
  <inkml:trace contextRef="#ctx0" brushRef="#br0" timeOffset="-158742.33">3651 9327 0,'-53'198'281</inkml:trace>
  <inkml:trace contextRef="#ctx0" brushRef="#br0" timeOffset="-158218.17">3784 9353 0,'211'-145'204,"-343"277"-158</inkml:trace>
  <inkml:trace contextRef="#ctx0" brushRef="#br0" timeOffset="-157591.12">3850 9274 0,'-66'53'16,"39"26"-1,40 0-15,1-52 16,25 65 0,54-25-1,-14-41-15,-66-26 16,133-40 0,-40-66 15,-93 80-31,0-40 15,-13 39-15,-13-39 16,-40 0 0,13 53-16,-26-14 15,-13 27-15,-40 0 32,92 14-32,14-14 15,-13 26 1,26-13-16,13 1 15</inkml:trace>
  <inkml:trace contextRef="#ctx0" brushRef="#br0" timeOffset="-157351.66">4630 9379 0,'-39'14'47</inkml:trace>
  <inkml:trace contextRef="#ctx0" brushRef="#br0" timeOffset="-156967.42">4710 9075 0,'13'-26'15,"79"52"1,-78-13-16,-1 146 31,-13-132-31,-13 12 16,13 1-1,0-27-15,-14 14 16,28-14-16,-1-13 16,13-13-1,14-1 1,0-12 0,-358 52-16,675-78 0,-343 52 15,12-14-15,1-12 16,-14 26-1</inkml:trace>
  <inkml:trace contextRef="#ctx0" brushRef="#br0" timeOffset="-156556.14">5252 8943 0,'-26'0'0,"-80"79"31,132-52-16,-13-14-15,54 13 16,-28-12-16,1-1 16,0 0-1,-14 14 1,-26-1 0,-40 14-16,14-40 15,13 26-15,-27-13 16,0 14-16,14-14 0,-1 0 15,14-13 1,0 0-16</inkml:trace>
  <inkml:trace contextRef="#ctx0" brushRef="#br0" timeOffset="-151270.39">5345 7567 0,'13'13'16,"-13"1"-16,0-1 0,0 0 15,0 0-15,0 0 0,0 1 0,0-1 16,0 40 0,0-40-16,0 0 0,0 1 0,0-1 0,0 0 15,0 0-15,0 0 16,0 1-16</inkml:trace>
  <inkml:trace contextRef="#ctx0" brushRef="#br0" timeOffset="-151029.8">5212 7752 0,'40'-26'31,"-27"26"-31,0 0 0,1-13 16,-1 13-16,27-14 0,-27 14 16,0-13-16,0 13 0,14-13 15,-1 13 1,-13-13-16</inkml:trace>
  <inkml:trace contextRef="#ctx0" brushRef="#br0" timeOffset="-150716.48">5821 7435 0,'13'26'32,"0"1"-32,-13-14 0,14 27 15,-1-27-15,-13 27 16,13-27-16,-13 0 0,13 0 16,-13 27-16,0-27 15,13-13-15,-13 13 0,0 14 16,14-14-16</inkml:trace>
  <inkml:trace contextRef="#ctx0" brushRef="#br0" timeOffset="-150307.27">5728 7435 0,'0'-27'15,"13"14"-15,1 13 16,-1 0-16,13-13 0,-12 26 16,12-13-16,27 27 15,-27-27-15,1 26 16,-27-13-16,13 14 0,0 12 16,-26-25-1,0 12-15,-14 14 16,1-14-1,13-13-15,0-13 16,-1 14-16</inkml:trace>
  <inkml:trace contextRef="#ctx0" brushRef="#br0" timeOffset="-149589.14">6125 7236 0,'-26'106'16,"26"-53"-16,0 0 16,13-27-16,-13 27 0,13-39 15,0 12-15,1 1 16,-1-14-16,13 13 0,-13-13 16,1-13-16,12 0 15,1 0-15,-14 0 16,0-13-16,0 13 15,1-13-15</inkml:trace>
  <inkml:trace contextRef="#ctx0" brushRef="#br0" timeOffset="-149022.37">6350 7342 0,'53'13'15,"-53"1"-15,-13 12 16,13-13-16,-14 1 16,14-1-16,-13-13 15,13 13-15,13 0 16,14-13 0,-1 13-1,-12-13-15,-1 14 16,0-14-16,-13 13 15,-13 0 1,13 0-16,-13 1 16,-1-14-16,-12 13 15,13 0-15,-1-13 0,14 13 16,-13-13-16</inkml:trace>
  <inkml:trace contextRef="#ctx0" brushRef="#br0" timeOffset="-148710.29">6522 7316 0,'13'0'16,"-13"26"-1,13-13-15,-13 1 16,0-1-16,14 0 0,-14 14 16,0-14-16,0 0 0,0 13 15,0 1-15,-14-27 16,28 13-16,-14 0 15</inkml:trace>
  <inkml:trace contextRef="#ctx0" brushRef="#br0" timeOffset="-148487.52">6654 7276 0,'0'-13'16,"14"39"15,-1-13-31,-13 1 0,0-1 16,13 0-16,-13 0 15,-40-92-15,93 185 0,-53-93 16,13 0-16,-13 1 16,14-1-16,-14 0 15</inkml:trace>
  <inkml:trace contextRef="#ctx0" brushRef="#br0" timeOffset="-148276.52">6548 7461 0,'27'-26'16,"-14"26"-16,14-27 16,-1 27-1,-13-13-15,1 0 16</inkml:trace>
  <inkml:trace contextRef="#ctx0" brushRef="#br0" timeOffset="-147934.61">6773 7038 0,'14'66'15,"-14"-53"-15,13 1 0,0 12 16,0 40-16,14-13 16,-27-13-16,13-14 0,0 14 15,0-27-15,1 40 16,-14-40-1,0 0-15,13 1 0,0-1 16</inkml:trace>
  <inkml:trace contextRef="#ctx0" brushRef="#br0" timeOffset="-147069.16">7011 7210 0,'-13'-13'0,"26"-1"16,14 28 0,-1-14-16,1 13 15,-27 0-15,13 0 16,-13 1-1,0-1-15,-13 0 0,13 0 0,-13 0 16,-1 14-16,1-14 16,13 0-16,-13-13 15,13 14-15,13-14 47,14 0-47,-14-14 0,0 14 16,0 0-16,1-13 0,-1 13 0,13-13 15,-13 13 1,1-13-16,-1 13 0</inkml:trace>
  <inkml:trace contextRef="#ctx0" brushRef="#br0" timeOffset="-146842.36">7289 7117 0,'13'14'31,"-13"-1"-31,14 0 16,-14 0-16,0 0 0,13 1 15,-13-1-15,0 0 16,13 0-16,-13 1 15</inkml:trace>
  <inkml:trace contextRef="#ctx0" brushRef="#br0" timeOffset="-146633.28">7435 7104 0,'0'-13'0,"0"26"16,13 0 15,-13 1-15,13-1-16,-13 0 15,0 0-15,13 0 0,-13 1 16,14-1-16,-14 0 0,0 0 16,13-13-16</inkml:trace>
  <inkml:trace contextRef="#ctx0" brushRef="#br0" timeOffset="-146451.39">7250 7223 0,'52'-13'0,"-38"13"0,12-13 0,14-1 15,-14 1 1,-12 13-16</inkml:trace>
  <inkml:trace contextRef="#ctx0" brushRef="#br0" timeOffset="-146124.42">7408 6773 0,'146'119'0,"-67"-26"15,-52-67-15,-14 14 16,27 26-16,-27 27 16,-13-67-1,0 14-15,-27 26 0,-12 14 16,25-54-16,-12 14 16,0-14-16,-14 1 0,-26 26 15</inkml:trace>
  <inkml:trace contextRef="#ctx0" brushRef="#br0" timeOffset="-127166.58">6469 7580 0,'-66'-106'188,"66"80"-188,0 13 0,-27 52 78,41-12-62,-14-14-16,0 0 15,13-13 1,-13-13-16,0 0 16,0-14-16,0 14 15,0 0-15,0 0 16,-13 13-16,13-13 0,0 39 47,13 0-32,-13-12-15,0-1 0,0 0 16,0 0-16,13-39 31,-26-14-15,13 27-1,0 0-15,0 0 0,0-1 16,0 1-16,-13 40 31,13-14-31,0 0 16,0 0 0,0 0-16,0 1 15,0-41 16,0 14-31,0 0 16,0 0-16,-14-1 0,14 1 0,0-13 16,0 12-1,0 54 17,0-27-17,0 1-15,0-1 16,0 0-1,-13-39 32,0 26-31,13 13 15,0 0-15,0 0-16,0 0 15,0 1-15,0-1 0,0 0 16,13 0-16,-13 1 0,13-1 16,1 0-1</inkml:trace>
  <inkml:trace contextRef="#ctx0" brushRef="#br0" timeOffset="-127016.89">6443 7514 0,'-14'-13'16,"1"26"-16,0-13 16,53 0-16,-93 13 15,39 1 1,14-1 0</inkml:trace>
  <inkml:trace contextRef="#ctx0" brushRef="#br0" timeOffset="-124583.31">6363 7369 0,'-13'-14'16,"0"14"0,13 14 31,0 25-16,0 1-31,0-27 0,0 0 15,13 1 1,0-41 0,-13 1-1,0-1 1,0 14 0,-13 0-16,13 0 15,-13 13-15,-14 0 31</inkml:trace>
  <inkml:trace contextRef="#ctx0" brushRef="#br0" timeOffset="-122301.41">5768 8705 0,'26'66'0,"-26"-40"15,14 1-15,-14-14 16,13 14-16,0 12 0,0 14 15,-13-40-15,14 1 16,-14-1-16,13-13 16,-13 13-16</inkml:trace>
  <inkml:trace contextRef="#ctx0" brushRef="#br0" timeOffset="-122083.12">5662 8983 0,'13'-40'16,"1"40"-16,12-13 0,-13-1 16,0 1-16,1 13 0,-1-13 15,13 13-15,1-13 0,-14 0 0,0-1 16,40 1-1,-40 0-15,1 13 0</inkml:trace>
  <inkml:trace contextRef="#ctx0" brushRef="#br0" timeOffset="-121578.5">6324 8559 0,'-27'13'16,"14"14"-16,13-1 15,-13 27 1,26-26-16,-13-14 0,13 27 16,-13-27-16,13 0 0,14 14 15,-1-14 1,1-13-16,-14 0 15,27-13-15,-27-1 16,0 14-16,-13-13 0,13 13 16,-13-26-16,0-1 15,-13 1 1,0-1-16,0 14 16,-1 0-16,1 0 0,0-1 0,0 14 15,-14-13-15,27 0 0,-13 13 16,0 0-16,0 0 0,-1 0 15,1 0-15,0 13 16</inkml:trace>
  <inkml:trace contextRef="#ctx0" brushRef="#br0" timeOffset="-121397.62">6562 8572 0,'13'-13'16,"-26"40"-1</inkml:trace>
  <inkml:trace contextRef="#ctx0" brushRef="#br0" timeOffset="-121116.68">6694 8440 0,'0'-13'0,"13"39"16,-13-12-16,27 25 16,-27-25-16,0 12 0,13-13 0,0 14 15,-13-1-15,13-13 16,-13 1-16,0-1 0,14 0 16,-14 0-16,13 1 15</inkml:trace>
  <inkml:trace contextRef="#ctx0" brushRef="#br0" timeOffset="-120691.36">6813 8440 0,'13'-13'16,"0"13"-16,1 0 15,39 13 17,-40 14-32,-26 12 15,13-25 1,0-1-16,-27 26 0,27-25 15,0-1-15,-13 0 0,0 0 16,13 1 0,0-1-16,13-13 31,13 0-31,-12-13 16,12 13-1,-13 0-15,1-14 0,-1 14 16,0-13-16,0 13 0,0-13 15,1 13-15,-14-13 0,13 13 16</inkml:trace>
  <inkml:trace contextRef="#ctx0" brushRef="#br0" timeOffset="-119603.68">7223 8334 0,'27'-13'16,"-54"26"15,14 1-15,0-1-16,-1 0 16,14 0-1,14-13 1,-1 0-16,0 14 15,0-14 1,1 0-16,-1 13 0,0-13 16,0 13-16,-13 0 15,0 0 1,-13 1-16,13-1 0,-13-13 16,0 13-16,-14 14 0,14-27 15,0 13-15,-1-13 0,1 13 16,0 0-16</inkml:trace>
  <inkml:trace contextRef="#ctx0" brushRef="#br0" timeOffset="-116621.39">2289 10372 0,'39'0'16,"14"-14"-1,-26 14-15,-1-13 16,14 13-16,39-26 0,27-1 16,-40 14-16,0 0 15,-13-14-15,13 14 0,1-13 0,12 12 16,66-25-16,-65 12 0,-1 14 15,1-13-15,-1 12 0,14-12 16,92-14-16,-13 1 16,-80 25-16,107-25 0,-107 12 15,-12 14-15,12 0 0,-12-1 16,12 1-16,80-26 0,-79 25 16,66-12-16,-67 13 15,-26-1-15,14 1 0,52 0 16,14-13-16,-93 12 15,13 1-15,0 0 0,-13 0 0,0-1 16,39-12-16,1 13 16,-1-14-16,-52 14 15,40-13-15,-54 12 16,40-12-16,-13-1 16,-26 14-16,25 0 0,-12-14 15,-13 14-15,-1 13 0,-13-13 16,14 0-16,-1 0 0,1-1 0,-14 1 15,13 0-15,1 13 0,-14-13 16,40-14-16,-27 14 0,-12 0 16,25 0-16,-12-1 0,-1 1 0,14-13 15,-14 12-15,-12 1 16,12 13-16,-13-13 0,14 0 16,-1-1-16,-13 1 0,14 0 0,-14 0 15,14-14-15,-14 14 0,26-13 16,-25 12-16,12 1 0,-13 0 15,1 0-15,25-27 0,-12 14 16,12-1-16,-25 14 16,-1 0-16,0-1 15,0-12-15,14 13 0,-14-1 16,14-12-16,-14 13 0,0 0 16,0-1-16,14-25 15,-14 12-15,0 1 16,0-14-16,-13 27 0,14-14 15,-14 14-15,0-13 0,0 12 16,-14-65 0,14 39-16,-13 27 15,13 0-15,0-14 0,-13 14 16,13 0-16,-13 0 0,13 0 0,-14-14 0,14 14 16,-13 0-16,0-1 0,0 1 15,-27-13-15,-13-1 16,13 14-16,14 0 0,-27 0 15,13 13-15,-39-14 0,39 14 16,14-13-16,-1 13 0,-39 0 16,0 0-16,13 0 15,27 0-15,-14 0 0,14 0 16,-1 13-16,-13-13 0,-39 14 16,39-14-16,-12 0 0,12 13 15,0-13-15,-13 0 0,14 0 16,-14 13-16,13-13 0,-13 0 0,13 13 15,-52-13-15,52 13 16,-66-13-16,66 14 0,-12-14 16,-1 13-16,-40 0 15,-26 14-15,0-1 0,53-13 16,0 14-16,-53-1 16,0 14-16,52-27 15,14 0-15,-79 27 0,13 13 16,53-40-16,0 14 15,0-1-15,0-13 0,-80 40 16,0-13-16,80-14 0,-13 1 16,0-1-16,-67 14 15,14 13-15,-14-13 16,80-14-16,0-13 0,13 14 16,-13-14-16,-40 27 15,53-27-15,13 0 0,-12 0 0,12 1 16,-53 12-16,14 1 15,26-14-15,13 0 0,14 0 16,-14 0-16,-39 1 0,52-1 16,-26 0-16,40 0 0,-13-13 15,-1 14-15,-12-1 16,-14 13-16,39-12 16,-25-1-16,12 0 15,14 0-15,-27 14 0,-26 12 16,26 14-1,14-40-15,-27 40 0,27-26 16,-1-1-16,14 1 0,-40 26 16,27-14-16,12-12 15,1-14-15,0 14 0,0-14 0,-1 13 16,-12 1-16,13 12 16,0-25-16,-1 12 15,1 14-15,13-27 16,0 0-16,0 14 0,-13-14 0,13 0 15,0 14-15,0-14 0,0 26 16,0 1-16,0-27 16,0 14-16,0-14 0,0 27 15,0-1-15,13-25 16,-13 12-16,13 1 16,-13-14-16,0 0 0,14 14 15,-1-27-15,-13 13 0,13 0 16,13 0-16,-12 0 15,-1-13-15,0 0 0,14 0 16,12 0-16,14-13 16,-40 13-16,14 0 0,-14-13 15,53 0 1,-39 13-16,-1 0 0,1-13 0,39-1 16,-27 14-16,1-13 15,0 0-15</inkml:trace>
  <inkml:trace contextRef="#ctx0" brushRef="#br0" timeOffset="-115281.45">6456 7818 0,'291'-66'0,"-238"53"16,13 0-16,-13 0 0,0-1 0,0 1 15,39 0-15,-52 0 0,0-1 16,-14 1-16,1 13 0,-1 0 16,-13-13-16,0 13 0,14-13 15</inkml:trace>
  <inkml:trace contextRef="#ctx0" brushRef="#br0" timeOffset="-114737.89">3651 7832 0,'0'-40'16,"13"27"-16,14 0 0,-1-14 16,80-26-16,-53 13 15,0 14-15,79-40 0,-65 26 16,91-26-16,-78 40 0,-1-1 16,-13 1-16,14 12 0,-14-12 15,13-1-15</inkml:trace>
  <inkml:trace contextRef="#ctx0" brushRef="#br0" timeOffset="-114322.66">6125 6985 0,'199'-26'0,"-160"12"0,80-12 15,-53 13-15,-13 13 16,119-40-16,-79 27 15,-53 13-15,13-14 0,-27 14 16,0-13-16</inkml:trace>
  <inkml:trace contextRef="#ctx0" brushRef="#br0" timeOffset="-111526.42">12753 13018 0,'0'-27'0,"-13"14"15,-1 0-15,1-1 16,0 14-16,0-13 16,-14 0-16,1 13 0,-14-13 0,-39-14 15,39 14-15,-53 0 16,41 0-16,-1 13 0,-66 0 16,52 0-16,-12 13 0,0-13 15,-146 53-15,145-40 16,1 13-16,0 1 0,-67 26 15,80-14-15,-53 41 16,66-41-16,13 14 0,1-13 16,-1 13-16,0-13 0,27 13 15,-13 39-15,12-52 0,14 0 16,14-1-16,-1 1 0,13 13 16,14-13-16,13-1 0,0 1 0,13 0 15,27-1-15,105 27 0,-119-39 16,14-14-16,-14 0 0,14 1 15,-14-14-15,93 0 0,-106-14 16,80-25-16,-80 12 0,0 1 16,-13-1-16,13-12 0,27-28 15,-67 28-15,14-1 0,-13-13 16,-1 13-16,-13 1 16,0-14-16,-13 13 0,0-52 0,0 52 15,-13-13-15,0 13 0,-27-39 16,-13 26-1,14 27-15,12-1 0,-12 14 0,-41-27 16,40 27-16,1 0 0,-1 13 16,0-13-16,14 13 0,13 0 15,-27 0-15,40-14 16</inkml:trace>
  <inkml:trace contextRef="#ctx0" brushRef="#br0" timeOffset="-110765.72">15822 12859 0,'-79'-93'0,"-40"53"16,39 14-1,27 13-15,0 0 16,1 13-16,-1 0 0,0 0 0,-80 0 16,1 13-16,66 13 15,-66 14-15,26 13 16,0 26-16,27 1 16,39-27-16,0-1 15,14-12-15,-1 13 0,1 0 16,13 0-16,-1 53 0,41 52 15,26-52 1,-14-53-16,1 0 0,13-13 16,66 66-16,-53-53 0,0-14 15,93 54-15,-79-53 0,12 12 16,-12-12-16,12 0 0,-12-14 16</inkml:trace>
  <inkml:trace contextRef="#ctx0" brushRef="#br0" timeOffset="-110257.52">15386 14274 0,'2328'-344'31,"-2236"265"-31,-65 39 0,13 1 16,-14-1-16,14 0 0,-14 0 15,-13 1-15,14-1 0,-14 0 16,0 1-16,1-1 0,-1 0 0,0-13 15,-13 14-15,-13-1 0,0-53 16,-14 54-16,1-14 0,-1 13 16,-52-52-16,39 52 15,-13 0-15,-39-26 0,25 26 0,15 14 16,-68-27-16,1 0 16,53 40-16,0-14 0,13 14 15,-119-40 1,119 40-16,0 0 0,1 0 15,-107-1-15,53 14 16,0 0-16,53 14 16,-13-14-16,0 13 0,0 0 15,0-13-15,-1 13 0,15 0 0,-1 1 16,13-1-16,-119 27 16,119-27-16,1-13 0,-1 13 15,0 0-15,14 1 0,-53 12 16,-27 14-16,66-27 15,0 0-15,14-13 16,-27 27-16,40-27 0,-27 26 16,14-13-16,12 1 15,28 12-15,-1-13 16,0 0-16,14 1 0,12-1 16</inkml:trace>
  <inkml:trace contextRef="#ctx0" brushRef="#br0" timeOffset="-109360.66">18124 13375 0,'40'0'16,"-27"0"-16,0 0 0,0 0 15,1 0-15,-1-14 16,0 14-16,0-13 0,0 0 15,1 0-15,-14 0 0,13-14 16,0 14-16,-13-14 0,13 1 16,-13-1-16,0 1 0,14-14 15,-14-39-15,0 39 16,0 1-16,0-1 0,0-13 0,13 13 16,-13-39-16,0 39 15,0 1-15,0-14 0,13 26 0,-13 1 16,0-1-16,0 14 15,0-27-15,0 14 0,0 13 16,0-1-16,0-12 0,0 13 16,0-1-1,-13 14-15,13-13 16,-13 13-16,-1 13 16,1-13-1,0 14-15</inkml:trace>
  <inkml:trace contextRef="#ctx0" brushRef="#br0" timeOffset="-109009.33">18336 12409 0,'-119'66'15,"79"-39"-15,-13 12 16,13-12-16,27-1 16,-27 1-1,40-14 1,-13-13-16,26-27 31,1 14-31,-1 13 16,0-13-16,0 0 0,14 13 15,12-14 1,-25 1-16,12 13 0,-13 0 16,53 0-16,-52 13 15,52-13-15,-40 0 0,1 14 16,-1-14-16,93 13 16</inkml:trace>
  <inkml:trace contextRef="#ctx0" brushRef="#br0" timeOffset="-107234.64">8030 6641 0,'-13'27'16,"13"-1"-1,0-13-15,13 14 0,-13-1 16,0-13-16,0 14 0,13-14 0,-13 13 0,0 14 16,14-27-1,-14 27-15,0-27 0,0 1 16</inkml:trace>
  <inkml:trace contextRef="#ctx0" brushRef="#br0" timeOffset="-107051.39">7805 6919 0,'13'-13'16,"1"13"-16,-1 0 0,13-14 0,27-12 15,27 13-15,-41-1 16,-12 1-16,52-13 16,-39 13-16,-14-14 0,14 14 15</inkml:trace>
  <inkml:trace contextRef="#ctx0" brushRef="#br0" timeOffset="-105895.99">8612 6641 0,'-40'93'16,"54"-67"-16,-14-13 15,13 14-15,0-14 0,-13 0 16,13 0-16,1 1 0,-1-14 0,0 13 16,14-13-16,-14 0 0,13 0 15,1-13-15,-14 13 16,-13-14-16,13 14 0,-13-13 0,13-13 16,-13 13-1,0-1-15,0 1 0,-13 0 0,13 0 0,-26-27 16,-14 14-16,27 12 15,0 1-15,-14 0 16,14 13-16,-27-13 0,27 13 16,-27 13-16,27-13 0,-13 13 15,12 0-15,1 1 0,0-1 16,0 0-16,13 0 0</inkml:trace>
  <inkml:trace contextRef="#ctx0" brushRef="#br0" timeOffset="-105737.75">8930 6707 0,'-27'-13'16,"14"26"15</inkml:trace>
  <inkml:trace contextRef="#ctx0" brushRef="#br0" timeOffset="-105379.47">9088 6615 0,'-66'13'16,"53"-13"-16,0 13 0,0 0 0,-1-13 15,14 14-15,-13-1 16,26 0 0,1 0-16,-1-13 15,0 13-15,0 1 0,1-14 16,-1 13-16,0 0 15,0 0-15,-13 1 0,0-1 16,0 0-16,-13 0 16,0 14-16,0-14 15,-1 0-15,-12 0 0,26 1 16,-27-1-16,14 0 16,0-13-16</inkml:trace>
  <inkml:trace contextRef="#ctx0" brushRef="#br0" timeOffset="-105169.64">9313 6562 0,'14'26'31,"-14"1"-15,0-1-16,0-13 0,0 1 0,0 12 15,0 0-15,-27 27 16,27-26-16,0-14 0,0 0 16,-13 14-1</inkml:trace>
  <inkml:trace contextRef="#ctx0" brushRef="#br0" timeOffset="-104994.43">9221 6747 0,'13'-13'16,"53"-159"-1,-53 172-15,-79 172 0,79-159 0,1-13 16,-1 0-16,0 0 0,0 0 0,1 13 16,-1-13-1,0 0-15,0 0 0</inkml:trace>
  <inkml:trace contextRef="#ctx0" brushRef="#br0" timeOffset="-104662.31">9604 6509 0,'-13'0'15,"0"13"1,0-13-16,13 26 0,0 1 15,0-1 1,0-12-16,13 12 16,0 1-16,0-27 15,-396 92-15,793-158 0,-820 119 0,833-106 0,-410 53 16,1 0-16,-1 0 0,0 0 16,0 0-16,0-13 15,-13 0-15,0-1 16,0 1-16,-13 0 15,-93-106-15,199 225 0,-93-120 16,-13 1-16,0 13 16,13-13-1,-14 26-15</inkml:trace>
  <inkml:trace contextRef="#ctx0" brushRef="#br0" timeOffset="-104494.6">9935 6575 0,'13'-13'0</inkml:trace>
  <inkml:trace contextRef="#ctx0" brushRef="#br0" timeOffset="-104119.14">10200 6456 0,'-27'13'31,"14"0"-31,0 1 16,13-1-16,0 0 31,0 0-31,26 0 16,-26 1-1,13-14-15,1 13 0,-14 0 16,13 0 0,-26 1-16,13-1 15,-14 0 1,1 0-16,0-13 16,0 14-16,0-14 0</inkml:trace>
  <inkml:trace contextRef="#ctx0" brushRef="#br0" timeOffset="-103878.41">10491 6443 0,'-13'39'16,"13"-25"-16,0 12 15,-14 14-15,1-1 16,0 1 0,0-27-16</inkml:trace>
  <inkml:trace contextRef="#ctx0" brushRef="#br0" timeOffset="-103697.7">10358 6588 0,'53'-13'31,"-26"26"-31,-14-13 16,14 13-16,-14-13 15,0 0-15,0 0 16,14 0-16</inkml:trace>
  <inkml:trace contextRef="#ctx0" brushRef="#br0" timeOffset="-103365.27">10769 6416 0,'-14'0'16,"-12"53"15,-345 66-31,755-211 0,-384 105 16,40 13 0,-27-26-16,0 0 15,0 0-15,1 0 16,12 0-16,-13 0 15,-13-13-15,0 0 16,0 0-16,0-14 16,-13 14-16,0-14 15,0 1-15,-1 13 16,1-1-16,0 14 16,0 14-1,0 12-15,13-52 0</inkml:trace>
  <inkml:trace contextRef="#ctx0" brushRef="#br0" timeOffset="-103189.52">11060 6443 0,'13'-14'16</inkml:trace>
  <inkml:trace contextRef="#ctx0" brushRef="#br0" timeOffset="-102870.54">11232 6350 0,'-27'0'31,"40"53"16,1-53-47,-14 13 16,26 0-16,-13 1 15,0 12 1,-13-13-16,0 1 16,-13-1-16,-13 13 15,13-13-15,-1 1 16,1-14-16,0 13 16,-14 0-16,14-13 15</inkml:trace>
  <inkml:trace contextRef="#ctx0" brushRef="#br0" timeOffset="-102570.53">11589 6297 0,'0'40'16,"0"-14"-16,0 1 15,-13 12 1,-1 1-16,1-13 15,13-14-15,0 13 16,-317-211-16,621 370 0</inkml:trace>
  <inkml:trace contextRef="#ctx0" brushRef="#br0" timeOffset="-102349.59">11470 6429 0,'79'14'63,"-52"-14"-63,-1 13 16,-13-13-16,14 0 0,-1 0 15,-13 0 1</inkml:trace>
  <inkml:trace contextRef="#ctx0" brushRef="#br0" timeOffset="-101798.65">11867 6218 0,'-53'106'15,"53"-80"-15,53 27 16,-53-238-16,26 383 16,0-185-16,-12-13 15,12-13-15,-13 13 16,1 0-16,-1-13 0,0 0 16,-13-14-16,0 1 15,-13 26-15,13-27 16,-13 1-16,-1 13 15,1 13 1,0-14-16,0 14 16,-1 0-16</inkml:trace>
  <inkml:trace contextRef="#ctx0" brushRef="#br0" timeOffset="-101592.5">12158 6244 0</inkml:trace>
  <inkml:trace contextRef="#ctx0" brushRef="#br0" timeOffset="-101231.8">12462 6152 0,'-53'0'16,"26"26"15,41 0-16,-1-12 1,0-1-16,0 0 0,-13 0 16,14 1-1,-14-1-15,-14 13 16,14-12-16,-13-14 16,-13 26-16,-1-13 15,14-13-15,-185-119 0,356 251 16</inkml:trace>
</inkml:ink>
</file>

<file path=ppt/ink/ink19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5:17:13.011"/>
    </inkml:context>
    <inkml:brush xml:id="br0">
      <inkml:brushProperty name="width" value="0.05292" units="cm"/>
      <inkml:brushProperty name="height" value="0.05292" units="cm"/>
      <inkml:brushProperty name="color" value="#0070C0"/>
    </inkml:brush>
  </inkml:definitions>
  <inkml:trace contextRef="#ctx0" brushRef="#br0">13004 7064 0,'53'14'15,"-13"-14"-15,0 13 16,26 0-16,0-13 0,13 13 16,-13 1-16,14-14 0,92 13 0,-93 0 15,0-13-15,1 0 0,65 13 16,-65-13-16,-27-13 0,26 13 16,-26 0-16,13-13 0,-13 0 0,53-14 15,-66 14-15,-1 0 16,14-14-16,-13-13 0,13 14 0,79-93 15,-92 79-15,26-66 16,-40 54-16,1-1 16,-1 0-16,-13 0 0,-13 0 0,-13-66 15,0 66-15,0-13 16,-14 0-16,1-1 0,-27-12 0,0 13 16,0-13-16,-13 12 0,0 1 0,0 13 15,-14-13-15,1 13 0,0 0 0,-1 0 16,-12 14-16,-1-14 0,0 26 15,14 1-15,0-1 0,-1 14 16,-12 0-16,-14 0 0,13 13 0,-13 13 0,-13 0 16,0 0-16,0 27 0,0 0 15,13 0-15,-13 12 0,13 15 16,-92 65-16,26 27 16,93-67-16,12-12 0,15-1 0,-1 14 15,26-41-15,1 15 0,-1 65 16,54 27-1,-1-93-15,14-26 0,0 12 0,-1-12 16,14 0-16,66 39 16,-39-52-16,78 26 0,-78-40 15,12 13-15,160 14 16</inkml:trace>
  <inkml:trace contextRef="#ctx0" brushRef="#br0" timeOffset="519.65">14922 7726 0,'0'-13'16,"-13"39"-1,13-13-15,0 1 0,0-1 16,0 13-16,0 14 15,0-27-15,0 14 0,0-14 16,0 0-16,0 14 0,0-14 16,0 0-16,0 0 0,13 14 15,-13-14 1</inkml:trace>
  <inkml:trace contextRef="#ctx0" brushRef="#br0" timeOffset="738.02">15094 7686 0,'0'-13'15,"-13"0"-15,13 39 32,0 1-17,0-14-15,0 13 0,0-12 0,0 12 16,0 14-16,13-1 15,-13 14-15,14-26 16,-14-14-16,0 0 0,13 0 0,-13 1 16,13-1-1,-13 0-15</inkml:trace>
  <inkml:trace contextRef="#ctx0" brushRef="#br0" timeOffset="973.99">14817 7977 0,'66'-26'16,"-13"13"-16,26-1 15,27 1 1,-80 0-16,27 13 0,-26 0 16,12 0-16</inkml:trace>
  <inkml:trace contextRef="#ctx0" brushRef="#br0" timeOffset="2498.6">14922 9088 0,'14'14'15,"-14"-1"-15,13-13 0,40 13 16,-40-13-16,40 0 16,-27-13-16,54 0 15,-14-27-15,-40 40 16,-12-13-16,12-27 0,1 14 15,-14 12-15,-13 1 16,0 0-16,13-14 16,-26 14-16,13 0 0,-13 13 15,-1 26 1,1-12-16,0 12 0,0 1 16,13 12-16,-27 54 0,14-40 15,-13 53-15,26-67 16,0 14-16,-14-13 0,14 0 15,0 26-15,14-13 0,-14-14 16,0-25-16,0-1 16,0 13-1,13-26-15</inkml:trace>
  <inkml:trace contextRef="#ctx0" brushRef="#br0" timeOffset="3618.63">16589 7726 0,'-26'0'16,"13"0"-16,13 13 0,0 0 15,0 1-15,0 25 16,13-26-16,0 14 15,0-1-15,14 1 0,13-14 16,-14 0-16,-13-13 0,27 14 16,-14-28-1,1 14-15,-1 0 0,1-26 16,-14-1-16,-13 14 0,0 0 16,-13-14-1,0 14-15,13-13 0,-27 13 0,14-14 0,0 14 16,-27-14-16,13 14 15,14 0-15,-13 13 16,13 0-16,-1 0 16,14 13-16,-13-13 0,13 27 0,0-14 15,0 0-15,0 0 0</inkml:trace>
  <inkml:trace contextRef="#ctx0" brushRef="#br0" timeOffset="3997.19">16841 9234 0,'26'66'16,"1"0"-16,-27-39 15,13 12-15,0 1 0,0-13 0,-13-1 16,14 40-16,-1-39 0,-13-1 16,13-13-16,-13 14 15,13-14-15,0 13 0</inkml:trace>
  <inkml:trace contextRef="#ctx0" brushRef="#br0" timeOffset="7738.74">7223 11906 0,'53'27'16,"-40"-27"-16,0-14 0,1 14 0,-1 0 16,0 0-16,27-13 15,-27 0-15,0 0 0,14 0 16,-14-1-16,0 1 0,0 0 0,1-14 16,-1 14-16,0-26 0,0 12 15,1 1-15,-1-1 0,0-13 0,0 14 0,-13 0 16,14-27-16,-14 26 15,0 1-15,0-1 0,-14 1 16,14 13-16,0-14 0,-13 1 0,0 12 16,0 1-16,-1 0 0,1 13 15,-27-13-15,27 13 0,-13 0 16,-1 0-16,1 0 0,-1 13 16,-12-13-16,12 13 0,1 0 0,-14 1 15,27-1-15,-14 0 0,14 0 0,0 1 16,0 12-16,-14-13 0,14 0 0,13 1 15,-13-1-15,13 13 0,0-12 16,0-1-16,0 0 16,13 14-16,14-1 0,-14-13 0,13-13 15,1 13-15</inkml:trace>
  <inkml:trace contextRef="#ctx0" brushRef="#br0" timeOffset="8277.85">7938 11218 0,'-67'27'16,"54"-14"-16,0 0 0,0 14 16,-1-1-16,1 1 0,0-1 0,-13 53 15,26-39-15,-14 0 16,14 0-16,0-1 0,14 1 15,-14 0-15,13-1 0,0 1 0,0 0 16,0-14-16,27 27 0,13-27 16,-26-12-16,-1-1 15,14-13-15,-14 0 0,1 0 16,-1-13-16,0-14 0,1 14 0,-1-13 16,1-1-16,-1-13 15,-12 1-15,-1 12 0,0-12 0,-13-14 0,13 13 16,-26 0-16,13 1 0,-13-14 0,0 13 15,-27-26 1,0 13-16,14 26 0,-1 14 16,1-13-16,-1 13 0,14 13 0,-13-14 15,-1 14-15,14 0 16,13 14-16,-13-14 0,26 26 16,0-13-1</inkml:trace>
  <inkml:trace contextRef="#ctx0" brushRef="#br0" timeOffset="9009.48">9684 11364 0,'-13'-27'16,"26"54"15,0 13-15,-13-27-16,-13 13 0,13-13 15,0 14-15,0-14 0,-13 0 0,13 14 16,0-14-16,-14 0 0,14 1 16,0-1-16,0 0 15,0 0 1,14-13 0,-1 0-16,-13 13 0,13 1 15,0-1-15,0 0 0,1 14 0,-14-14 16,13 13-16,0-12 0,-13 12 0,13 0 15,1-12-15,-14-1 0,13 13 16,-13-12-16,13-1 0,-13 0 0,13 0 16,0 0-16,1-13 0,-1 14 15,0-14-15,0-14 16,14 14-16,-1-13 0,1 0 0</inkml:trace>
  <inkml:trace contextRef="#ctx0" brushRef="#br0" timeOffset="9327.33">10200 11430 0,'-14'0'15,"28"40"-15,-14-27 16,0 13-16,0-12 0,0 39 16,0-14-16,0-12 0,0-14 15,13 13-15,-13-12 0,0-1 0,13 13 16,0-26-1,1 0 1</inkml:trace>
  <inkml:trace contextRef="#ctx0" brushRef="#br0" timeOffset="9525.85">10385 11456 0,'0'-39'0,"0"52"46,0 0-46,13 0 0,-13 14 16,0-14-16,0 14 0,0-14 0,13 13 16,-13-12-16,0 12 0,14 14 15,-14-14 1,0-13-16,0 1 0,13-14 0,-13 13 0</inkml:trace>
  <inkml:trace contextRef="#ctx0" brushRef="#br0" timeOffset="9708.94">10226 11628 0,'-26'0'0,"52"-13"31,54 0-15,-54 13-16,0 0 0,1 0 0,-1-13 15,41 13-15,-54 0 16,13 0-16,1 0 0</inkml:trace>
  <inkml:trace contextRef="#ctx0" brushRef="#br0" timeOffset="9970.04">10848 11576 0,'0'13'0,"0"0"0,13 0 16,-13 0-16,0 1 0,0-1 0,0 13 16,0-12-16,0 12 15,0 1-15,-13-1 0,0 14 16,13-14-16,-14-13 0,14 1 0,-13-1 15,13 0-15,0 0 0,-13-13 16</inkml:trace>
  <inkml:trace contextRef="#ctx0" brushRef="#br0" timeOffset="10424.86">11060 11430 0,'92'0'16,"-79"-13"-16,14 13 0,-1-13 16,-12 13-16,12-14 0,0 14 0,41-39 15,-67 25 1,13 1-16,0 13 0,-13-13 16,13 0-16,-13-1 15,-13 41 16,13-14-31,-13 27 16,13-14-16,-13 1 16,13-1-16,0 67 15,0-53-15,0-14 16,0-13-16,13 27 16,0-27-1,0-13-15,14-13 16</inkml:trace>
  <inkml:trace contextRef="#ctx0" brushRef="#br0" timeOffset="10840.59">11483 11112 0,'13'0'16,"0"0"-16,14 14 15,-14-1-15,-13 0 16,13 14-16,1-1 0,-14-13 0,0 14 16,0-1-16,0-13 0,0 14 15,0-14-15,0 14 0,0-14 16,0 13-16,13-26 0,-13 14 0,13-14 15,0 0-15,0 0 16,14 0-16,-14 0 0,0 0 16,1 0-16,-1 0 0,0 0 0,0 13 15,1 0-15,-1 0 0,0 14 16,0-14-16,-13 27 0,13-14 16,-13 14-16,0-1 0,-13 1 0,0-13 15,13 12-15,-13 1 0,-14-14 0,14 14 16,0-13-16,-14-14 0,14 13 15,-13-13-15,12 1 0,-12-14 16,13 13-16,0-13 0,-14-13 0,14 13 16</inkml:trace>
</inkml:ink>
</file>

<file path=ppt/ink/ink19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5:17:51.801"/>
    </inkml:context>
    <inkml:brush xml:id="br0">
      <inkml:brushProperty name="width" value="0.05292" units="cm"/>
      <inkml:brushProperty name="height" value="0.05292" units="cm"/>
      <inkml:brushProperty name="color" value="#0070C0"/>
    </inkml:brush>
  </inkml:definitions>
  <inkml:trace contextRef="#ctx0" brushRef="#br0">18878 1177 0,'-13'40'16,"13"-13"-16,-13-14 0,-1 26 0,1-12 0,-13 52 15,12-52-15,1 12 0,0-12 16,0-1-16,-1 1 16,1-1-16,0 1 0,0-1 0,0-13 15,13 1-15,-14-14 0,1 13 0</inkml:trace>
  <inkml:trace contextRef="#ctx0" brushRef="#br0" timeOffset="199.32">18415 1402 0,'40'-13'16,"-27"26"-16,0-13 15,0 14-15,14-1 0,-14 0 0,14 0 16,-1 0-16,14 27 0,-14-40 15,27 40 1,-40-27-16,14-13 0,-14 13 0,0-13 16,14 0-16,-14 14 0,27-14 15</inkml:trace>
  <inkml:trace contextRef="#ctx0" brushRef="#br0" timeOffset="368.45">19169 1442 0,'66'-53'15,"-53"53"-15,1 0 0,-1 0 0,0 0 16,0 0 0,1 0-16,-14 13 15,-14 1-15</inkml:trace>
  <inkml:trace contextRef="#ctx0" brushRef="#br0" timeOffset="496.36">19156 1521 0,'-13'14'16,"26"-28"-16,-40 41 0,54-27 31,-1-13-15,-12 13-16,-1 0 0,53-14 16,-40 1-16,1 13 0,26-13 15</inkml:trace>
  <inkml:trace contextRef="#ctx0" brushRef="#br0" timeOffset="840.74">19857 1098 0,'-13'13'31,"0"0"-31,13 40 0,-14-26 16,14-14-16,0 27 0,-13-14 15,13-13-15,0 1 16,0-1-16,0 0 0,0 0 16,0 1-16,0 12 15,13-13-15,-13 1 0,14-1 16,-14 0-16,13 0 0,0 0 15,0-13-15,0 14 0,1-1 0,-14 0 0,13 0 16,0-13-16,0 14 16,1-14-16,-1 0 0,0 13 0,13-13 15,1 0 1</inkml:trace>
  <inkml:trace contextRef="#ctx0" brushRef="#br0" timeOffset="1567.47">20214 1191 0,'0'13'16,"0"0"-1,0 0-15,0 1 0,13 12 16,-13 14 0,0-27-16,0 0 0,0 0 15</inkml:trace>
  <inkml:trace contextRef="#ctx0" brushRef="#br0" timeOffset="1762.05">20346 1416 0,'14'13'31,"-1"-13"-15,-13 13-16,13 0 0,-13 0 16,0 1-1,0-1 1,13 0-16</inkml:trace>
  <inkml:trace contextRef="#ctx0" brushRef="#br0" timeOffset="2195.21">20624 1257 0,'27'-13'15,"-14"26"1,-13 0-16,0 13 16,0-12-1,0-1-15,-13 0 0,13 0 0,0 1 0,0-1 16,0 0 0,0 0-16,0 1 15,13-14 1,0 13-16,0-13 15,1-13-15,12 13 16,-13-14-16,1 14 16,-1-13-1,0 13 1,0 0-16,0 0 16,-13 13-1,14-13-15,-14 14 16,0-1-16,13 0 0,-13 0 15,0 0-15,-13-13 0,13 14 0,0 12 16,0-13 0,0 1-16,-14-14 0</inkml:trace>
  <inkml:trace contextRef="#ctx0" brushRef="#br0" timeOffset="2505.13">21220 1177 0,'13'27'31,"-13"-14"-15,13 0-16,0 1 15,-13-1-15,0 0 0,13 0 0,-13 0 16,14 1-16,-14-1 16,0 0-16,-14 0 15,14 1-15,-13-1 16,13 0-16,-13-13 0,0 13 0,0 1 16,-1-14-16,1 0 15</inkml:trace>
  <inkml:trace contextRef="#ctx0" brushRef="#br0" timeOffset="2671.38">21365 1323 0,'13'13'0,"-13"0"16,0 14-1,0-14-15,-13 0 16,13 1-16,-13-14 0,13 13 0,0 0 15,-13 0-15,13 0 0,-14-13 0,14 14 16</inkml:trace>
  <inkml:trace contextRef="#ctx0" brushRef="#br0" timeOffset="3066.33">21815 1191 0,'-13'13'16,"-1"0"0,1 0-16,0 1 0,0-1 15,0 0-15,13 0 0,-14 0 16,1 1-16,0 12 16,13-13-16,0 1 15,0-1-15,26 0 16,-12 0-16,25-13 15,-26 0 1,1-13-16,-1 13 0,0 0 0,0-13 16,14-14-1</inkml:trace>
  <inkml:trace contextRef="#ctx0" brushRef="#br0" timeOffset="3246.63">21908 1124 0,'-40'67'16,"40"-41"-16,-13 40 16,-1-39-16,14-1 15,0 14-15,0-14 0,0-12 16,0 12-16,0-13 0,0 27 16,0-27-16</inkml:trace>
  <inkml:trace contextRef="#ctx0" brushRef="#br0" timeOffset="3426.64">22066 1402 0,'13'14'32,"-13"-1"-32,0 0 15,-13 13-15,13-12 16,0-1-16,-13 0 0,13 0 15,0 1-15,-13-1 0,13 0 16,0 0-16,-13-13 0</inkml:trace>
  <inkml:trace contextRef="#ctx0" brushRef="#br0" timeOffset="3730.42">22278 1204 0,'-27'-13'0,"27"26"32,14 27-17,-14-27-15,13 0 0,-13 0 16,0 14-16,13-14 0,-13 0 0,0 14 15,-13-1-15,13-13 16,0 1-16,-13-1 0,-1 0 0,1 0 16,-13 0-16,13 1 0,-1-1 0,1 0 15,0 0-15,0-13 0,-1 0 16,1 0-16,13 14 0</inkml:trace>
  <inkml:trace contextRef="#ctx0" brushRef="#br0" timeOffset="3898.71">22357 1402 0,'14'0'0,"-14"14"0,0-1 15,0 0-15,0 0 16,0 0-16,-14-13 16,14 14-16,-13 12 0,0-13 0,13 1 0,-13-1 15,-1 0-15,1 0 0,13 1 0,-13-1 16,26 13-1</inkml:trace>
  <inkml:trace contextRef="#ctx0" brushRef="#br0" timeOffset="4187.1">22860 1270 0,'-40'26'15,"27"-12"-15,0-1 0,0 13 16,13-12-16,-14-1 0,14 0 0,0 0 16,0 1-16,0 12 0,0-13 0,0 0 15,14 1-15,-1-1 16,-13 0-16,13 14 16,-26-41 30,-27 1-30,27 0-16,0 13 0,-1-13 16,-25-1-16,26 1 0</inkml:trace>
  <inkml:trace contextRef="#ctx0" brushRef="#br0" timeOffset="4580.76">23058 966 0,'27'13'0,"-27"0"16,13 0-16,-13 1 0,13 25 15,-13-25-15,0 12 0,0-13 16,0 14-16,0-14 0,0 0 15,0 0-15,0 1 0,14-1 0,-14 0 0,0 0 16,13 1-16,0-1 16,0 0-1,1 0-15,-14 0 0,13 1 0,13 52 16,-26-40 0,13 14-16,-13-14 0,0 14 15,0-13-15,0 12 0,0 41 16,-13-54-16,13 1 0,-53 52 15,27-53 1,-1-12-16,-12 12 0,12-13 0,-65 14 16,65-27-1,1 0-15,-1-13 0</inkml:trace>
  <inkml:trace contextRef="#ctx0" brushRef="#br0" timeOffset="6730.59">7554 3823 0,'13'40'16,"-13"-27"-16,40 0 16,-27-13-16,0 0 0,0 0 0,1 0 15,12 0-15,1 0 16,-1-13-16,1 13 0,12-13 0,1-14 0,53-25 15,-67 38 1,0-12-16,1 13 0,-1-14 16,-12 1-16,-1 12 0,0 1 0,0-26 15,14-28-15,-14 41 16,-13 13-16,13-40 16,-13 40-16,0-14 0,0 1 0,0 12 15,0-12-15,0 0 0,-13-1 0,13 14 16,-13-27-16,-1 27 0,-12-14 15,13 1-15,-40-40 16,40 53-16,-14-14 0,14 14 16,0 0-16,-14-1 0,14 1 15,-27 0-15,27 0 0,-13 0 16,-40-1 0,39 28-1,14-14-15,0 13 0,-14-13 0,14 13 16,0 0-16,-1 0 0,1 1 0,-13-1 15,13 0-15,-1 0 0,1 14 16,-13-1-16,-1 14 16,1-14-16,12 1 0,1-1 0,0 1 15,0-1-15,13 1 0,-13-1 0,13 1 16,0-1-16,-14 1 0,14-1 16,0 0-16,0 1 0,0-1 0,0 1 0,0-1 15,14 1-15,-14-1 16,0-13-16,13 14 0,-13-1 0,13 14 15,0-13-15,-13-14 0,13 13 16,-13-13-16,14 1 0,-1 12 16,0 14-1,0-27-15,1-13 16</inkml:trace>
  <inkml:trace contextRef="#ctx0" brushRef="#br0" timeOffset="7906.46">7779 3096 0,'-13'-27'31,"13"14"-15,-14 13-1,14-13-15,-13-1 0,-13-12 16,12 13-16,-39-27 16,40 14-1,-13-1-15,-1 14 0,1-13 0,-1-1 16,-12 14-16,12-14 0,-52-12 16,39 25-16,0 1 15,1 0-15,-1 0 0,0 0 0,1-1 0,-1 1 16,0 13-16,14-13 0,-14 13 15,14 0-15,-14-13 0,0 13 16,14 0-16,-14 0 0,-26 0 16,40 0-16,12 0 0,1 0 15,-26 0 1,25 0-16,1 0 0,0 0 16,0 0-16,-1 0 15,1 0 1,0-14-1</inkml:trace>
  <inkml:trace contextRef="#ctx0" brushRef="#br0" timeOffset="8284.81">6760 2844 0,'-13'14'0,"0"-14"0,-1 0 16,1 0-1,0 0-15,0-14 0,0 14 0,-1-13 16,1 0-16,-13 0 0,12-1 15,1 1-15,0 0 0,-40-27 16,40 27-16,0 0 0,-1 0 16,14-1-16,-13 14 0,13-13 15,0-13 1,0-1-16,13 14 0,1 13 16,25-27-1,-12 14-15,-1 0 0,14 0 0,-14 0 16,14-1-16,0 14 0,-1-13 15,1 0-15,0 13 0,-1-13 0</inkml:trace>
  <inkml:trace contextRef="#ctx0" brushRef="#br0" timeOffset="11950.94">3982 5345 0,'13'13'15,"0"-13"-15,1 13 0,-1-13 16,0 0-16,27 13 16,-14 1-16,1-14 0,12 13 0,1 0 15,0-13-15,52 13 16,-52 0-16,13-13 0,0 0 0,0 0 15,92 14 1,-92-14-16,-13 0 0,13 0 0,0 0 16,0 0-16,0 0 0,0 0 15,105 0-15,-105-14 16,0 14-16,0 0 0,145 0 16,-145-13-1,106 13 1,-106-13-16,-13 13 0,13-13 0,0 13 0,39-13 15,40-14 1,-26 1 0,-79 12-16,-1 1 0,1 0 15,-1 13-15,1-13 0,-14-1 16,13 1-16,1-13 0,-1 13 0,1-1 16,-1-12-16,-13 13 0,1-1 0,-1-12 15,0 13-15,0-1 0,1 1 16,-14-13-16,13 13 0,-13-1 0,0-12 15,0 13-15,-13-1 0,13-12 16,0 13-16,-14-14 0,1-12 16,-13 12-16,12 1 0,1-1 0,0 1 15,-53-40 1,39 39-16,-12-26 16,12 27-16,1 13 0,-1-14 0,-12 1 15,12 12-15,-13-12 0,1 13 0,-1-1 16,-26-12-16,26 26 0,-26-26 15,13 26-15,0-14 0,0 14 0,0-13 16,0 13-16,-13-13 0,-13 13 0,26 0 16,-13 0-16,0 0 0,13 0 15,-66 13-15,66-13 16,-13 0-16,13 13 0,0-13 0,0 14 0,-13-1 16,13 0-16,0-13 0,-106 40 15,120-27-15,-1 0 16,0 14-16,-13-14 0,14 0 15,-81 40 1,81-40-16,12 0 0,-12 1 0,12-1 16,1 0-16,-1 0 0,1 1 15,13-1-15,-14 0 0,14 0 0,-14 0 16,14 1-16,0-1 0,-13 0 16,12 0-16,1 1 0,0-1 0,0 0 15,-1 0-15,1 1 0,13-1 16,-13 0-16,0 0 0,13 0 0,-14 1 0,14-1 15,-13 0-15,13 14 16,-13-14-16,13 0 0,0 14 0,-13-14 16,13 0-16,0 13 0,0-12 0,0 12 15,0 1-15,0-14 0,0 13 0,13 54 16,-13-54 0,0-13-16,13 14 0,-13-1 0,13-12 15,-13 12-15,14 0 0,12 14 16,-13-13-1,1-14-15,-1 0 0,0 0 0,14-13 16,-14 13-16,13-13 0,107 14 16,-81-28-1,1 14-15,-13 0 0</inkml:trace>
  <inkml:trace contextRef="#ctx0" brushRef="#br0" timeOffset="12918.47">10755 5292 0,'-39'26'16,"25"-13"-16,1 1 16,0 12-16,0 1 0,-14-1 0,14 0 15,0 1-15,-14-14 0,14 27 16,0-14-16,0-13 15,13 1-15,-14-14 0,14 13 0,0 0 0,-13-13 16</inkml:trace>
  <inkml:trace contextRef="#ctx0" brushRef="#br0" timeOffset="13115.57">10464 5358 0,'0'-13'0,"0"-1"0,0 41 0,27-40 31,12 52-15,-12-25 0,-14-1-16,0 13 0,40 14 15,-40-14-15,1-12 16,12-1-16,-13 0 0,1 0 0,-1-13 0,0 13 16,27 1-1</inkml:trace>
  <inkml:trace contextRef="#ctx0" brushRef="#br0" timeOffset="13291.36">11033 5358 0,'66'-40'16,"-53"40"-16,1 0 15,-1 0-15,13 13 16</inkml:trace>
  <inkml:trace contextRef="#ctx0" brushRef="#br0" timeOffset="13459.35">11007 5517 0,'0'13'0,"0"-26"0,39 13 31,-12 0-15,26-14-1,-40 14-15,27-13 16,-14 0-16</inkml:trace>
  <inkml:trace contextRef="#ctx0" brushRef="#br0" timeOffset="13747.57">11721 5252 0,'-79'40'0,"39"-1"16,27-25-16,0-14 0,-1 13 15,1 13-15,0-12 16,0-1-16,13 0 15,13 0 1,13 0-16,-12-13 16,25 0-1,-12 0-15,-14 0 0,0 0 0,0 0 16,1 0-16,12-13 16,-13 13-16,1-13 0,-1 13 0,0-13 15,-13 0-15</inkml:trace>
  <inkml:trace contextRef="#ctx0" brushRef="#br0" timeOffset="13924.59">11761 5265 0,'-13'13'0,"-1"14"16,14-14 0,0 14-16,0-14 15,14 13-15,-14-12 0,13-1 0,-13 0 16,13 0-16,-13 0 0,13 1 0,-13-1 15,13 0-15,-13 14 16</inkml:trace>
  <inkml:trace contextRef="#ctx0" brushRef="#br0" timeOffset="14463.59">10491 5834 0,'238'13'0,"-106"-13"15,-66 0-15,14 0 0,12-13 16,-12 13-16,-1 0 0,14 0 0,-14-13 15,0 13-15,14-13 0,-14-1 0,1 1 16,-14 0-16,79-27 16,-92 27-16,13-13 0,80-67 15,-67 27-15,-52 26 16,26-52 0,-27 39-16,-13 0 0,1 0 0,-14 0 0,0 13 15,0-26-15,-27 13 0,14 0 16,-27 0-16,14 0 0,-27 14 0,-66-54 15,39 53-15,1 14 0,0-1 16,-1 1-16,1 13 0,-14 0 16,14-1-16,-14 14 0,-158 27 15,158-14-15,-12 13 16,-1 14-16,0 0 0,0-1 0,13 14 16,1 0-16,-133 133 15,106-67-15,79-66 16,14 13-16,-1-13 0,14 0 0,13-1 15,0-12-15,13 13 0,14 0 16,79 66 0,-53-93-16,13 1 0,-13-1 0,13-12 0,-13-1 15,0 0-15,52-13 16</inkml:trace>
  <inkml:trace contextRef="#ctx0" brushRef="#br0" timeOffset="16011.46">10755 5358 0,'-26'13'0,"13"27"15,-1-27 1,-25 40 0,25-40-16,1 0 0,0 14 0,0-14 15,-27 40 1,27-40-16,0 0 0,-1 1 0,1-1 0,13 0 16,-13-13-16,0 13 15,0 1 1,-1-1-16</inkml:trace>
  <inkml:trace contextRef="#ctx0" brushRef="#br0" timeOffset="16327.29">10517 5398 0,'53'13'0,"-40"0"16,53 40-16,-39-40 0,-1 0 0,-12 1 15,12-1-15,-13 0 0,1 13 16,12-12-16,-13-1 0,0 0 0,1-13 15,-1 13-15,0 1 0,0-1 16,1-13-16,-14 13 0,13 0 16,0 1-1</inkml:trace>
  <inkml:trace contextRef="#ctx0" brushRef="#br0" timeOffset="24174.47">7766 6813 0,'52'0'15,"-25"13"-15,13-13 16,13 0-16,-1 13 0,1-13 0,0 0 15,13 14-15,14-14 0,-1 0 0,-13 13 0,14-13 16,52 0 0,-66 0-16,-13 0 0,0 0 0,0 0 0,0 0 15,66 0 1,-93 0-16,14 0 0,-27 0 16,14 0-16,-14 0 0,13 0 0,-12 0 15,12 0-15,-13 0 16,1-13-1,-1 13-15,0 0 0,0 0 32,0 0-17,1 0 17,-1 0 30,-13 13 32,0 0-63</inkml:trace>
  <inkml:trace contextRef="#ctx0" brushRef="#br0" timeOffset="29456.65">13123 7633 0,'-13'13'15,"26"1"1,14-1 0,-1-13-16,-13 0 0,14 0 0,13 13 0,-14-13 15,67 13 1,-54-13-16,14 0 0,0 0 0,0 0 0,0 14 15,0-14-15,0 0 0,0 0 0,0 13 16,0-13-16,0 0 0,-1 0 16,1 0-16,0 0 0,-13 13 15,13-13-15,0 0 0,0 0 0,0 0 0,13 0 16,-13 13 0,13-13-16,0 0 0,13 0 0,1 0 0,-14 0 15,26 0-15,-12 0 0,-1 0 0,1 14 16,-1-14-16,0 0 0,93 0 15,-92 13-15,-1-13 0,159 13 32,-172 0-32,14-13 0,-14 0 0,13 13 0,-13-13 15,1 0-15,-1 0 0,-13 0 16,13 0-16,106 0 16,-119 0-16,13 0 0,119 0 15,-132 0-15,0 0 16,0 0-16,0-13 0,0 13 0,39 0 15,-39 0-15,-13 0 16,13 0-16,13 0 16,-26 0-16,39-13 0,-39 13 0,-1 0 15,41 0-15,-54 0 16,14 0-16,-14 0 0,40 13 16,-39-13-16,-1 0 0,1 0 0,-1 0 15,1 0-15,-14 0 16,13 0-16,1 0 0,-14 0 0,14 0 15,-14 0-15,0 0 0,0 0 16,14 0 0,-14 0-16,0 0 15,0 0 1,1 0 0,-1 0 15,0 0 16,-13 13 93,13-13-93,1 0-31,12 0-1,-13 0-15,0 0 0,1 0 16,-1 0-16,13 0 0,-12 14 16,65-14-1,-53 0-15,1 0 0,13 0 0,-1 13 16,14-13-16,-13 0 0,13 0 0,0 0 16,-14 0-16,14 0 0,0 0 15,0 13-15,93-13 16,-107 0-16,14 0 0,0 0 0,-13 0 15,13 0-15,0 0 0,0 0 16,-14 0-16,14 0 0,-13 0 0,66 0 16,-80 0-1,1-13-15,-1 13 0,1 0 0,-1 0 16,0 0-16,1 0 0,-1-13 0,1 13 16,-14 0-16,14 0 0,-1 0 15,-13-14-15,14 14 0,-14 0 0,13-13 16,-12 13-16,12 0 0,1 0 0,-14-13 15,13 13-15,1-13 16,-1 13-16,-13 0 0,1-13 16,-1 13-16,0 0 0,14-14 0,-14 14 15,0 0-15,0-13 0,0 13 16,1-13-16,-1 13 0,0-13 16,0-1-16,1 14 0,-1-13 0,0 0 15,0 13-15,1-13 0,12-14 16,-13 27-16,-13-13 0,13 0 15,1 0-15,-1-1 0,0 14 16,-13-13-16,13 0 0,1 0 0,-1-1 16,0 1-16,-13 0 0,13 0 15,-13-1-15,13 1 0,-13 0 16,14-13-16,-14 12 0,0 1 0,13 0 16,-13 0-16,0-14 0,0 14 15,13 0-15,-13-14 0,0 14 0,0 0 16,0-14-16,0 14 0,0-13 0,0 12 15,-13-12-15,13 13 0,0-14 16,0 14-16,-13-13 0,13 12 0,-14 1 16,1-13-16,0 12 0,0-12 0,0 13 15,-1 0-15,-12-14 0,-1 14 16,1-14-16,0 14 0,-14 0 0,13 0 16,-12-1-16,-1 1 0,-13 0 15,13 0-15,-13 0 0,-52-14 16,65 14-16,-26 0 0,0 13 15,13-14-15,-13 1 0,13 13 0,0-13 16,-13 13-16,-1-13 0,-131-14 16,132 27-16,0-13 15,0 13-15,-1-13 0,1 13 0,-13-13 16,13 13-16,0-14 0,-159 1 16,145 0-16,1 13 15,-14 0-15,14-13 0,0 13 0,-14-14 16,0 14-16,1 0 0,12 0 15,-12-13-15,-1 13 0,1 0 16,-1 0-16,14 0 0,-14 0 0,0 0 16,14 0-16,0-13 0,-1 13 0,1 0 15,0 0-15,-1 0 0,14 0 16,-79 0-16,78 0 0,1 0 16,-13 0-16,13-13 0,-14 13 0,14 0 15,0 0-15,0 0 0,13 0 16,-13 0-16,0 0 0,13 0 0,-13 0 15,13 0-15,0 0 0,0 0 16,0 0-16,-13 0 0,26 0 16,-66 13-16,53-13 0,14 0 0,-1 0 15,0 0-15,1 0 0,-1 0 16,0 13-16,1-13 0,-1 0 16,0 0-16,14 13 0,-14-13 0,0 0 15,14 0-15,-27 0 0,27 0 0,-14 14 16,13-14-16,-12 0 0,12 0 15,-12 0-15,12 13 0,-13-13 0,14 0 16,-14 0-16,14 0 0,-27 0 0,13 13 16,14-13-16,-14 0 0,14 0 15,-27 13-15,26-13 0,-39 0 16,0 0-16,39 14 0,1-14 16,0 0-16,-1 0 15,1 13-15,-1-13 0,14 0 0,-14 0 0,1 0 16,13 0-16,-14 13 0,14-13 15,0 0-15,0 0 0,-1 0 16,-12 13-16,13-13 0,-1 0 0,1 0 16,0 0-16,0 14 0,0-14 15,-1 0-15,1 0 0,0 0 0,0 0 16,-1 13-16,1-13 0,0 0 0,0 0 16,-14 0-16,14 0 0,0 0 15,-14 13-15,1-13 16,13 0-16,-1 0 0,-12 0 0,13 0 15,-27 0-15,14 0 0,12 0 16,-12 0-16,-1 0 0,14 0 16,-13 13-16,13-13 0,-14 0 0,14 0 15,0 0-15,-14 0 0,14 13 16,-13-13-16,12 0 0,1 14 0,-13-14 16,12 0-16,1 13 0,-27-13 15,27 13-15,0-13 0,-13 13 0,12-13 16,1 0-16,0 14 0,-14-14 15,14 13-15,0-13 0,0 13 0,-27 0 16,27-13-16,0 13 0,-1 1 16,-12-14-16,13 13 15,-1 0-15,1-13 0,0 13 0,0 1 16,-14-1-16,-12 13 16,25-12-16,1-1 0,0 0 15,0 0-15,-1 0 0,1 1 16,0-14-16,13 13 0,-13 0 15,13 0-15,-14-13 16,14 14-16,0-1 0,-13 0 16,13 0-16,0 1 15,0-1 1,-13 0-16,13 0 16,0 0-16,0 1 15,0-1-15,0 0 16,0 0-16,13 14 15,-13-14-15,13 13 16,-13-12 0,14-1-16,-14 0 0,13-13 0,-13 13 15,13-13-15,-13 14 0,13-1 0,-13 0 16,14-13-16,-14 13 16,13 1-16,0-14 15,-13 13-15,13-13 0,-13 13 0,14-13 0,-14 13 16,13-13-16,0 13 0,0 1 15,0-14-15,1 13 16,25 13 0,-12-12-16,-14-14 0,14 13 15,12 13-15,-26-26 16,40 14-16,-39-1 0,12 0 16,1-13-16,-1 13 0,0-13 15,1 13-15,-1-13 0,14 14 0,-13-1 16,12-13-16,1 0 0,0 13 0,12-13 15,-12 0-15,13 13 0,0-13 16,0 0-16,0 0 0,0 0 0,26 0 16,14 0-16,-14 0 0,0 0 0,14 0 15,0 0-15,-1 0 0</inkml:trace>
  <inkml:trace contextRef="#ctx0" brushRef="#br0" timeOffset="33459.58">5411 9260 0,'-13'0'16,"39"0"-1,0 0 1,-12 0-16,12 0 0,-13 0 16,1 0-16,-1 0 0,0 0 0,0 0 15,0 0-15,1 0 0,25 0 16,-12 0 0,-14 0-1,0 0-15,1 0 16,-1 0 15,0 0-15,0 0-1,0 0-15</inkml:trace>
  <inkml:trace contextRef="#ctx0" brushRef="#br0" timeOffset="33867.44">5953 9287 0,'40'-13'31,"-27"13"-31,0 0 15,14 0-15,-14 0 16,0 0 0,0 0-1,1 0-15,-1 0 16,0 0 0</inkml:trace>
  <inkml:trace contextRef="#ctx0" brushRef="#br0" timeOffset="34355.26">6469 9260 0,'40'0'15,"-27"0"1,0 0-16,0 0 16,14 0-1,-14 0 1,0 0-1,1 0 17,-1 0-1,0 0-15</inkml:trace>
  <inkml:trace contextRef="#ctx0" brushRef="#br0" timeOffset="35702.51">6959 9274 0,'66'-14'0,"-53"14"16,0 0-16,0 0 0,1 0 0,12 0 15,-13 0 1,1 0-16,-1 0 0,0 0 0,0 0 16,0 0-16,1 0 15,-1 0 1,0 0-16,0 0 16,1 0-1,-1 0 48,0 0 62,-53 0 515,27 0-640,0 14 0</inkml:trace>
  <inkml:trace contextRef="#ctx0" brushRef="#br0" timeOffset="36476.06">4829 9776 0,'39'0'16,"1"0"-16,-27 0 16,67 0-1,-54 0-15,14 0 0,-1 0 16,14-13-16,-13 13 0,13 0 0,-13 0 16,-1 0-16</inkml:trace>
  <inkml:trace contextRef="#ctx0" brushRef="#br0" timeOffset="36682.26">5927 9723 0,'13'0'0,"0"0"0,0 0 15,53 0-15,-39 0 16,-1-13-16,1 13 0,13 0 0,-14 0 16</inkml:trace>
  <inkml:trace contextRef="#ctx0" brushRef="#br0" timeOffset="36846.69">6747 9710 0,'13'0'0,"14"-13"32,-14 13-32,0-13 0,13 13 15,-12-13-15,12 13 0,-13-14 0,14 14 16,13-13-16,-14 13 0,14-13 0</inkml:trace>
  <inkml:trace contextRef="#ctx0" brushRef="#br0" timeOffset="36983.66">8162 9618 0,'40'-14'0</inkml:trace>
</inkml:ink>
</file>

<file path=ppt/ink/ink19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5:18:33.685"/>
    </inkml:context>
    <inkml:brush xml:id="br0">
      <inkml:brushProperty name="width" value="0.05292" units="cm"/>
      <inkml:brushProperty name="height" value="0.05292" units="cm"/>
      <inkml:brushProperty name="color" value="#0070C0"/>
    </inkml:brush>
  </inkml:definitions>
  <inkml:trace contextRef="#ctx0" brushRef="#br0">7541 4762 0,'26'-13'16,"-13"13"30,-39 0 17,-1 13-47,14-13-16,0 0 0,-14 14 15,14-14-15,0 0 0,-13 0 16,12 0-16,-12 13 15,13-13 1,-1 0-16,28 26 31,12 1-15,-26-14-16,13 0 0,1 14 16,-1-14-16,-13 0 0,13 14 15,-13-14-15,0 0 0,0 53 16,-13-39-16,0-14 0,-1 13 15,1 1-15,0-14 0,0 14 16,-1-14-16,-12 0 0,13-13 0,-1 13 16,1 1-16,0-14 0,0 0 15,13 13-15,-13-13 0,-1 0 0,1 0 16,0 0-16,0 0 31,13 53-15,0-14-16,0 1 15,0 13-15,0-27 16,13 1-16,-13-1 0,0 14 16,13-27-16,-13 0 0,0 14 15,13-14-15,-13 0 0,27 1 32,-27-1-32,13-13 0,13-13 15,-12-1-15,12 1 16</inkml:trace>
  <inkml:trace contextRef="#ctx0" brushRef="#br0" timeOffset="1732.05">7951 5040 0,'-13'27'16,"13"-14"-16,0 0 16,-14 0-16,14 1 0,-13-1 15,13 13-15,0-12 0,-13-1 0,13 0 16,0 0-16,0 1 0,0-1 0,0 0 16,0 0-16,13 0 15</inkml:trace>
  <inkml:trace contextRef="#ctx0" brushRef="#br0" timeOffset="1937.72">8268 5173 0,'40'53'0,"-40"-40"16,0 0-16,0 0 0,0 14 15,0-14-15,0 0 0,0 0 0,0 14 16,-13-14-16,13 0 0,0 1 16,0-1-16,0 0 15</inkml:trace>
  <inkml:trace contextRef="#ctx0" brushRef="#br0" timeOffset="2385.02">8744 5027 0,'14'0'0,"25"13"16,-25 1 0,-14-1-16,0 0 0,0 13 15,-27 14-15,14-27 16,0 14-16,-1-1 0,1-12 0,0-1 15,0 0-15,13 0 0,-13-13 16,13 13-16,-14-13 0,14 14 16,14-1-1,-1-13-15,0 0 16,0 0-16,0 0 0,40 0 16,-13 0-1,-13 0 1,-14-13-16,0 13 0,0 0 0</inkml:trace>
  <inkml:trace contextRef="#ctx0" brushRef="#br0" timeOffset="2588.98">9088 5173 0,'14'13'16,"-28"-26"-16,41 39 0,-27-13 15,13 14-15,-13-14 0,13 0 16,-13 0-16,0 1 0,0-1 16,-13 0-16,13 0 0,0 14 15,-13 26 1,13-40-16,-13-13 0,13 13 0</inkml:trace>
  <inkml:trace contextRef="#ctx0" brushRef="#br0" timeOffset="3118.43">9578 5080 0,'26'-13'0,"-12"13"16,-1 13 0,-26 13-1,13-12 1,-14-14-16,14 13 0,-13 0 16,13 0-1,0 1 1,27 12-1,-14-13 1,-13 1-16,0-1 16,-27 40-1,14-40-15,0 0 16,0 0-16,13 1 16,-14-14-16,-12 26 0,13-26 15,13 13 1</inkml:trace>
  <inkml:trace contextRef="#ctx0" brushRef="#br0" timeOffset="3328.76">9895 5226 0,'53'66'16,"-53"-27"-1,-13-25-15,13-1 0,-13 13 16,0 14-16,-1-27 0,1 14 16,0-14-16,0 0 0,-1 0 15,1 1-15,13-1 0,-13 0 16,0-13-16</inkml:trace>
  <inkml:trace contextRef="#ctx0" brushRef="#br0" timeOffset="3891.84">10676 5093 0,'-27'27'32,"14"-14"-32,0 0 0,-27 14 15,27-14-15,0 0 0,0-13 16,-1 13-16,1 1 0,0-1 15,0 13-15,0-26 0,13 13 16,0 1 0,13-1-16,0-13 15,13 13-15,1-13 16,-14 0-16,0 0 0,1 0 0,12 0 16,-13 0-16,27 0 15,-14-13-15,-12 13 0,-1 0 16,0-13-16,0-1 15,-13 1-15</inkml:trace>
  <inkml:trace contextRef="#ctx0" brushRef="#br0" timeOffset="4111.92">10742 5067 0,'-13'13'31,"13"0"-31,-13 14 15,13-1-15,0 14 16,13 0-16,-13-14 16,0-13-16,0 14 0,0-14 0,0 13 15,0 14 1,13-27-16,-13 1 0,0-1 16,13-13-1</inkml:trace>
  <inkml:trace contextRef="#ctx0" brushRef="#br0" timeOffset="4771.77">11139 5265 0,'0'27'16,"0"-14"-16,-13 0 0,13 0 16,0 14-16,-14-14 15,14 0-15,0 1 0,-13 12 16,13-13-16,-13 0 0,13 1 0,0-1 15</inkml:trace>
  <inkml:trace contextRef="#ctx0" brushRef="#br0" timeOffset="5100.14">11390 5106 0,'-13'0'0,"0"0"0,0 0 15,-1 0-15,1 14 16,13-1-16,0 0 16,13 14-16,-13-1 15,14-13-15,-14 1 16,13-1-16,0 13 15,0 1-15,-13-14 0,0 0 0,0 0 16,0 1-16,0 12 0,-13-13 16,13 1-16,-13-14 15,0 13-15,-1 0 0,-12 0 16,13 0-16</inkml:trace>
  <inkml:trace contextRef="#ctx0" brushRef="#br0" timeOffset="5657.86">11734 5199 0,'-39'13'15,"39"1"-15,-27 25 16,27-26-16,-13 1 16,13 25-16,0-12 15,0-14-15,13 14 16,0-14-16,1 0 16,-1-13-16,0 0 15,0-13-15,-13 0 16,14-1-1,-14 1-15,0-27 16,0 27-16,0 0 0,0-14 16,13 14-16,-13 0 15,0 0 1,13 13-16,0 13 16,0 13-16,-13-12 15,0-1 1,14 0-16,-14 14 0,13-1 15,-13 1-15,0-14 16,13 0-16,-13 0 31,13-13-31,14-13 16,-14 0-16,0 0 16,27-27-16,-14 13 15,14-12 1,0-14-1,-27 26-15,27-12 16</inkml:trace>
  <inkml:trace contextRef="#ctx0" brushRef="#br0" timeOffset="5942.33">12263 5040 0,'-79'133'16,"66"-94"-1,13-25-15,0-1 0,0 13 16,0-13-16,0 1 0,26 39 16,-26-40-1,14 0-15,-1 0 0,13-13 16,-13 0-16,1 0 16,-14-13-16,13 13 0,-13-13 15,0 0 1,0-14-16,0 14 15,-13 0-15,13-1 16,-14 1 0,1 0-16,0 0 15</inkml:trace>
  <inkml:trace contextRef="#ctx0" brushRef="#br0" timeOffset="9960.06">12316 4829 0,'14'-14'0,"-1"14"0,26 0 16,-25 0-1,-1 14-15,13 12 16,-12 1 0,-14 25-1,0-38-15,0 12 0,0-13 0,0 14 16,0-14-16,0 0 15,0 1-15,0-1 16,13-13 0,0-13-1,14 13 1,-1 13-16,-26 0 0,26 13 16,-12 14-16,-14 0 15,0-14-15,0 1 0,0-1 16,-27 54-1,14-41-15,0-25 0,-27 25 16,14-12 0,-27-1-16,39-26 15,-12 13-15,-14-13 16,27 0-16</inkml:trace>
  <inkml:trace contextRef="#ctx0" brushRef="#br0" timeOffset="18096.87">17780 1614 0,'0'53'15,"0"-27"1,0-12-16,13 12 0,-13-13 16,13-13-16,-13 13 0,14-13 15,-1 0-15,13 0 16,-12 0-16,-1 0 15,0 0-15,-13-13 0,13 13 16,1 0-16,-1 0 16,0 0-16,0 0 15,-13 13-15,13-13 16,-13 14-16,14-14 16,-1 0-16,0 0 15,0 0-15,1 0 0,-1-14 16,0 14-16,-13-13 0,13-13 15,1-1 1,-1 1-16,-13 13 0,0-1 16,13 1-16,-13 0 15,0 0 1,13 13-16,0-13 16</inkml:trace>
  <inkml:trace contextRef="#ctx0" brushRef="#br0" timeOffset="18476.88">18217 1614 0,'26'40'16,"-26"-27"-1,13 0-15,14 0 16,-27 1-16,13-14 0,0 13 16,0-13-16,1-13 15,-1 13-15,-13-14 16,13 14-16,-13-13 15,13 0-15,1 13 16,-186-53-16,344 93 0,-159-40 16,0 13-16,0-13 15,0 13-15,1 0 16,-14 1-16,0-1 16,13 0-16,0-13 15,-13 13 1,13-39 15,-13 13-31,14-1 16,-1-12-1,0 13-15,-13-1 0,13-12 16,14 0-16,12-14 16</inkml:trace>
  <inkml:trace contextRef="#ctx0" brushRef="#br0" timeOffset="18863.91">18693 1508 0,'26'-40'16,"-13"54"0,-13-1-1,0 0 1,0 0 0,-13-13-16,13 14 15,-26-1-15,13 0 0,-1-13 16,1 13-16,0 1 15,13-1-15,-13-13 16,13 13-16,66-119 16,-119 212-1,66-106-15,14 0 16,-14-13-16,26 13 16,-25 0-1,12 0-15,1 0 16,-1 13-16,-13 0 0,1 0 15,-14 14 1,0-14 0,-27 14-16,14-14 15,-14 0 1,14 0-16,0-13 16,0-13-16</inkml:trace>
  <inkml:trace contextRef="#ctx0" brushRef="#br0" timeOffset="21019.43">4339 7091 0,'-40'0'16,"1"13"-1,12-13-15,14 13 0,-13-13 0,-54 27 16,67-14-16,-13 0 15,-1 0-15,14-13 16,0 14-16,13-1 16,0 0-16,13 0 0,-13 1 15,26-1 1,27 26-16,-39-39 16,12 14-16,14 12 0,-14-26 15,-13 13-15,1-13 0,-1 14 16,0-1-16,13 0 15,-12 0-15,-28 1 16,14-1-16,-13 0 16,0-13-16,0 13 0,-14 0 15,14-13-15,-27 0 16,27 14-16,-13-14 16,13 0-16,-14 0 15,14-14-15,0 14 16,13-13-16</inkml:trace>
  <inkml:trace contextRef="#ctx0" brushRef="#br0" timeOffset="21412.96">4683 7131 0,'-132'26'15,"119"-26"-15,-1 26 16,1-26 0,13 14-16,27 25 15,-27-25-15,13 12 0,0-13 0,0 0 16,1 1-16,12 12 15,-13 1-15,0-14 16,1 0-16,-1 0 0,-13 1 16,0-1-16,-13 0 15,13 0-15,-14-13 0,-25 27 0,-1-1 16,14-26-16,-1 13 16,1-13-16,-1 14 0,14-14 15,-40 13-15,27-13 16,12 0-16,-12 0 0,13 0 15,-1 0 1</inkml:trace>
  <inkml:trace contextRef="#ctx0" brushRef="#br0" timeOffset="22500.81">4299 8109 0,'-52'-13'16,"38"13"-1,1 0-15,-13 0 16,12 0-16,14 13 16,-13-13-16,26 14 15,1-1 1,12 13-16,-13-12 16,14-14-16,-1 26 0,-13-26 15,14 27-15,-14-14 16,0 0-16,-13 0 15,0 0 1,-13 14-16,0-14 16,-14 0-16,14-13 0,0 14 0,0-1 15,-27 0-15,0-13 16,14 13-16,13-13 16,0 0-1,13-13 1</inkml:trace>
  <inkml:trace contextRef="#ctx0" brushRef="#br0" timeOffset="22744.97">4524 8070 0,'14'26'15,"-14"1"-15,0-1 16,0-13-16,0 14 0,0-14 16,0 0-16,0 1 15,0-1-15,13 13 0,-13 14 16,0-27-16,0 0 16,0 1-1,13-1-15</inkml:trace>
  <inkml:trace contextRef="#ctx0" brushRef="#br0" timeOffset="23089.22">4524 8057 0,'93'-53'16,"-80"53"-1,14 13-15,-27 0 16,13-13-16,0 40 15,-13-14-15,-13 1 16,13-14-16,-66 40 31,53-53-31,-14 26 0,14-26 0,0 0 16,-1 0-16</inkml:trace>
  <inkml:trace contextRef="#ctx0" brushRef="#br0" timeOffset="23500.48">5159 7289 0,'53'-13'15</inkml:trace>
  <inkml:trace contextRef="#ctx0" brushRef="#br0" timeOffset="23661.18">5120 7422 0,'39'0'0,"-25"0"16,12 0-16,1 0 15,-14 0-15,13 0 16,14 0-16</inkml:trace>
  <inkml:trace contextRef="#ctx0" brushRef="#br0" timeOffset="24073.09">5093 8215 0,'53'-13'16,"-40"13"-16,1 0 16,12 0-16,-13 0 15,1 0-15,-1 0 0</inkml:trace>
  <inkml:trace contextRef="#ctx0" brushRef="#br0" timeOffset="24230.42">5120 8387 0,'39'0'31,"-25"0"-31,-1 0 0,13 0 16,-12 0-16,-1-13 15</inkml:trace>
  <inkml:trace contextRef="#ctx0" brushRef="#br0" timeOffset="25197.23">5186 7276 0,'40'-13'16,"-27"13"-16,0 0 15,0 0-15,14-13 0</inkml:trace>
  <inkml:trace contextRef="#ctx0" brushRef="#br0" timeOffset="25385.95">5173 7435 0,'26'0'0,"-13"0"16,14 0-16,-14 0 15</inkml:trace>
  <inkml:trace contextRef="#ctx0" brushRef="#br0" timeOffset="26522.35">6231 6892 0,'-53'-13'16,"53"0"-16,-13 13 15,13 13 17,0 0-17,0 1 1,13 12-16,-13-13 0,0 14 15,0-14-15,-13 13 16,0 27 0,-1-39-16,1-1 0,0 13 15,-14 1-15,14-14 16,0-13-16,13 13 0,26-13 47,1 13-16,-27 14-31,13-14 0,0 27 16,-13-27-1,0 0-15,0 14 0,0-1 16,0-13-16,0 1 16,14-1-16,-14 0 0,0 0 15,0 1-15,13-14 0,0 0 16,0 0-1,0 0-15</inkml:trace>
  <inkml:trace contextRef="#ctx0" brushRef="#br0" timeOffset="27127.92">6496 6985 0,'0'66'31,"0"-53"-31,0 1 0,0 12 16,0-13-16,-14 1 0,14-1 15,0 0-15,0 13 0,0-12 0,14-1 16</inkml:trace>
  <inkml:trace contextRef="#ctx0" brushRef="#br0" timeOffset="27338.3">6720 7117 0,'14'27'15,"-14"-1"1,0 27 0,-14-13-1,14-27 1,14 0 0</inkml:trace>
  <inkml:trace contextRef="#ctx0" brushRef="#br0" timeOffset="27697.12">7091 6972 0,'66'0'16,"-66"13"-16,13 13 16,-13-12-16,0 12 15,-13-13-15,0 1 0,0 12 0,13-13 16,-14 1-16,-12 25 16,26-26-16,-13-13 0,13 14 0,-14-1 15,14 0-15,0 0 16,0 1-1,14-1-15,-1-13 16,0 0-16,0 0 0,14 0 16,-14 0-1,0 0-15,0 0 0</inkml:trace>
  <inkml:trace contextRef="#ctx0" brushRef="#br0" timeOffset="27863.07">7382 7170 0,'26'13'16,"-26"1"-16,0 12 16,0-13-1,0 1-15,-26 25 0,13-26 16,-1 27-16,1-27 0,0 1 16,66-213-16,-119 411 0,52-199 0,1 0 15,13 1-15</inkml:trace>
  <inkml:trace contextRef="#ctx0" brushRef="#br0" timeOffset="29063.86">8057 6998 0,'13'0'16,"0"13"-1,0-13-15,-13 14 16,0-1-16,0 0 0,-13-13 15,13 13-15,-13 1 16,13-1-16,0 0 16,0 0-1,13-13-15,-13 14 0,13-14 16,0 13-16,1 0 16,-1-13-16,-13 13 0,13-13 0,-13 13 0,13-13 15,-13 14-15,0-1 16,-13 0-16,0 0 15,0-13-15,-14 14 16,14-14-16,-13 0 0,26 13 16,-14-13-16,1-13 15,0 13-15</inkml:trace>
  <inkml:trace contextRef="#ctx0" brushRef="#br0" timeOffset="29264.93">8308 7157 0,'13'13'0,"0"40"15,-13-40-15,-26 27 16,13-27 0,-1 0-16,1 1 0,0-1 0,0 0 15,13 0-15,-13 1 0,-1-1 0,14 0 16,-13-13-1</inkml:trace>
  <inkml:trace contextRef="#ctx0" brushRef="#br0" timeOffset="29923.99">8718 7064 0,'-26'27'15,"12"-27"-15,-12 13 16,13 0-16,-1-13 0,1 14 16,0-1-16,0-13 15,13 13-15,-14-13 16,14 13-16,0 0 16,14 1-16,-1-14 15,0 13-15,14-13 0,-1 13 16,-13-13-16,27 0 15,-27 0-15,0 0 16,1 0-16,-1 0 0,0 0 16</inkml:trace>
  <inkml:trace contextRef="#ctx0" brushRef="#br0" timeOffset="30124.95">8771 6985 0,'0'0'0,"-27"26"32,27-12-32,0 12 0,0-13 0,-13 14 15,13-14-15,0 14 0,0-14 0,-13 53 32,13-40-32,0-12 0,0 12 0,0-13 0,0 0 15,0 1-15,0-1 0,0 0 16</inkml:trace>
  <inkml:trace contextRef="#ctx0" brushRef="#br0" timeOffset="30336">8930 7183 0,'26'14'16,"-26"12"-16,0-13 15,0 1-15,0 12 16,0-13-16,-13 14 0,0 12 16,13-12-16,-27-1 15,27-12-15,-13-1 0,13 0 16,0 0-16</inkml:trace>
  <inkml:trace contextRef="#ctx0" brushRef="#br0" timeOffset="30806.95">9340 7078 0,'-27'13'16,"-12"0"-1,25-13-15,1 13 16,0-13-16,0 14 16,26-1-1,13 0 1,-12 0 0,-1 0-16,0 1 15,-13-1-15,13-13 16,-26 13-16,13 0 15,-13 1-15,0-1 16,-14 0-16,14 0 16</inkml:trace>
  <inkml:trace contextRef="#ctx0" brushRef="#br0" timeOffset="30982.03">9459 7250 0,'13'13'0,"-13"40"16,0-27-16,0-13 16,-13 1-16,0 12 0</inkml:trace>
  <inkml:trace contextRef="#ctx0" brushRef="#br0" timeOffset="31580.06">9816 7025 0,'-66'79'0,"53"-66"15,-1 14-15,14-14 16,-13 0-16,26 27 16,-13-27-16,14 0 0,-1-13 0,0 14 15,0-14 1,1 0-16,-1 0 0,0-14 31,-26 1-15,13 0-16,-13 13 0,-1-13 15,1-1-15,0 1 0,13 0 16,-13 0-16</inkml:trace>
  <inkml:trace contextRef="#ctx0" brushRef="#br0" timeOffset="32089.03">9790 6773 0,'79'-13'15,"-66"26"1,0 1-16,-13-1 16,14 13-16,-14 14 15,0 0-15,13 26 32,-13-53-32,0 0 0,0 14 15,0-14-15,13 0 0,0 0 16,1-13-16,-1 0 15,0 0-15,0 0 0,0-13 16,1 13-16,-1 0 0,-13-13 16,13 13-16,0 0 15,1 0-15,-14 13 16,0 14-16,13-14 16,-26 13-16,13 1 15,0 26-15,0-27 0,-14 1 16,14-14-16,0 13 0,-13 1 0,-13 39 15,12-40-15,1-12 16,0-1-16,-27 13 16,27-13-16,-13 1 0,12-14 15,1 0-15,0 0 16</inkml:trace>
  <inkml:trace contextRef="#ctx0" brushRef="#br0" timeOffset="32214.2">10028 7501 0,'-14'0'15,"28"0"1,-54-13-16,27 13 16</inkml:trace>
  <inkml:trace contextRef="#ctx0" brushRef="#br0" timeOffset="44323.15">1773 9763 0,'13'0'0,"-13"27"47,-13 25-32,13-38-15,0 12 0,0 1 0,-14 12 16,14 1-16,-13-14 0,13 1 15,0-1-15,-13 1 0,13-1 0,-13-12 16,13 12-16,0-13 0,-13 14 16,13-14-16,0 0 0,-14 14 15</inkml:trace>
  <inkml:trace contextRef="#ctx0" brushRef="#br0" timeOffset="44683.96">1680 9790 0,'13'-27'16,"-13"14"-16,14 13 0,-14-13 16,13 13-16,0-14 0,53 14 15,-53 14 1,14-14-16,-14 13 0,0 0 0,1 0 16,12 1-16,-13 12 15,-13-13-15,13 0 0,-13 1 0,0-1 16,-13 0-16,0 14 0,0-14 15,-14 0-15,14 0 0,0 1 16,0-14-16,-1 13 0,1-13 16,13 13-16,-13-13 0,0 0 15</inkml:trace>
  <inkml:trace contextRef="#ctx0" brushRef="#br0" timeOffset="45137.1">2249 9644 0,'-66'40'16,"39"-27"-16,14 13 0,-13 14 15,12-13-15,1 12 0,-13-12 16,13 12-16,13 1 0,-14-13 16,14 12-16,0 1 0,0-14 15,14 1-15,-14-14 0,13 0 0,-13 14 16,13-14-16,0-13 0,0 13 16,1 0-16,-1-13 0,0 0 0,0 0 15,14 0-15,-14 0 0,0 0 0,0 0 16,14-13-16,-14 13 0</inkml:trace>
  <inkml:trace contextRef="#ctx0" brushRef="#br0" timeOffset="45427.99">2659 9750 0,'-13'26'16,"0"-12"-16,-1-1 16,-25 26-16,25-12 0,-12-1 15,-14 27-15,14-26 16,13-14-16,-1 0 0,1 0 0,0 1 15,0-1-15,13 0 0,-14 0 16,1 14-16,0-27 16</inkml:trace>
  <inkml:trace contextRef="#ctx0" brushRef="#br0" timeOffset="45644.9">2381 9829 0,'0'-13'0,"13"39"31,-13-12-15,14-1-16,-14 0 0,0 0 0,13 14 16,0-14-16,-13 0 0,0 1 15,0-1-15,13 0 0,-13 0 16,0 0-16,14 1 0,-1-1 15,-13 0-15,13-13 0</inkml:trace>
  <inkml:trace contextRef="#ctx0" brushRef="#br0" timeOffset="45989.05">2831 9895 0,'27'0'31,"-27"-13"-31,39 26 16,-12-13-16,-14 0 16,13 14-1</inkml:trace>
  <inkml:trace contextRef="#ctx0" brushRef="#br0" timeOffset="46187.35">2765 10054 0,'40'0'16,"-27"0"-16,0 0 15,0 0-15,1 0 16,12 0-16,0-13 16,-12 13-16,-1 0 15</inkml:trace>
  <inkml:trace contextRef="#ctx0" brushRef="#br0" timeOffset="46669.89">3294 9842 0,'13'14'16,"1"-14"-16,-14 26 16,0 1-16,0-14 15,0 0-15,0 0 0,0 14 16,0-1-16,13-13 15,-13 1-15,13-1 16</inkml:trace>
  <inkml:trace contextRef="#ctx0" brushRef="#br0" timeOffset="46959.3">3400 9525 0,'40'13'16,"-27"0"-16,79 54 16,-65-28-16,-1-12 15,1 12-15,12 41 0,-25-41 16,-1-12-16,0 52 0,-26 14 15,0-53 1,-1-14-16,-25 40 16,12-39-16,-12 12 0,-1-12 15</inkml:trace>
  <inkml:trace contextRef="#ctx0" brushRef="#br0" timeOffset="47309.43">4538 9909 0,'105'-14'15,"-78"14"1,-1 0-16,1 14 16,-14-14-16,-13 13 15</inkml:trace>
  <inkml:trace contextRef="#ctx0" brushRef="#br0" timeOffset="47477.18">4564 10054 0,'27'0'32,"-14"0"-32,0 0 0,0 0 15,14 0-15,-1 0 16,1-13-16,-1 13 16,-13 0-16,14-13 0</inkml:trace>
  <inkml:trace contextRef="#ctx0" brushRef="#br0" timeOffset="47760.01">5292 9551 0,'13'67'16,"-13"-54"-16,0 66 15,0-66-15,0 27 16,0-27-16,-13 40 0,-1-26 16,14-1-16,-13 27 15,0-40-15,13 1 0,13-1 16</inkml:trace>
  <inkml:trace contextRef="#ctx0" brushRef="#br0" timeOffset="48027.28">5794 9644 0,'-39'66'16,"-1"-13"-16,14-26 0,-41 52 16,28-39-16,-1-1 15,0-12-15,-92 118 16,79-92-16,27-26 16,-1-1-16,1 1 0,13-14 15,-14 13-15,14-12 0,0-1 16,-1 0-16,14 0 15,-13 0-15</inkml:trace>
  <inkml:trace contextRef="#ctx0" brushRef="#br0" timeOffset="48379.55">5649 10120 0,'-27'14'0,"14"-1"15,0 0-15,-14 27 16,-12 13-16,12-14 16,27-25-1,0-1-15,14 0 0,-1 0 16,0 0-16,0-13 0,14 0 15,-14 0 1,0 0-16,0 0 0,1 0 0,-14-13 16,13 0-1,-26 0 1,-1 13-16,-12 0 16,13 0-1,-14 0-15,14 0 0,-13 0 16,-1 0-16</inkml:trace>
  <inkml:trace contextRef="#ctx0" brushRef="#br0" timeOffset="49011.97">1812 10808 0,'14'53'32,"-14"-26"-32,0 12 15,-14 41-15,14-27 16,-13-40-16,13 13 16,0-13-16,0 14 0,0 13 15,0-27-15,13 0 16</inkml:trace>
  <inkml:trace contextRef="#ctx0" brushRef="#br0" timeOffset="49319.02">1786 10835 0,'13'-14'0,"40"-12"16,-40 26-1,1 13-15,12-13 0,-13 13 16,0 1-16,1-14 0,-1 26 16,-13 1-16,0-14 15,0 0-15,-13 14 16,-14 25-16,1-25 15,13-27-15,-1 13 16,-12 0-16,13 1 16,-1-14-16,1 0 0</inkml:trace>
  <inkml:trace contextRef="#ctx0" brushRef="#br0" timeOffset="49576.74">2156 10769 0,'-53'39'16,"27"-12"-16,-27 52 16,40-52-16,0 12 0,-1-12 15,14-1-15,-13 14 0,13-1 16,13 1-1,1 0-15,-1-27 16,13 14-16,-12-14 16,-1 0-16,13-13 15,-13 0-15,1 0 0,12 0 16</inkml:trace>
  <inkml:trace contextRef="#ctx0" brushRef="#br0" timeOffset="49798.39">2527 10914 0,'-27'40'16,"14"-27"-16,0 27 15,0-14-15,-27 67 16,27-54-16,-1-12 0,1 13 15,13-27-15,-13 0 16,13 0-16,0 0 0,-13 1 16</inkml:trace>
  <inkml:trace contextRef="#ctx0" brushRef="#br0" timeOffset="50025.19">2289 11033 0,'13'40'16,"0"-27"-16,0 27 16,14-1-16,-1-25 15,1 12 1,-14-13-16,13-13 15,-26 14-15,14-14 0</inkml:trace>
  <inkml:trace contextRef="#ctx0" brushRef="#br0" timeOffset="50223.07">2738 11020 0,'40'-13'15,"-13"13"-15,-1 0 16,-13 0 0</inkml:trace>
  <inkml:trace contextRef="#ctx0" brushRef="#br0" timeOffset="50390.91">2725 11179 0,'40'-14'16,"-14"14"-1,27-13 1,-26 0-16,12 0 15</inkml:trace>
  <inkml:trace contextRef="#ctx0" brushRef="#br0" timeOffset="50747.12">3241 10848 0,'13'0'15,"1"0"-15,-1 13 16,0 0-16,-13 1 16,0 25-16,-13 14 15,0-40 1,13 1-16,-27 39 15,27-40 1,0 0 0,13 0-1,1-13-15,-1 0 16,13 0-16,1 0 16,-14-13-1,0 0 1</inkml:trace>
  <inkml:trace contextRef="#ctx0" brushRef="#br0" timeOffset="50979.99">3400 10742 0,'106'93'15,"-80"-40"-15,1 13 16,-41-27 0,14-12-16,-39 52 15,25-52-15,1-14 0,0 13 16,0 1 0</inkml:trace>
  <inkml:trace contextRef="#ctx0" brushRef="#br0" timeOffset="51285.27">4352 10914 0,'27'-13'16,"13"13"-1,-14 0-15,27 0 16,-40 0-16,0 0 0,14 13 15,-14-13-15,0 13 16</inkml:trace>
  <inkml:trace contextRef="#ctx0" brushRef="#br0" timeOffset="51442.08">4392 11073 0,'13'13'16,"27"-13"-1,-27 0 1,53-13-16,-13 13 16,-26 0-16,26 0 15,-40 0-15</inkml:trace>
  <inkml:trace contextRef="#ctx0" brushRef="#br0" timeOffset="51707.35">5384 10676 0,'-26'93'16,"26"-54"0,0 14-1,0-26-15,13 12 16,0-39-16</inkml:trace>
  <inkml:trace contextRef="#ctx0" brushRef="#br0" timeOffset="51943.42">5768 10702 0,'0'0'15,"-13"14"1,-1-1-16,-38 40 16,-28 26-16,14-13 15,26-39-15,-39 52 16,26-26-16,27-27 15,-27 27-15,39-39 16,1 12-16,0-13 0,0 14 16,13-14-16,0 0 15,13-13-15</inkml:trace>
  <inkml:trace contextRef="#ctx0" brushRef="#br0" timeOffset="52249.56">5675 11112 0,'0'0'0,"-26"67"15,13-28 1,13-25 0,13 12-16,-13-13 15,13-13-15,27 27 0,-27-27 16,0 0-16,0 0 15,14 0-15,-27-14 16,-13 1 0,-1 13-1,1 0 1,-26-13-16,-14 13 16,13 0-1</inkml:trace>
  <inkml:trace contextRef="#ctx0" brushRef="#br0" timeOffset="52793.66">1654 11972 0,'-14'67'16,"14"-54"-16,0 13 16,0 80-1,0-79-15,0 12 0,0-12 16,0-14-16,0 13 15,0 1-15,0-14 0,0 0 16</inkml:trace>
  <inkml:trace contextRef="#ctx0" brushRef="#br0" timeOffset="53051.58">1601 11919 0,'39'-13'15,"14"26"-15,-145-13 16,211 14-16,-119-1 0,13 0 16,-13 0-16,13 14 0,-13-1 15,0-12-15,-26 25 0,26-12 16,-13-14-16,-14 27 15,-26-14 1,53-13-16,-26 1 0</inkml:trace>
  <inkml:trace contextRef="#ctx0" brushRef="#br0" timeOffset="53312.3">2037 11827 0,'-92'106'0,"78"-67"16,1-12-16,-13 52 16,26-52-16,0 26 15,0 0-15,13-40 0,-13 13 16,26 14-16,1 0 15,13-27-15,-27 0 16,27-13-16,-14 13 16,-13-26-16</inkml:trace>
  <inkml:trace contextRef="#ctx0" brushRef="#br0" timeOffset="53630.27">2328 12039 0,'-13'26'16,"0"0"-1,-14 14-15,1-13 16,-14 26-16,1-14 16,25-26-16,1 14 15,0-27-15,13 13 0,-13-13 16</inkml:trace>
  <inkml:trace contextRef="#ctx0" brushRef="#br0" timeOffset="53825.96">2117 12158 0,'0'-14'15,"26"28"-15,-13 12 16,1-13-1,12 14-15,-13-1 16,0-13 0,1-13-16,-1 14 15,0-1-15,14-13 16</inkml:trace>
  <inkml:trace contextRef="#ctx0" brushRef="#br0" timeOffset="54021.99">2606 12052 0,'27'-13'0,"-14"13"15,13 0 1,-12 0-1,-14 13-15</inkml:trace>
  <inkml:trace contextRef="#ctx0" brushRef="#br0" timeOffset="54183.33">2633 12171 0,'13'13'31,"0"-13"-31,0-13 15,53 0 1,-39 13-16,-159 13 16,330-40-16,-171 14 0</inkml:trace>
  <inkml:trace contextRef="#ctx0" brushRef="#br0" timeOffset="54592.23">3096 11972 0,'26'0'16,"-13"27"-1,-13-14 1,14 14 0,-1-27-16,-13 13 0,13-13 15,-13 13-15,13-13 0,-13 13 16,0 0-16,0 1 15,0-1-15,-13 0 16,0 0-16,0 1 16,-1-1-16,1-13 15,0 0-15,-14-13 16,14-1-16</inkml:trace>
  <inkml:trace contextRef="#ctx0" brushRef="#br0" timeOffset="54800.71">3162 11814 0,'53'13'0,"-106"-26"16,159 52-16,-93-25 0,0-1 16,0 0-16,1 27 0,-1-1 15,-13-25-15,0 12 16,0 1-16,-13 12 0,-1 27 15,1-52 1,13 12-16,0-13 0</inkml:trace>
  <inkml:trace contextRef="#ctx0" brushRef="#br0" timeOffset="55068.94">4061 11933 0,'27'13'16,"-1"-13"-16,-12 13 0,12-13 16,0 0-16,-12 0 15,-1 0-15,0 13 0</inkml:trace>
  <inkml:trace contextRef="#ctx0" brushRef="#br0" timeOffset="55229.22">4088 12091 0,'0'14'16,"40"-28"15,-14 14-31,0-13 16,1 13-16,26-13 16,-27 13-16,1-13 0,-1 13 0</inkml:trace>
  <inkml:trace contextRef="#ctx0" brushRef="#br0" timeOffset="55526.12">5040 11642 0,'0'39'0,"-13"-25"0,13 25 16,-13 1-16,-14 0 15,14-1 1,13-25-16,0-1 0,0 0 0,0 0 15,0 0-15</inkml:trace>
  <inkml:trace contextRef="#ctx0" brushRef="#br0" timeOffset="55766.2">5265 11748 0,'-39'0'15,"12"13"1,14 0-16,0 0 0,-14 0 0,14 1 16,-14 12-16,1-13 0,-14 14 15,27-1-15,-13-13 0,12 1 16,-12 12-16,13-13 0,-1 1 16,1-1-16,0 0 0,13 0 15,-13 1-15,0-1 0,13 0 16,0 0-16</inkml:trace>
  <inkml:trace contextRef="#ctx0" brushRef="#br0" timeOffset="56068.48">5278 11959 0,'-13'0'0,"-13"0"15,13 13-15,-1-13 0,-12 14 16,13-1-16,-40 27 16,39-14-16,1 0 0,13-12 15,0 25-15,13-25 16,1-1-16,-1-13 16,27 0-16,-27 0 0,13 0 15,-12 0 1,-1-13-16,-13-1 15,0 1-15,0 0 16,-13 13-16,-1 0 16,-25 0-16,12 0 0,-13 0 15,1 0-15,-14 13 0</inkml:trace>
  <inkml:trace contextRef="#ctx0" brushRef="#br0" timeOffset="56431.18">2633 12594 0,'-14'27'16,"14"-14"0,-13-13-16</inkml:trace>
  <inkml:trace contextRef="#ctx0" brushRef="#br0" timeOffset="56553.22">2712 12832 0,'0'14'16,"-13"-1"-16,26-40 15,-26 67 17</inkml:trace>
  <inkml:trace contextRef="#ctx0" brushRef="#br0" timeOffset="57080.01">3506 13070 0,'0'27'15,"0"-1"-15,0 14 16,0 0-16,0-14 15,13 14 1,-13-27-16,0 0 0,0 14 16,0-14-16,0 0 0,13-13 15,-13 13-15,0 1 16</inkml:trace>
  <inkml:trace contextRef="#ctx0" brushRef="#br0" timeOffset="57364.92">3479 13018 0,'66'-14'0,"-52"14"16,-1 14-16,0-1 15,0-13-15,1 13 0,-14 0 0,13 0 16,-13 14-16,0-14 16,-13 0-16,13 1 0,-14-1 15,14 0-15,-13 0 0,13 0 0,-13-13 16,0 14-16,-1-14 16,14 13-16,-13-13 15</inkml:trace>
  <inkml:trace contextRef="#ctx0" brushRef="#br0" timeOffset="57746.05">3956 12965 0,'-93'79'15,"80"-39"1,-1-14-16,14 1 0,-13 12 0,13 14 16,0 0-16,13-26 15,-13-14-15,14 13 0,-1-13 16,13 27-16,-12-27 0,39 1 16,-40-1-16,13-13 15,-13 0-15</inkml:trace>
  <inkml:trace contextRef="#ctx0" brushRef="#br0" timeOffset="57951.27">4366 13097 0,'-27'13'16,"14"14"-16,0-14 15,-1 0-15,1 13 0,0-12 0,0-1 16,-14 27-16,27-14 16,-13-13-16,0 14 0,0-14 0,-14 27 15,14-27 1</inkml:trace>
  <inkml:trace contextRef="#ctx0" brushRef="#br0" timeOffset="58163.1">4101 13203 0,'0'-14'0,"13"28"31,-26-14-31,53 26 16,-27-13-16,0 1 15,-13-1-15,13 0 0,27 14 16,-27-14-16,1 0 0,12 0 15,-13 0-15,0-13 0,1 0 16</inkml:trace>
  <inkml:trace contextRef="#ctx0" brushRef="#br0" timeOffset="58363.95">4485 13176 0,'13'-13'15,"0"13"1,14-13-16,-14 13 16,0 13-16,0-13 15</inkml:trace>
  <inkml:trace contextRef="#ctx0" brushRef="#br0" timeOffset="58535.26">4511 13348 0,'27'0'15,"-14"0"1,13-13-16,14 0 15,-27 13-15,0 0 16</inkml:trace>
  <inkml:trace contextRef="#ctx0" brushRef="#br0" timeOffset="59581.08">5040 13004 0,'-66'53'16,"53"-26"-16,0-14 16,13 0-16,0 27 15,0-14-15,0-13 16,26 27 0,-13-40-16,1 0 15,-1 13-15,0-13 0,-13-13 16,13 13-1,-39-13 1,13 0 0,-1 13-16,1 0 15,-13-14-15,12 1 16</inkml:trace>
  <inkml:trace contextRef="#ctx0" brushRef="#br0" timeOffset="59818.1">5014 12832 0,'132'133'15,"-119"-107"-15,1 14 16,-1 13-16,-13-27 0,0 40 15,-13-13-15,-1-13 16,14-14-16,0 1 16,0-14-16</inkml:trace>
  <inkml:trace contextRef="#ctx0" brushRef="#br0" timeOffset="60080.89">5503 13057 0,'40'0'16,"-40"-13"-16,13 13 16,14 0-16,-14 0 15,0 0-15,0 0 0,1 0 16</inkml:trace>
  <inkml:trace contextRef="#ctx0" brushRef="#br0" timeOffset="60248.99">5490 13229 0,'0'0'15,"0"13"1,27-13-16,-14-13 16,26 13-16,-25-13 0,-1 13 0,13 0 15,1-13-15,-14 13 16,14-14-16</inkml:trace>
  <inkml:trace contextRef="#ctx0" brushRef="#br0" timeOffset="60539.58">6324 12753 0,'0'119'31,"-14"-79"-31,14-27 16,0 13-16,0 14 15,0-13-15,0-14 0,0 0 0,0 0 16,14 0 0</inkml:trace>
  <inkml:trace contextRef="#ctx0" brushRef="#br0" timeOffset="60764.45">6760 12766 0,'-79'80'16,"52"-54"-16,-26 27 0,14-13 15,-1-1-15,-26 27 16,-14 14-16,28-14 0,25-40 16,1 1-16,12-14 0,1 0 15,0 1-15,13-1 0,-13 0 16,13 0-16</inkml:trace>
  <inkml:trace contextRef="#ctx0" brushRef="#br0" timeOffset="61161.23">6760 13137 0,'-132'145'15,"119"-118"1,13-1-16,0 0 15,13 1-15,0-14 0,0 0 0,14 1 16,12-14 0,-25 0-16,-1 0 0,0 0 15,14-14-15,-27 1 16,0-13-16,-14 12 16,1 14-16,0-13 15,-14 13-15,14-13 0,-26 13 16,25-13-16,1 13 0,0 0 0,0 0 15,-1 0-15,-12-13 16,13 13-16</inkml:trace>
  <inkml:trace contextRef="#ctx0" brushRef="#br0" timeOffset="62308.51">2540 10253 0,'-13'79'31,"0"-39"-15,13-27-16,0 0 0,-14 27 15,14-14-15,-13 1 16,0 12 0,13-25-1</inkml:trace>
  <inkml:trace contextRef="#ctx0" brushRef="#br0" timeOffset="62526.58">2487 10345 0,'-13'0'0,"-14"13"32,14-13-32,13 14 0,-13-1 0,0 0 15,-14 14-15,14-14 16,13 0-16,-13 0 0,13 1 0,-13-14 15,13 13-15,-14 0 0</inkml:trace>
  <inkml:trace contextRef="#ctx0" brushRef="#br0" timeOffset="62669.33">2408 10398 0,'13'-13'15,"13"0"-15,-12 13 16,25 13 0,-25-13-16</inkml:trace>
  <inkml:trace contextRef="#ctx0" brushRef="#br0" timeOffset="63111.98">2461 11351 0,'-14'39'16,"1"1"-1,13-27-15,-13 27 16,13-27 0,0 0-16</inkml:trace>
  <inkml:trace contextRef="#ctx0" brushRef="#br0" timeOffset="63280.23">2487 11324 0,'-40'27'15,"27"-14"-15,0-13 0,0 13 16,-1 0-16,1 1 0,0-14 15,13 13-15,0 0 0,-13-13 0</inkml:trace>
  <inkml:trace contextRef="#ctx0" brushRef="#br0" timeOffset="63396.1">2421 11377 0,'13'0'0,"-26"0"15,39 0-15,1 0 16,-14 0-16,0 0 15,1 13-15</inkml:trace>
  <inkml:trace contextRef="#ctx0" brushRef="#br0" timeOffset="63859.57">2262 12356 0,'-26'53'16,"26"-40"-1,-14 53-15,14-39 0,-13-1 16,13 1-16,0-14 16,-13 0-16,13 14 0,0-14 15</inkml:trace>
  <inkml:trace contextRef="#ctx0" brushRef="#br0" timeOffset="64040.11">2143 12435 0,'-26'0'0,"12"14"16,1-1-16,0-13 0,13 13 15,-13 0-15,13 1 0,-13-14 0,13 13 16,-14 0-16</inkml:trace>
  <inkml:trace contextRef="#ctx0" brushRef="#br0" timeOffset="64203.35">2222 12343 0,'67'26'15,"-54"-13"-15,27 1 0,-27-14 16,0 0-16</inkml:trace>
  <inkml:trace contextRef="#ctx0" brushRef="#br0" timeOffset="65278.97">6562 7316 0,'92'13'15,"-39"0"-15,-13-13 0,39 13 0,-13 1 16,14-1-16,12 0 0,80 0 16,53 14-16,-132-14 15,39-13-15,-39 13 0,132 0 16,-120-13-16,28 14 0,-41-14 16,14 0-16,66 13 0,-79-13 15,-14 0-15,53 13 16,-92-13-16,13 0 0,-26 0 0,12 13 15,-26-13-15</inkml:trace>
  <inkml:trace contextRef="#ctx0" brushRef="#br0" timeOffset="65913.82">6734 7554 0,'185'13'16,"-13"-13"-16,159 13 31,-199-13-31,-13 0 0,-13 14 0,26-14 16,0 0-16,1 13 0,65-13 15,-92 13-15,-14-13 0,-12 0 16,-1 13-16,1-13 0,-14 0 0,26 0 16,-25 13-16,-41-13 15,-13 0-15,0 0 0,14 0 16,-1 0-16,-12 0 16,-1 0-16,0 0 15,0 0-15,1 0 31,-14-13-31,13 13 16,0 0 0,-13-13-1,13 0 32,-13 0 16</inkml:trace>
  <inkml:trace contextRef="#ctx0" brushRef="#br0" timeOffset="73004">9260 2209 0,'27'-13'16,"-27"0"0,-13 0-1,-1 13-15,1-14 16,-13 1-16,-27-13 15,26 12 1,1 14-16,-40-13 16,39 13-1,-118 27 1,105-14-16,-53 27 0,41-14 16,-28 53-16,-26 67 15,40 13 1,40-67-16,39-12 15,-13-41-15,26 1 16,1 13-16,92 53 16,-13-40-16,-53-53 0,13 14 15,13-14-15,80 0 16,92-26-16,-13-14 16,-145 14-16,0 0 15,65-27-15</inkml:trace>
  <inkml:trace contextRef="#ctx0" brushRef="#br0" timeOffset="73479.77">12832 1799 0,'159'66'16,"-119"-39"-16,26 12 0,40 41 15,0-1 1,-27 14-16,-13-1 15,-39-39-15,-1 27 0,-26-41 16,-13 1-16,-67 119 16,41-119-16,-107 79 15,-26 0-15,-26-14 16,105-65-16,-13 0 0,-172 52 16,186-65-1</inkml:trace>
  <inkml:trace contextRef="#ctx0" brushRef="#br0" timeOffset="75673.25">4075 3916 0,'251'13'15,"-92"-26"1,-80 13-16,106-13 16,-105-1-16,12 14 0,1-13 15,-1 0-15,-12 13 0,158-27 16,-172 27-16,40-13 15,-27 0-15,-39 13 16,-14 0-16,14 0 16,-13 0-16,-14 0 0,0 0 15,0 0-15,1 0 16,-1-13-16,0 26 16,0-13-16,0-13 15,1 13 32,-1 0-16,0 0 79,-13 13-1,13-13-93</inkml:trace>
  <inkml:trace contextRef="#ctx0" brushRef="#br0" timeOffset="77689.25">7911 5702 0,'225'0'15,"-172"0"1,92 0-16,14 13 16,-66-13-16,92 0 0,-92 0 15,264 0-15,-225 0 16,14 0-16,131 0 16,292 13-1,-436-13-15,-1 0 0,0 0 0,80 13 16,-14 1-1,54-14-15,-133 13 16,-66-13-16,-14 0 16,41 0-1,-54 0-15,-13 0 0,1 0 16,-1 13-16,0-13 16,0 0-1,0 0-15,1-13 31,-1 13 1,0 0 124,0 0-125,-13-13 32</inkml:trace>
  <inkml:trace contextRef="#ctx0" brushRef="#br0" timeOffset="79428.67">2117 9446 0,'0'-14'16,"0"1"-16,0 0 15,0 0-15,-14-1 16,-12 1-16,-14-13 15,-13 13 1,27 13-16,-1-14 16,1 14-16,0 0 0,-14 0 0,-40 14 15,-25 25-15,52-12 0,-13-1 16,13 14-16,-93 79 16,106-66-1,-118 185 1,131-159-16,40-52 15,-13 12-15,53 28 0,40-14 16,105-1 0</inkml:trace>
  <inkml:trace contextRef="#ctx0" brushRef="#br0" timeOffset="80648">2394 10292 0,'27'-13'16,"-1"0"0,54 0-16,-14 13 15,-40 0 1,1-14-16,-1 14 0,40 0 15,-39 0-15</inkml:trace>
  <inkml:trace contextRef="#ctx0" brushRef="#br0" timeOffset="81024.38">2421 10385 0,'53'-13'16,"-13"13"-16,-14 0 15,0 0-15,14 0 16,53-14-16,-40 14 15,-14 0-15</inkml:trace>
</inkml:ink>
</file>

<file path=ppt/ink/ink19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5:20:15.065"/>
    </inkml:context>
    <inkml:brush xml:id="br0">
      <inkml:brushProperty name="width" value="0.05292" units="cm"/>
      <inkml:brushProperty name="height" value="0.05292" units="cm"/>
      <inkml:brushProperty name="color" value="#0070C0"/>
    </inkml:brush>
  </inkml:definitions>
  <inkml:trace contextRef="#ctx0" brushRef="#br0">6773 2434 0,'14'0'46,"-1"0"-14,13 0-32,1 0 15,-1 0-15,14 0 16,52 0-16,14 0 16,53 0-16,13 0 15,13 0-15,-26 0 16,0 0-16,-14 0 15,-26 0-15,0 0 16,80 0 0,-120 0-16,27 0 15,-27 0 1,27 0-16,0 0 0,0 0 16,-13 0-16,-1 0 15,-26 0 1,14 0-16,-27 0 0,-1 0 15,81 0 1,-80 0-16,52 0 16,-52 0-16,14 0 15,12 0-15,0 0 16,1 0 0,-27 0-16,-14 0 0,1 0 15,0 0 1,13 0-16,0 0 15,-1 0-15,41 0 16,-27 0-16,-13 0 16,26 0-16,-12 0 15,78 0 1,-92 0-16,0 0 16,13 0-16,-39 0 15,-1 0-15,-13 0 16,27 0-16,-27 0 15</inkml:trace>
  <inkml:trace contextRef="#ctx0" brushRef="#br0" timeOffset="5041.32">23151 4511 0,'40'-13'0,"-1"0"15,-12 13-15,13-14 16,26-12-1,-27 26-15,-25-13 16,12 13-16,-13 0 16</inkml:trace>
  <inkml:trace contextRef="#ctx0" brushRef="#br0" timeOffset="5216.62">23283 4538 0,'27'0'15,"-1"0"1,1 0 0,39-14-1,-53 14-15,14 0 0,-14-13 0,13 13 16,1 0-16,-14 0 0,0-13 16,0 13-16</inkml:trace>
  <inkml:trace contextRef="#ctx0" brushRef="#br0" timeOffset="7723.53">23389 5953 0,'93'-53'16,"-67"40"-16,1 0 0,12 0 15,-12-1-15,13 1 0,-1 0 0,1 0 16,13-14-16,-40 27 16,0 0-16,0-13 0</inkml:trace>
  <inkml:trace contextRef="#ctx0" brushRef="#br0" timeOffset="8762.78">19685 7223 0,'13'0'16,"-39"0"-1,-1 0 1</inkml:trace>
  <inkml:trace contextRef="#ctx0" brushRef="#br0" timeOffset="9175.82">20757 7210 0</inkml:trace>
  <inkml:trace contextRef="#ctx0" brushRef="#br0" timeOffset="10802.92">20002 8533 0,'-13'0'15,"0"-13"-15</inkml:trace>
  <inkml:trace contextRef="#ctx0" brushRef="#br0" timeOffset="11026.82">20955 8520 0,'-13'-27'15,"26"14"1</inkml:trace>
  <inkml:trace contextRef="#ctx0" brushRef="#br0" timeOffset="11195.98">21788 8572 0,'0'-13'15</inkml:trace>
  <inkml:trace contextRef="#ctx0" brushRef="#br0" timeOffset="12355.93">19738 9737 0</inkml:trace>
  <inkml:trace contextRef="#ctx0" brushRef="#br0" timeOffset="14127.83">19659 11139 0,'0'13'0,"13"-13"16</inkml:trace>
  <inkml:trace contextRef="#ctx0" brushRef="#br0" timeOffset="14436.89">20809 11073 0</inkml:trace>
  <inkml:trace contextRef="#ctx0" brushRef="#br0" timeOffset="16124.08">19659 12502 0,'13'0'15,"0"-14"1</inkml:trace>
  <inkml:trace contextRef="#ctx0" brushRef="#br0" timeOffset="16395.59">20518 12382 0</inkml:trace>
  <inkml:trace contextRef="#ctx0" brushRef="#br0" timeOffset="16614.93">22027 12449 0</inkml:trace>
  <inkml:trace contextRef="#ctx0" brushRef="#br0" timeOffset="18990.86">23178 13375 0,'0'-14'32,"-14"14"-17,1 0-15,-13 0 16,12 0-16,1 0 15,0 0-15,0 0 0,-1 14 16,-38-1-16,38 0 0,-12 0 0,-1 14 16,1-1-16,-1 1 15,-25 39-15,38-40 0,-12 27 16,13-26-16,-27 52 0,40-39 16,-13-1-16,13 1 0,-14-13 15,14-1-15,14 27 0,-1-13 16,0-14-16,0-13 15,14 1-15,-14-1 0,40 0 16,-13 0-16,-1-13 16,-12 0-16,-1 0 0,14-13 15,13 0-15,-27-14 16,27 1-16,-26-1 16,-14 1-16,27-27 15,-1 0-15,-25 27 0,-1-27 16,-13 40-16,0-14 15,0 1-15,-13-1 0,13 14 0,-14-14 16,14 1-16,-39-27 16,-14 13-1,0-12-15,26 38 16,1 1-16,-14-13 0,14 12 16,13 14-16,-1-13 0,1 13 15,13-13 1</inkml:trace>
  <inkml:trace contextRef="#ctx0" brushRef="#br0" timeOffset="30747.02">6588 6125 0,'40'-13'32,"-27"13"-32,0 0 15,14 0-15,-1 13 0,1-26 0,12 13 16,14 0-16,0 0 0,0 0 16,79 0-16,-52-13 0,-14 13 15,0 0-15,-13 0 0,66 0 16,-66 0-16,13 0 0,-13 0 15,0 0-15,40 0 0,-14 0 16,-13 0-16,-53 13 16,14-13-16,-1 0 0,-13 0 15,1 0-15,-1 0 0,0 0 16,0 0-16,1 0 0,-54 0 47</inkml:trace>
  <inkml:trace contextRef="#ctx0" brushRef="#br0" timeOffset="31151.75">6588 6204 0,'53'0'16,"13"0"-16,-13 14 16,13-14-16,0 0 0,93 0 15,0 13-15,-80-13 16,1 0-16,78 0 0,54 0 31,-106 13-31,0-13 0,-67 0 16,-12 0-16,13 0 0,-27 13 15,13-13-15,14 0 16,0 0-16,-27 0 16,-13 14-16,13-14 0,0 0 15,1 0-15,-1 0 16,0 0 15</inkml:trace>
  <inkml:trace contextRef="#ctx0" brushRef="#br0" timeOffset="32920.53">6681 5398 0,'26'-14'31,"14"14"-31,13 0 15,-14 0-15,14 0 0,14-13 16,52 13-16,-66 0 16,79 0-16,-66-13 0,-13 13 0,0 0 15,53 0-15,-53 0 16,-14 0-16,-12 0 0,12 0 16,-12 0-16,39 0 15,-40 0-15,1 0 0,-14 0 16,0 0-16,1 0 15,-54 0 17</inkml:trace>
  <inkml:trace contextRef="#ctx0" brushRef="#br0" timeOffset="33342.81">6906 5450 0,'39'0'0,"27"0"16,-26 0-16,119 0 15,-106 0-15,0 0 0,0 0 16,0 0-16,-1 0 16,54 14-16,-66-14 0,0 0 0,-1 0 15,-12 0-15,52 0 16,-52 0-16,-14 13 16,0-13-16,14 0 0,-14 0 0,0 0 15,0 0-15,1 0 16,-1 0-16,0 0 15,0 0 1,-13 13-16,13-13 16</inkml:trace>
  <inkml:trace contextRef="#ctx0" brushRef="#br0" timeOffset="36859.07">7646 5887 0</inkml:trace>
  <inkml:trace contextRef="#ctx0" brushRef="#br0" timeOffset="37364.47">8281 5913 0,'-26'0'31</inkml:trace>
  <inkml:trace contextRef="#ctx0" brushRef="#br0" timeOffset="38656.64">8453 5212 0,'80'27'16,"-67"-27"-16,13 13 15,-12-13-15,12 0 0,-13 13 16,1-13-16,12 13 0,-13-13 15,1 14-15,-1-14 0,0 13 0,0 0 16,0-13 0,-13 13-16,14-13 0,-14 14 0,0 12 15,13 1 1,-13-14-16,0 0 0,13 0 0,-13 27 16,0-27-16,13 27 15,-13-14-15,0-13 0,0 14 0,0-1 16,14 1-16,-14-1 15,0 1-15,13-1 0,-13 1 0,0-1 16,13 1-16,-13-1 0,13 27 16,-13-27-16,0-12 0,0-1 15,14 27-15,-14-27 0,0 13 16,0-13-16,0 1 0,-14-1 16,14 0-16,-13 14 15,0-14-15,0 0 0,-14-13 16,-39 27-16,40-27 15,-1 0-15,-13 0 0,14 0 16,-27 0-16</inkml:trace>
  <inkml:trace contextRef="#ctx0" brushRef="#br0" timeOffset="39764.08">6562 5292 0,'-40'-27'16,"14"27"-16,12 0 0,1 0 16,0-13-16,0 13 0,-1 0 15,-25 0-15,25 13 16,1-13-16,0 0 0,0 0 0,0 0 0,-14 13 15,14-13-15,0 14 16,-1-14-16,14 13 0,-13-13 0,0 13 16,13 0-16,-13-13 0,-1 14 15,1 25-15,13-25 16,-13 12-16,13-13 0,0 27 16,0 0-16,0-14 15,0 0-15,0 1 0,0 13 16,0 26-16,-13-27 0,13 1 15,0-13-15,0 12 0,0-12 16,-13-1-16,13 1 0,0-1 0,0 1 16,-14-1-16,14 0 0,-13 14 15,13-27-15,-13 27 0,13-27 16,-13 1-16,13-1 16,-14 0-16,14 0 15,0 0 1,0 1-16,0-1 47,14-13-32,-1 0 1,13 0 0,-12 0-1,-1 0-15,13 0 0,-13 0 0,1 0 16,12 13-16,1-13 0,-14 0 0,13 0 15,1 0-15,12 13 16,-25-13-16,12 0 0,1 0 16,-1 0-16,-13 14 15,1-14-15,-1 0 0,0 0 16,0 0-16,0 0 16,1 0-1,-1 0 32,-13-14 62</inkml:trace>
  <inkml:trace contextRef="#ctx0" brushRef="#br0" timeOffset="40736.86">23376 4379 0,'0'13'16</inkml:trace>
  <inkml:trace contextRef="#ctx0" brushRef="#br0" timeOffset="41059.86">23125 5556 0</inkml:trace>
  <inkml:trace contextRef="#ctx0" brushRef="#br0" timeOffset="41392.94">22820 7091 0,'0'-27'16,"14"27"0,-14-13-1,13 13 1,0 13-16,-13 1 15,13-14-15,-13 13 0</inkml:trace>
  <inkml:trace contextRef="#ctx0" brushRef="#br0" timeOffset="41652.87">22807 8758 0,'13'0'31,"1"0"-31,-1 0 0,0 0 16</inkml:trace>
  <inkml:trace contextRef="#ctx0" brushRef="#br0" timeOffset="47110.04">8930 7117 0,'-14'0'15,"28"14"-15,25-1 16,-25-13-16,12 13 15,40 0-15,-13 0 16,27 1-16,25-1 16,-52-13-16,0 13 0,0-13 0,13 0 15,14 13-15,-14-13 0,0 14 16,0-14-16,0 0 0,-13 13 16,66 0-16,-53-13 0,0 0 15,106 26-15,-105-26 16,-14 0-16,-1 14 0,1-14 0,0 0 15,0 13-15,0-13 0,13 0 16,-13 0-16,-13 13 0,13-13 0,0 0 16,39 0-16,-39 0 15,13 13-15,-13-13 0,-13 0 16,0 0-16,39 0 16,-39 0-16,39-13 0,-52 13 15,65 0-15,-52-13 16,-14 13-16,14-13 0,-14 13 0,1 0 15,13-14-15,-1 14 0,1-13 16,-14 13-16,41-26 0,-41 26 16,0-13-16,1-1 0,26 1 15,0-13-15,13-1 16,-53 14 0,14 0-16,-14 0 0,0-1 0,13 1 15,-12 0-15,-1 0 0,13-1 0,1-25 16,-14 25-16,0 1 0,1 0 15,12-13-15,-26 12 0,13-12 16,-13 13-16,13-1 0,-13 1 16,0-13-16,0 12 0,0-12 15,0 0-15,0 12 0,0-12 0,-13-14 16,0 27 0,-13-40-16,-14 0 0,13 40 15,1-14-15,13 14 0,-14-13 16,-39-14-16,40 27 15,-14 0-15,0-1 0,-39-12 16,0-1-16,26 14 16,13 0-16,-13 0 0,0 0 0,-39-1 15,39 1-15,-14 0 0,15 0 16,-1 13-16,0-14 0,0 14 16,0-13-16,0 13 0,-53-13 15,53 13-15,13-13 0,-12 13 0,-41-14 16,40 14-16,0 0 15,13-13-15,-12 13 0,-1 0 0,13 0 16,-26 0-16,26 0 16,-26 0-16,26 0 0,14 0 15,-14 0-15,14 0 0,-67 0 16,53 13 0,14-13-16,-1 0 0,1 0 0,-27 0 15,27 0-15,-1 14 0,-13-14 16,14 0-16,0 13 0,-27-13 15,26 0-15,1 13 0,-1-13 16,-26 13-16,27-13 0,-14 0 16,-13 14-1,40-14-15,-13 13 0,12-13 0,-12 0 16,-14 13-16,27-13 0,-13 0 16,12 0-16,1 13 0,-40 1 15,27-14-15,-27 0 16,40 13-1,-1-13-15,-12 0 0,-1 0 16,1 13-16,13-13 0,0 0 16,-1 13-16,1-13 0,0 0 0,0 0 15,-1 13-15,1-13 0,0 0 16,-14 14-16,14-14 16,0 13-16,-13-13 0,12 13 15,1-13 1,0 13-16,0-13 0,13 14 15,-14-14-15,1 0 0,0 13 16,0 0-16,-1-13 0,14 13 16,-13 1-16,0-14 0,-13 26 15,-1 0-15,14-12 16,0 12-16,-1-13 0,-12 14 16,13-1-16,-1-12 0,1 12 15,0 14-15,0-27 16,13 13-16,-13 14 0,13-14 15,0-12-15,13 12 0,-13 1 16,0-1-16,26 27 0,14 0 16,-14-27-16,1 1 15,26 13-15,-27-27 0,14 13 16,53 1-16,12-1 16,-52-13-16,0 1 15,0-14-15,40 13 0</inkml:trace>
  <inkml:trace contextRef="#ctx0" brushRef="#br0" timeOffset="48448.98">14631 635 0,'40'40'16,"-40"-1"-16,0-25 15,0 52 1,0-27-16,0 1 15,0-13-15,0-1 16,0 0-16,0-12 16,0 12-16,0-13 31</inkml:trace>
  <inkml:trace contextRef="#ctx0" brushRef="#br0" timeOffset="48744.41">15108 754 0,'-40'40'15,"14"-1"1,-1-12-16,-66 65 15,-12 28 1,-1-1 0,79-93-16,-39 53 15,27-26 1,12-13-16,1-27 16,12 1-16,1-1 15,13 0-15</inkml:trace>
  <inkml:trace contextRef="#ctx0" brushRef="#br0" timeOffset="49082.92">15068 1138 0,'-66'53'16,"53"-27"-16,-1 1 16,-25 25-16,25 15 15,1-41-15,26 1 16,14 12 0,-1-26-1,1 1-15,-14-14 16,14-14-1,-41-12 1,1 13 0,0 13-16,0 0 0,-54-27 15,28 27 1</inkml:trace>
  <inkml:trace contextRef="#ctx0" brushRef="#br0" timeOffset="49881.8">14936 1984 0,'26'80'16,"-26"-54"-1,0-13-15,0 67 32,13-54-32,-13-13 15</inkml:trace>
  <inkml:trace contextRef="#ctx0" brushRef="#br0" timeOffset="50093.24">15293 2077 0,'0'0'16,"-53"40"-1,27-14-15,-27 14 16,13-14-16,-26 40 15,-40 27 1,27 0-16,52-80 16,-39 40-1,40-14-15,12-25 16,14-1 0</inkml:trace>
  <inkml:trace contextRef="#ctx0" brushRef="#br0" timeOffset="50408.77">15214 2394 0,'-53'53'0,"106"-106"0,-133 133 0,40-27 16,27-27-16,-13 40 15,13-26-15,13 0 16,13-14-16,13-13 16,1 1-1,26-14-15,-40 0 16,0-14-16,0 14 16,-13-13-16,14 0 0,-28 0 15,1 0 1,0 13-16,0 0 15,-1 0-15,1 0 16,0 0-16</inkml:trace>
  <inkml:trace contextRef="#ctx0" brushRef="#br0" timeOffset="50726.87">15147 3307 0,'0'0'16,"14"14"-16,-14-1 16,0 0-16,13 0 0,-13 14 0,0-14 15,0 53-15,-13-26 16,13-27-16,0 27 16,0-27-16,0 0 15</inkml:trace>
  <inkml:trace contextRef="#ctx0" brushRef="#br0" timeOffset="50961.49">15558 3307 0,'-40'40'15,"27"-14"-15,-40 27 16,0 40-16,-13-14 15,-1 14-15,28-53 0,-27 52 16,26-26 0,13-39-16,-12 26 15,26-40-15,13 0 0,-14 0 16,14 1 0</inkml:trace>
  <inkml:trace contextRef="#ctx0" brushRef="#br0" timeOffset="51268.75">15452 3916 0,'-27'13'0,"-12"40"16,105-119-16,-159 172 15,80-93-15,0 40 16,13-40-16,0 40 15,13-40-15,13 14 16,14-14-16,-27-13 0,14 0 16,-14 0-16,0 0 0,14-13 15,-14-1-15,0 14 16,-13-13 0,-26 0-1,-1 13-15,-13 0 16,27 13-16,0-13 15</inkml:trace>
  <inkml:trace contextRef="#ctx0" brushRef="#br0" timeOffset="52493.01">15253 503 0,'0'-27'15,"-13"1"-15,-13-1 16,-1 14-16,14 0 16,0 0-16,-80-27 0,80 27 15,-27 13-15,-13-13 16,-26 13-16,26 13 15,13 0-15,1-13 0,-14 26 0,13-12 16,-53 39-16,14 13 16,39-27-16,1 1 0,12 13 15,-52 93-15,39-27 16,0-14-16,27-38 16,13-15-16,-13 81 15,0-67-15,13 79 0,0 67 16,0-146-1,0-13-15,13 13 0,-13-13 16,0 0-16,13 66 0,14 0 16,-27-66-16,13 13 0,-13-13 15,26 66-15,-12 0 16,-14-79-16,13 13 16,40 159-16,-40-173 15,0 1-15,14 39 16,12 14-16,1 0 15,-14-1-15,1-39 16,-1 40-16,1-14 16,12 0-16,14 41 15,-26-54-15,-1-27 16,14 28 0,-14-41-16,41 67 0,-1-40 15,-13-1 1,13-12-16,13 0 15,-13-14-15,53 1 16,-92-14 0,39 0-16,-40 0 15,27 1-15,-39-14 0,52 0 16,-40 0 0,-13 0-16,27-14 15,0-25-15,-27-1 16</inkml:trace>
  <inkml:trace contextRef="#ctx0" brushRef="#br0" timeOffset="53503.67">15372 622 0,'53'79'16,"0"-26"-16,13 40 15,27 65 1,-53-78-16,-1-1 0,1 1 0,0 12 15,39 80 1,40 93-16,-92-186 16,12 0-16,67 107 15,-80-133-15,1 13 0,13-13 16,26 119-16,-27-67 16,-12-12-16,-14-53 15,-13-1-15,13 1 0,-13 13 16,14 26-16,-14 1 15,0-54-15,0 14 0,0 0 0,0-14 16,0 14-16,0-1 0,0 54 16,0 26-1,-14-26-15,14-40 16,-13 0-16,0 52 0,-14 1 16,14-53-16,-26 53 15,-14 0-15,39-66 16,-12 12-16,-1-12 0</inkml:trace>
  <inkml:trace contextRef="#ctx0" brushRef="#br0" timeOffset="58623.94">23310 4180 0,'26'-26'16,"-26"13"-1,13 0 1,-13-1-16,0 1 0,0 0 16,0-14-16,0 14 15,-13-13 1,13 12-16,-39-25 0,12 12 15,1 14-15,-1-13 0,1 12 16,-1 14-16,-26-13 16,27 0-16,-1 13 0,1 0 0,-14 0 15,1 13-15,-1 0 0,0 1 16,-26 25-16,26-12 0,1-1 16,-1 14-16,0 0 0,1 26 15,12-27-15,14-12 0,0 13 16,-1-1-16,14 1 0,0 26 15,14 0-15,12-26 16,-13-14-16,1 14 0,12-13 16,53 52-16,-39-66 15,-13 0-15,12 1 0,1-1 16,0 0-16,-1-13 0,28 0 16,25-13-16,-52 13 0,0-13 15,-1-1-15,1 1 0,26-13 16,-40-1-16,14 14 0,-13-13 15,-1-1-15,1 14 0,39-67 16,-40 54-16,1 0 16,-1-41-16,-13 41 15,14-40-15,-27 39 16,0-26-16,0 27 16,0 0-16,-27-41 15,27 41-15,-13 13 0,0-14 0,-27-26 16,27 27-1,0 13-15,-1-1 0,-25-12 16,12-1 0,14 14-16,0 13 15,0-13-15,-1 13 16,1 0-16,0-13 0,0 13 16,-1 0-16,1 0 15,0-13 1,0 13 31,0 0 31,39 0 47,-13 0-125</inkml:trace>
  <inkml:trace contextRef="#ctx0" brushRef="#br0" timeOffset="73420.67">3082 11404 0,'40'0'0,"-13"13"16,-1 0 0,-13-13-16,14 0 15,-14 13-15,13-13 0,-12 0 0,12 0 16,1 0-16,12 13 0,-12-13 15,12 0-15,-12 0 16,-1 0-16,1-13 0,-14 13 16,13 0-16,1 0 0,-14 0 0,14-13 15,65 0 1,-79 13-16,27-13 16,-13-1-16,-14 14 0,0 0 0,13-13 15,1 0-15,-1 0 16,-12 13-16,-1-14 0,0 14 15,-13-13-15,13 13 0,1-13 16,-1 0-16,-13-1 0,13 14 0,-13-13 16,0-13-1,0 13-15,0-1 0,0 1 0,0 0 16,0 0-16,-13-1 16,13 1-16,0 0 0,-13 0 15,13-1-15,-27-12 0,27 13 16,-26-14-16,12 14 0,1 0 15,0 0-15,-14-1 16,-12-12-16,12 13 16,14 0-16,0-1 0,-14 14 15,1-26-15,-14 13 16,27 13-16,-27-14 0,1 1 16,25 0-16,-12 13 15,13-13-15,-1 13 0,-12 0 16,0-14-16,12 14 15,-12 0-15,13 0 0,-1 0 0,1 0 0,0 0 16,-13-13-16,-1 13 16,14 13-16,0-13 0,-14 0 15,14 0 1,0 0-16,-1 0 0,1 14 16,0-14-16,0 0 0,-14 13 15,14-13-15,0 0 16,0 13-16,-1 0 15,1-13-15,0 0 0,-14 14 0,14-1 16,0-13 0,-13 26-16,12-12 15,1-14-15,0 26 0,0-26 16,13 13-16,0 0 0,-14 1 16,14-1-16,-13 0 0,13 14 15,0-1-15,0-13 16,0 0-16,0 1 0,0-1 15,13 53 1,1-39-16,-1-14 0,-13 0 16,13 0-16,14 14 15,-14-14-15,0 0 0,-13 0 0,26 1 16,-12-1-16,-1-13 16,0 13-16,0 0 0,1-13 15,12 27 1,1-27-16,-14 13 15,13-13 1,-13 13-16,1-13 16,-1 0-1,0 0 1,-13 13-16,13-13 31,1 0-15,-1 0 109,-13-13 172</inkml:trace>
  <inkml:trace contextRef="#ctx0" brushRef="#br0" timeOffset="74780.16">23984 4326 0,'14'0'0,"-1"0"15,-53 0 32,27 0-31,0 0-16,-27 0 0,27 0 16,0 0-16,-14 0 0,14 0 0,-14 0 15,14 0-15,-13 0 16,26 13-16,-13-13 15,-1 0-15</inkml:trace>
  <inkml:trace contextRef="#ctx0" brushRef="#br0" timeOffset="75075.42">23932 4207 0,'-80'26'15,"67"-12"-15,-27 12 0,27 0 16,13-12-16,-13-1 16,13 0-16,0 0 0,0 1 15,13-14-15,-13 13 0,13 13 0,0-12 16,1-1-16,12 0 15,-13 13-15,1-26 16,-1 0-16,0 14 0,0-1 16,1-13-16,-1 0 15,0 0-15,-13 13 0,13-13 16</inkml:trace>
  <inkml:trace contextRef="#ctx0" brushRef="#br0" timeOffset="75700.88">23138 4260 0,'26'26'16</inkml:trace>
  <inkml:trace contextRef="#ctx0" brushRef="#br0" timeOffset="81440.24">2103 11787 0,'14'0'0</inkml:trace>
  <inkml:trace contextRef="#ctx0" brushRef="#br0" timeOffset="81663.11">1984 11840 0,'14'0'0,"-1"13"0,13-13 16,1 0-1,-14 0-15,-13 14 16,13-14-16,0 0 0,1 0 16</inkml:trace>
  <inkml:trace contextRef="#ctx0" brushRef="#br0" timeOffset="82513.09">3082 11867 0,'0'-14'0,"27"14"15,-14 0-15,0 0 0,1 0 16,-1 0-16,0-13 15</inkml:trace>
  <inkml:trace contextRef="#ctx0" brushRef="#br0" timeOffset="87877.07">18058 5808 0,'26'0'31,"-12"0"-31,12 0 0,-13 0 16,14 0-16,12 0 0,-12 0 15,12 0-15,-12 0 0,26 0 16,-13 0-16,-1 0 0,41 0 0,-54 0 16,1 0-16,-1 0 0,0-14 15,1 14-15,-1 0 0,-12 0 16,-1 0-16,0 0 0,0 0 0,0 0 16,1 0-16,-1 0 0,0 0 15,0 0-15,1 0 16,-1 0-16,0 0 15,0 0 17</inkml:trace>
  <inkml:trace contextRef="#ctx0" brushRef="#br0" timeOffset="89534.89">18058 7210 0,'53'0'15,"13"0"1,-40 0-16,1 0 0,12 0 16,28 0-16,-1 13 15,0-13-15,-26 0 0,-14 0 16,40 0-16,-39 0 15,-1 0-15,-13 0 0,14 0 0,12 13 16,-25-13-16,-1 0 0,0 0 16,0 0-16,1 0 15,-1 0-15,0 0 0,0 0 16,1 0-16,-1 0 31,0 0 0,0 0 1</inkml:trace>
  <inkml:trace contextRef="#ctx0" brushRef="#br0" timeOffset="91099.85">18098 9962 0,'-14'0'15,"41"-14"1,-14 14-16,0 0 16,0 0-16,40 0 15,-26 0-15,26 0 0,-14 0 16,-12 0-16,13 0 16,-14 0-16,53 14 0,-52-14 15,-1 0-15,27 0 16,-40 0-16,1 0 15,-1 0-15,13 0 0,-12 13 16,-1-13 0,0 0-16,0 0 15,0 0 1,1 0 15,-1 0 16,-40-13 16,27-1-63</inkml:trace>
  <inkml:trace contextRef="#ctx0" brushRef="#br0" timeOffset="94350.27">2249 11827 0</inkml:trace>
  <inkml:trace contextRef="#ctx0" brushRef="#br0" timeOffset="97644.13">3043 12330 0,'39'-14'15,"-25"14"-15,-1 0 16,0 0-16,0 0 0,1 0 16,25 14-16,-26-14 0,14 0 15,-1 0-15,-12 0 0,12 13 16,1-13-16,-1 0 0,0 0 0,-12 0 15,12 0-15,1 0 0,-1 0 16,53-13-16,-52 13 16,-1-14-16,1 14 0,26-13 15,-14 13-15,-12-13 16,-14 13-16,14 0 0,-14-13 16,13 13-16,-13-14 0,1 14 15,-1-13-15,13 13 0,-12-13 0,-1 13 16,0-13-16,0 13 15,1 0-15,-1-13 0,-13-1 0,13 14 16,0-13-16,-13 0 16,0 0-16,0-1 15,0-12 1,-13 13-16,0-1 16,13 1-16,-27 0 15,14-13-15,0 26 0,0-14 16,-1 1-16,-12 13 0,13-13 15,-1 13-15,1-13 0,0-1 0,-13 14 16,12-13-16,1 13 0,-13-13 16,-14 0-16,0-1 15,27 14-15,-27-13 16,27 0-16,-13 13 16,-14-13-16,0 13 15,14-13-15,-27-1 16,40 14-16,-1 0 15,-12 0-15,-14 0 16,14-13-16,13 13 16,-14 0-16,1 0 15,12 0 1,-12 13-16,13-13 16,-14 0-1,14 0-15,0 14 0,0-14 16,-1 0-16,1 13 15,-40 13 1,40-13 0,-13 1-16,-1 12 15,14-26-15,13 13 16,-27 1-16,14-1 16,0 0-16,0 0 15,13 1-15,0-1 16,13 0-1,13-13-15</inkml:trace>
  <inkml:trace contextRef="#ctx0" brushRef="#br0" timeOffset="100219.93">17462 8493 0,'-13'13'16,"40"-26"31,-14 0-47,0 13 0,0-13 0,40-1 15,-26 1-15,26 0 16,-27 0-16,1 0 0,-1-1 16,27 1-16,-13 0 15,-14 0-15,-13-1 0,14 14 16,-27-13-16,13 13 16,0 0-16,-39 13 31,13-13-16,-14 14-15,-13-1 16,-26 0-16,40 0 0,-14 1 16,14-1-16,-14 0 0,-13 13 15,27-26-15,-1 14 0,-13-1 16,27 0-16,-13-13 16,-1 13-16,14-13 15,0 14-15,0-14 0,-1 13 16,28-13 31,12 0-32,-13-13-15,1 13 16,-1-14-16,0 14 0,0 0 0,0 0 16,1 0-16</inkml:trace>
  <inkml:trace contextRef="#ctx0" brushRef="#br0" timeOffset="101524.93">17264 11284 0,'-13'0'16,"53"-13"15,-27 13-15,0-13-16,13 0 0,1 0 0,-1-1 15,40-25-15,-26 25 16,-13 1-16,12-13 0,1 12 0,-14 1 0,14-13 16,13-1-16,-26 14 0,-14 13 15,13-13-15,-13 0 16,14-1-16,-14 14 0,0-13 16,1 0-16,-1 13 15,-53 0 16,14 13-31,-1 0 16,14-13-16,-13 14 16,-14-1-16,13 13 0,-12-12 0,12-1 0,-65 40 15,65-40 1,14 0-16,-14 0 0,1 14 16,0-14-16,12 14 15,1-27-15,13 13 16,13 0-1,1-26 1,-1 13-16,13-13 0,14-1 16,0-12-16,-14 13 15,1-1-15,12 1 0,-26 0 16,14 0-16,-14 13 0,14-14 16,-14 1-16,13 0 15,-12 13 1,-14-13-16</inkml:trace>
  <inkml:trace contextRef="#ctx0" brushRef="#br0" timeOffset="102944.94">17291 12607 0,'66'-53'15,"-13"14"-15,-27 12 16,-13 14-16,53-13 15,-13-14-15,-26 27 0,12-14 16,-25 27-16,-1-13 16,13 0-16,-12 0 0,-1 13 15,0-14-15,-39 41 47,-1-14-47,14 0 0,-27 0 16,1 1-1,12-1-15,14 0 0,-14 0 0,1 1 16,-27 12-16,0-13 16,27 1-16,12-1 0,-25 0 15,12 0-15,14-13 16,0 0-16,13 13 0,-13-13 0,-1 0 16,14 14-16,27-28 31,-27 1-16,13 13-15,14-13 0,-14 0 0,13 13 16,-13-13-16,27-14 0,13 1 16,-27 12-16,1 1 15,-14 0-15,27 0 0,-14-1 16,-12 1-16,-1 13 16,0-13-16,0 13 0,0 0 0,-13-13 15,14 13-15,-1-13 16,0 13-1</inkml:trace>
  <inkml:trace contextRef="#ctx0" brushRef="#br0" timeOffset="106051.17">1931 12779 0,'27'14'47,"-1"-14"-47,-12 0 16,-1 0-16,0 0 0,14 0 16,-1 0-1,27-27-15,-40 27 16,14-13-16,-14 13 0,26-27 15,-25 27 1,-14-13-16,13 0 0,0 13 0,-13-13 16,13 0-16,-13-1 15,14 1-15,-14 0 16,0 0-16,13 13 0,-13-14 0,0-12 16,0 13-1,0-1-15,0 1 0,0 0 0,0 0 16,0 0-16,0-14 0,-13 14 15,13 0-15,-14-14 16,1 1-16,0 12 16,13 1-16,-13 13 0,-1-13 15,1 0-15,0 13 0,0-13 16,0-1-16,-14 1 0,14 13 16,0-13-1,-1 13-15,1 0 16,0 0-16,13-13 0,-13 13 15,0 0-15,-1 0 16,1 0-16,0 0 16,0 0-1,-1 0-15,1 0 16,0 0-16,0 13 31,-1-13-31,1 13 16,0-13-16,13 13 15,-13 1-15,0-14 16,13 13-16,-14 0 0,14 0 0,-13 0 16,0 1-16,13-1 0,-13 0 15,13 0-15,-14 27 0,1 13 16,0-13-16,0-1 16,13-12-16,0-1 15,0 27-15,13-13 16,-13-27-16,13 0 15,0 14-15,1-1 16,-1-12-16,13-1 16,-12-13-16,-1 0 0</inkml:trace>
  <inkml:trace contextRef="#ctx0" brushRef="#br0" timeOffset="108239.1">19804 13877 0</inkml:trace>
  <inkml:trace contextRef="#ctx0" brushRef="#br0" timeOffset="108549.01">21180 13772 0,'-13'-14'16</inkml:trace>
  <inkml:trace contextRef="#ctx0" brushRef="#br0" timeOffset="111416.2">2963 12859 0,'14'13'32,"12"0"-32,40 14 31,-39-27-31,-1 13 0,1-13 0,12 0 16,27 13-16,-39-13 0,13 0 15,-14 0-15,53 0 0,-39 0 16,39-13-16,1-14 15,-54 14-15,14 13 16,-14-13-16,41-13 0,-28-1 16,-12 27-16,12-26 15,-25 12-15,-1 1 0,0 13 16,14-26-16,-14-1 16,0 1-16,-13 13 15,0-1-15,0-12 16,0-1-16,0 14 0,0 0 15,-13 0-15,13-14 16,-13 1-16,-1 26 16,1-40-16,0 40 15,13-13-15,-13 0 0,-1-1 16,14 1-16,-26-13 16,13 26-16,-14-27 15,14 1 1,0 26-16,0-13 15,13-1-15,-14 14 0,1-13 16,0 0-16,0 0 16,-1 13-16,1-14 0,0 1 15,-14 0 1,14 13-16,0-13 16,0 13-16,-14-13 15,-12 13 1,12-14-16,-13 14 15,14-13 1,-27 13-16,27-13 16,12 13-16,-12 0 15,0 0 1,-1 0-16,14 0 31,-14 0-31,14 0 16,0 0-1,0 13-15,-1-13 16,1 13-16,-13-13 16,13 0-16,-1 14 15,1-1-15,-27-13 16,27 13-16,-27 0 16,27 0-16,0-13 15,-27 14-15,14 12 16,-14 14-1,14-14 1,13-13-16,-27 67 16,27-40-16,-1-14 15,14 14-15,0-14 16,0 1-16,0-1 0,53 80 16,-39-80-1,38 14 1,-38-27-16,25 14 0,14-1 15,-26-26-15,26 13 0,0-13 16,26 0 0</inkml:trace>
  <inkml:trace contextRef="#ctx0" brushRef="#br0" timeOffset="115596.04">1177 10901 0,'14'-13'94,"-28"-1"-63,1 14-31,0 0 16,0 0-1,-1 0-15,1 14 0,0-1 16,0-13-16,0 13 0,-1 14 16,-12-1-16,13 0 0,-1 1 15,1-1-15,0 1 0,13 12 16,-13 14-16,13 14 15,13-41 1,-13-13-16,26 40 16,1-13-1,-14-27-15,0 0 0,14 1 16,12-14-16,1 0 16,-27 0-16,27-14 15,-27 1-15,1 13 16,-1-13-16,26 0 0,-25-1 15,12-12-15,14-1 16,-40 14-16,26 0 16,1-13-16,-27 12 0,13-12 15,0 13 1,0-1-16,-13 1 0,14 0 16,-14 0-16,0-1 0,13 1 15,-13 0-15,0 0 0,0 0 16,0-14-16,0 1 15,0 12-15,-13 1 16,13 0-16,0 0 16,-14 0-16,1-1 0,-13-12 15,13 13 1,-1-1-16,1 14 0,-13-26 16,-1 13-1,14 13-15,0-14 16,-1 14-16,-12 0 15,13 0-15,-14-13 16,1 13-16,-1 13 16,1-13-16,13 0 15,-14 14-15,-12-1 16,25 0-16,1-13 16,0 0-16</inkml:trace>
  <inkml:trace contextRef="#ctx0" brushRef="#br0" timeOffset="117445.14">3889 5622 0,'-26'-39'16,"-1"25"-1,1 1-15,0 0 16,12 0-16,1 13 15,-13-13-15,-54-27 16,14 13-16,26 14 0,14 0 16,-14 0-16,-26 0 15,-13-1 1,52 14-16,-92-13 0,93 13 16,-14 0-16,-26 0 15,26 13-15,-39 1 16,-27 25-16,40 1 15,39-27-15,-52 53 16,39-13-16,14 0 16,13-26-16,-1-14 15,14 13-15,-26 54 16,26-41-16,0 14 16,13 0-16,0 13 15,27 0-15,-27-39 16,80 52-1,-14-26-15,-39-40 16,119 54-16,-106-54 16,132 40-16,-53-40 15,-66 0 1,67 14-16,-1-27 0,0 13 16,-66-13-16,40 13 15,-40-13-15,120-13 16,-54 13-1,40-27-15,-106 14 16,0 0-16,-26 13 0,26-13 16,93-27-16,-53 14 15,-27-1-15,-26 14 16,13-14-16,40-26 16,-53 27-1,13-14 1,-26 1-16,-27 25 15,0 1-15,40-53 16,-27 13-16,-12 27 16,-1-14-16,0 14 15,0-41-15,1 54 16,-14-13-16,0-1 16,13-12-16,-13-1 15,0 0 1,0 14-16,-13 12 15,13 1-15,-40-66 16,27 52-16,-40-25 16,26 25-16,-65-52 15,39 52-15,-93-52 16,-26 26 0,106 40-16,0-1 15,-13 14-15,-437-13 16,330 26-1,67 1-15,0 12 16,-92 14-16,-41 39 16,107-13-16,79-39 15,13-1-15</inkml:trace>
  <inkml:trace contextRef="#ctx0" brushRef="#br0" timeOffset="118957.08">4048 11073 0,'66'-53'16,"-52"53"-16,12-13 0,0 13 15,1 0-15,-1 13 16,-26 0 0,14 0-16,-14 1 0,0 12 0,-14 80 15,1-14 1,0-25-16,0-14 16,13-14-16,-27 199 31,27-185-16,40-13-15,-27-40 0,27 13 16,-27-13 0,40-26-1,-13-1-15,-1-12 0,-25 25 16,-14 1-16,26 0 16,-13-14-1,-13 14-15,-13 40 31,13-14-31,-13 40 16,13 13-16,0-13 0,0-13 16,26 105-1,14-39-15,0 0 16,-27-53-16,53 92 16,-40-52-1,1-14-15,-14 1 16,0-1-16,-26 0 15,0-13 1,0-26-16,-93 119 16,79-119-16,-78 52 15,12-26 1,53-52-16</inkml:trace>
</inkml:ink>
</file>

<file path=ppt/ink/ink19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5:22:47.296"/>
    </inkml:context>
    <inkml:brush xml:id="br0">
      <inkml:brushProperty name="width" value="0.05292" units="cm"/>
      <inkml:brushProperty name="height" value="0.05292" units="cm"/>
      <inkml:brushProperty name="color" value="#0070C0"/>
    </inkml:brush>
  </inkml:definitions>
  <inkml:trace contextRef="#ctx0" brushRef="#br0">9036 7316 0,'0'26'15,"0"-13"-15,-14 27 0,14-27 0,-13 14 16,0 39-16,13-13 16,-13-27-16,13 1 15,0-14-15,-14 13 16,14 1-16,0-1 16,14-12-16</inkml:trace>
  <inkml:trace contextRef="#ctx0" brushRef="#br0" timeOffset="365.31">9538 7461 0,'-26'-26'16,"-93"65"-1,92-12 1,1-1 0,26 1-16,0-14 0,0 0 15,13 14 1,-13-14-16,0 0 15,0 14-15,0-1 16,-13-26 0,13 13-16,-27 14 15,1-14-15,13 0 16,-1 1-16,1-14 16</inkml:trace>
  <inkml:trace contextRef="#ctx0" brushRef="#br0" timeOffset="499.43">9379 7739 0,'14'0'16,"-1"0"-1</inkml:trace>
  <inkml:trace contextRef="#ctx0" brushRef="#br0" timeOffset="811.38">9882 7541 0,'-53'26'31,"40"-26"-31,-27 27 0,27-14 16,-13 0-16,12 27 15,14-14 1,14 1 0,-14-14-16,0 13 15,13-12 1,-26 12-16,-1-13 15,14 0 1,-13-13-16,-26 27 0,12-14 16</inkml:trace>
  <inkml:trace contextRef="#ctx0" brushRef="#br0" timeOffset="1300.6">9075 8109 0,'318'-13'16,"-133"0"-1,-53 0 1,0-14-16,80-26 16,-172 40-1,79-40 1,-93 27-16,14-1 0,66-131 15,-80 52 1,-12 40-16,-41-120 16,-39 1-1,-66 26 1,-173 14 0,-52 105-1,265 40-15,-398 146 16,80 237 15,238 54-15,225-199-1,0-159 1,383 252 0,-131-251 15,-239-80-31,172 0 15</inkml:trace>
  <inkml:trace contextRef="#ctx0" brushRef="#br0" timeOffset="11086.41">18852 3109 0,'-40'0'0,"27"0"0,-1 13 16,1 14-16,0-1 0,0 0 0,-1 14 15,-12 13-15,13 0 0,13-13 16,-13 52-16,26-52 0,-13 0 15,13-14-15,13 53 16,-12-52-16,12-1 0,-13-12 0,14-1 16,-1 0-16,1 0 0,-1-13 15,1 0-15,12-13 0,1 0 0,0 0 16,-1-14-16,14-13 0,27-52 16,-41 39-16,-12 0 0,-1 0 15,-12-13-15,-1 0 0,-13 0 0,0 26 16,-40-79-16,-13 40 15,27 39-15,-14 13 0,14 1 16,-14 13-16,13 0 0,-12 13 0,12 0 16,-26 13-16,14 13 0,12 1 15,1-1-15,-1 14 0,14-1 16,0 14-16,0-13 0,13 26 16,0-13-16,0 0 0,13 13 0,0-13 15,0 0-15,27 66 0,-27-79 16,14-1-16,-1 1 0,-13 0 15,1-14-15,25 40 0,-25-52 16,12 25-16,-26-25 0,26-1 16,-12 0-1,-1-13-15</inkml:trace>
  <inkml:trace contextRef="#ctx0" brushRef="#br0" timeOffset="11686.81">19659 3413 0,'-53'66'16,"26"27"-1,27-67-15,13 14 16,1-14-16,-1-12 0,-13-1 16,26 13-16,1-12 0,-1-14 15,-13 0-15,14 0 16,-14-14-16,27 1 0,-14-13 16,1 12-16,-14 1 15,-13 0 1,13 13-16,0 0 15,1 0 1,-1 13-16,0-13 16,0 0-16,1 0 15,12 0-15,-13 0 16,0-13-16,1 13 16,-14-13-16,13 0 0,0-1 15,0 1-15,1 0 16,-14 0-16,13 13 15</inkml:trace>
  <inkml:trace contextRef="#ctx0" brushRef="#br0" timeOffset="14049.24">19645 3466 0,'0'-26'0,"-13"52"16,13 0-16,-13-12 15,13-1-15,-13 40 0,13-27 16,0 14-16,0-14 16,0 1-16,0 13 15,13-1-15,13-12 16,-12-14-16,-1 0 0,13 0 16,14 1-16,-14-28 15,14 14 1,0-26-16,-14 0 15,-13 12-15,14-25 0,-1-14 16,-12 13 0,-1 0-16,-13 14 0,13-14 15,-13 14-15,0-14 16,0 14-16,0 12 16,13 1-16,-13 0 0,0 0 15,0-1 1,13 14-1,14 14 1,-14-14-16</inkml:trace>
  <inkml:trace contextRef="#ctx0" brushRef="#br0" timeOffset="15896.26">20320 3466 0,'-26'-13'16,"12"13"-16,-12 0 16,13 13-16,-1-13 15,1 26-15,0-12 0,13-1 16,-13 0-16,-1 0 0,14 1 15,-13 25-15,13-25 16,-13-1-16,13 13 0,0-13 16,13 1-16,-13-1 15,13 0-15,14-13 16,-27-13-16,13 13 16,0 0-16,1-13 0,-1-1 15,0 14-15,0-13 0,-13 0 0,14 0 16,-14 0-16,13 13 0,-13-14 15,0 1-15,13 13 16,-26 27 15,13-14-31,0 0 0,0 0 16,13-13-16,-13 13 16,13 1-16,0-14 15,14 13-15,-1-13 16,1-13-16,-14-1 15,0 14-15,1-13 0,12-26 16,-13 25-16,0-12 0,1-27 16,-1 26-16,0-12 15,-13 12-15,0 1 0,13 13 16,1-27-16,-14 27 0,0-14 16,0 1-16,13 13 15,-40 39 16,27-13-31,-13 1 16,13 12-16,0-13 0,-13 14 16,13 12-16,0-25 0,0 25 15,13-26-15,-13 1 16,13 12-16,14-13 16,-1-13-1,-12 0-15,-1 0 16,0-13-16,0 13 15,0 0-15,1 0 0,-1 13 32,0 1-32,-13-1 15,13 0-15,-13 0 16,14 1-16,-1-1 16,0-13-1,13 0 1</inkml:trace>
  <inkml:trace contextRef="#ctx0" brushRef="#br0" timeOffset="16025.47">20968 3413 0,'0'-40'16,"0"80"-1</inkml:trace>
  <inkml:trace contextRef="#ctx0" brushRef="#br0" timeOffset="16242.38">21140 3188 0,'0'-13'0,"0"39"31,0 1-31,0 39 16,-13-39 0,13 52-16,0-26 15,0-27-15,0 1 0,0-1 16,13 1-16,-13-14 0,0 0 16,0 0-16</inkml:trace>
  <inkml:trace contextRef="#ctx0" brushRef="#br0" timeOffset="16438.43">20981 3545 0,'0'-13'16,"27"0"-1,-14 13-15,0-13 16,1 13-16,39-14 15,-14 1-15,14 0 16,0 0-16,-40 13 16,14 0-16</inkml:trace>
  <inkml:trace contextRef="#ctx0" brushRef="#br0" timeOffset="17358.52">21497 3400 0,'-53'0'16,"14"26"-1,26-12-15,-1 12 16,1-13-16,0 0 0,13 1 15,-13-1-15,13 13 16,0-12 0,13-1-16,13-13 15,-12-13 1,-1 13-16,0-14 0,13 1 16,-12 0-16,-1 13 15,-13-13-15,13 26 31,-13 0-15,13 14-16,1-27 16,-1 13-1,13 0-15,-12-13 16,12-13-16,27-27 16,-40 27-1,-13 0-15,13-14 16,14-39-16,-14 13 15,-13 0-15,13 14 16,-13-1-16,0 27 16,0-14-16,0 14 15,0 0 1,-13 39 0,0 1-16,0 12 0,-1 1 15,1 0 1,13-14-16,0 1 0,13-1 15,-13 1-15,14-14 0,-1 0 16,13 13-16,-12-26 16,12 0-16,-13 0 15,27-13-15,13-26 16,-13 12 0,-27 27-16,0 0 15,0 0 1,-13 13-16,0 1 0,13-1 15,-13 0 1,0 27 0,0-27-16,14 13 15,-1-26-15,-13 14 16,13-14 0</inkml:trace>
  <inkml:trace contextRef="#ctx0" brushRef="#br0" timeOffset="17543.09">22106 3307 0,'0'-13'15,"13"13"-15</inkml:trace>
  <inkml:trace contextRef="#ctx0" brushRef="#br0" timeOffset="17724.18">21669 3334 0,'27'-13'15,"13"13"-15,12 0 0,-25 0 16,26 0-16</inkml:trace>
  <inkml:trace contextRef="#ctx0" brushRef="#br0" timeOffset="18154.55">22238 3360 0,'13'0'15,"-26"0"-15,40 13 0,-14 1 16,-13-1 0,13 0-16,0 0 15,-13 1 1,14-1-1,-1-13 1,0 0 0,40-40 15,-40 40-31,14-26 0,-1 12 16,-13 1-1,1 0 1,-41 13 31,27 13-32,13 0 1,1-13-16,12 0 16,27-13-1,0 13-15,-40-13 16,0 13-1</inkml:trace>
  <inkml:trace contextRef="#ctx0" brushRef="#br0" timeOffset="19033.43">18680 4948 0,'-53'132'16,"39"-53"0,1-39-16,13 39 15,13-26-15,1-13 16,12-13-16,-13-14 16,27 0-16,0-13 15,-27-13-15,13 13 0,1-13 16,52-67-16,-52 54 15,12-54-15,-25 27 16,-1-52-16,-13 52 0,0-53 16,-13 53-16,-1 0 0,-25-26 15,12 52-15,-39-39 16,40 53 0,-14 13-16,27 13 15,-14 27-15,14-14 16,0 14-16,13 39 15,26 67-15,1-40 16,-1-54-16,40 107 16,-13-53-1,-13-40 1,-27-39 0,0-14-16,1 13 15,-1-26-15,0 14 16</inkml:trace>
  <inkml:trace contextRef="#ctx0" brushRef="#br0" timeOffset="19500.36">19288 5120 0,'-13'26'16,"13"14"-1,13-106-15,-26 158 16,13-78-16,0-1 15,26 13-15,1-13 16,-14-13-16,14-26 16,-1 13-1,14-40 1,-27 13-16,-13 27 16,13 13-16,-13-27 0,13 14 15,-13 40 1,0-1-1,0-13-15,14 1 0,-14 25 16,0-25-16,0 12 16,0 0-16,13 1 15,0-14-15,0-13 0,0 27 16,27-27-16,13 0 16,-26 0-1,-1 0-15</inkml:trace>
  <inkml:trace contextRef="#ctx0" brushRef="#br0" timeOffset="20312.48">19870 5133 0,'-106'0'16,"67"26"-1,25-26-15,-12 27 16,13-27-16,13 13 0,-13 0 15,13 1-15,0-1 16,13-13 0,0 0-1,0 0 1,14 0-16,-14 0 16,0 0 15,0 0-31,1 0 0,-1 13 15,0-13 1,53-119-16,-105 238 0,65-119 16,-13 0-16,14-13 15,-14 13-15,13-27 16,-12 14 0,-14-13-16,13-1 15,-13 14-15,13-27 16,0 14-16,-13-1 15,13-26-15,1 14 16,-14 25-16,13-25 16,-26 65 15,13 14-15,0 0-1,0-27-15,0 40 0,0 26 16,13-66-16,-13 27 15,0-27-15,0 27 16,0-27-16,-13 0 16,-1-13 15,1 0-31,13-13 16,0 0-1,13-13 1,1 26-16,-1-14 0,13-12 15,14 13 1,13 13 0,-40 0-16,0 0 0,14 0 15,-1 13 1,-12-13-16,-1 13 16,0 0-1,-13 1-15,0-1 16,0 0-16,-13 0 31</inkml:trace>
  <inkml:trace contextRef="#ctx0" brushRef="#br0" timeOffset="20450.49">20320 5067 0,'-13'-27'15,"0"14"1,-1 13 0,1 0-16</inkml:trace>
  <inkml:trace contextRef="#ctx0" brushRef="#br0" timeOffset="21646.02">9300 1257 0,'40'-13'16,"-14"13"-16,93-27 15,-53 27-15,27-13 0,92-14 16,67 1-16,105 13 16,-132-1-1,-119 1-15,-14 13 0,93 0 16,-92-13-16,132 13 16,-119-13-16,-67 13 15,-12 0-15,-14 0 0,0 0 16</inkml:trace>
  <inkml:trace contextRef="#ctx0" brushRef="#br0" timeOffset="21849.38">9578 1349 0,'251'0'15,"-158"-13"-15,-14 13 16,14-13-16,13 13 0,-14 0 0,120-13 16,-14 13-1,-12-14-15,-94 14 0,-12 0 16,-14 0-16</inkml:trace>
  <inkml:trace contextRef="#ctx0" brushRef="#br0" timeOffset="24941.47">4180 3426 0,'119'0'16,"-66"-13"-16,450-13 16,-410 26-1,-1-14-15,94 14 0,-14-13 16,-14 13-16,-78-13 15,-14 13-15,-13 0 0,0 0 16,26-13-16,-53 13 0,-12 0 16,-1 0-16,0 0 0</inkml:trace>
  <inkml:trace contextRef="#ctx0" brushRef="#br0" timeOffset="25192.77">4749 3519 0,'40'13'31,"-14"-13"-31,93-13 16,-52 13-16,-14 0 0,26 0 0,-13 0 15,106 0 1,-119 0-16,13 0 0,-26 0 0,13 0 0,-14 0 15,1 13-15,13-13 16,-27 13-16,-12 1 0,12-14 0,-26 13 16,13 0-16</inkml:trace>
  <inkml:trace contextRef="#ctx0" brushRef="#br0" timeOffset="25950.41">1561 5675 0,'93'0'16,"-67"0"-16,93 0 0,-53 0 15,14 0-15,184 0 16,-184 0-16,12-13 16,1 13-16,79 0 0,-13 0 15,-106 0-15,13 0 0,-27 0 16,1 0-16,0 0 0,-27 0 15,13 0-15,1 0 0,-14 13 16,0-13-16,-13 14 16,0-1-16</inkml:trace>
  <inkml:trace contextRef="#ctx0" brushRef="#br0" timeOffset="28924.17">7422 10332 0,'13'-13'0,"13"26"16,-13 0-16,1 0 0,-14 1 15,13 25-15,0-25 16,-13 12-16,0 14 0,0-14 16,0-13-16,-13 14 0,0 13 15,-1-14-15,-12 0 16,13-12-16,13-1 15,-13-13-15,-1 0 16,1-13-16,13-1 16,0 1-16,0-13 0,13-14 15,1 27-15,-14-14 16,26-12-16,-13-1 16,0 27-16,1 0 0,-1-14 15,13 14-15,-26 0 16,27 13-16,-1-14 15,-12 14 1</inkml:trace>
  <inkml:trace contextRef="#ctx0" brushRef="#br0" timeOffset="29221.31">7726 10345 0,'-53'93'15,"53"-67"1,0-12-16,40 12 16,-27-13-16,13-13 15,-12 13-15,-1-13 0,13 0 16,-13-13 0,1 13-16,-14-13 0,0-13 15,0 12-15,-14 14 16,1-26-16,-13 13 15,13-1-15,-1 14 0,1-13 16,-27 13-16,14 0 16,13 0 15</inkml:trace>
  <inkml:trace contextRef="#ctx0" brushRef="#br0" timeOffset="29777.69">7938 10094 0,'-27'13'32,"14"0"-32,0 40 0,-14 27 15,14-27-15,0-27 16,26 14-16,-13-1 15,26-12-15,1-1 16,-1-12 0,-12-14-1,-1 0-15,13-14 0,1-12 16,-1-1-16,-13 1 16,40-106-1,-40 92 1,-13 13-16,14 14 15,-14 0-15,0 0 16,0 52 0,-14-25-1,1 12-15,13 14 0,0 0 16,0-14-16,0 0 16,13-12-16,-13-1 15,14 13-15,-1-12 16,0-14-16,0 0 0,14-14 15,-1 1 1,-12 13-16,-1-13 16,0 13-16,-13 13 15,13-13-15,-13 13 16,13 1-16,-13 12 16,0 14-1,0-27 1,-343-423-16</inkml:trace>
  <inkml:trace contextRef="#ctx0" brushRef="#br0" timeOffset="30431.32">8493 10358 0,'0'40'16,"0"-13"-16,0-14 0,0 0 15,0 0-15,0 1 31,13-28 1,1 1-32,-1 0 0,0 13 15,-13-13-15,26 13 16,-12-14-16,12 14 16,-13 0-16,-13 14 0,14-14 15,12 13-15,-13-13 16,14 13-16,12 0 15,-25-13-15,12 14 16</inkml:trace>
  <inkml:trace contextRef="#ctx0" brushRef="#br0" timeOffset="30714.77">8930 10398 0,'0'13'16,"0"1"-1,0-1-15,0 13 16,0 14-16,0-146 0,-14 225 0,1-26 31,0-80-31,13 0 0,-13 14 16,13-14-16,-13-13 16,13-13-1,0-1 1,0 1-16,13 0 0,0-27 15,0 27-15,0 0 0,27-27 16,0-13-16,-14 40 16,14 0-16,-27 0 15,40-1-15,-26 1 0</inkml:trace>
  <inkml:trace contextRef="#ctx0" brushRef="#br0" timeOffset="31207.63">10041 10239 0,'106'0'16,"-93"0"-16,13 14 15,-26 12-15,14-13 16,-14 1-16,-27 25 16,14-26-16,-13 14 15,12-14-15,1-13 0,-13 27 16,-1-14-16,14-13 16,0 13-16,39-13 31,-13 0-31,14 0 15,-1 0-15,-12 0 16,38-13-16,15 13 16,12-13-16,-53-1 15,14 14-15</inkml:trace>
  <inkml:trace contextRef="#ctx0" brushRef="#br0" timeOffset="31756.82">11126 10001 0,'-14'27'31,"1"12"-31,0-25 0,13 12 16,-13 14-16,13-27 16,-13 27-16,13-14 15,0 1-15,0-1 16,0-13-16,0 1 16,-14-14-1,-12 0 1,13 0-16,-1-14 15,-12 14 1,13 0-16,-14 14 16,-12-1-16,12 0 15,14-13-15,0 13 16,13 0-16,13 1 16,66-28-1,-26 14 1,0-13-16,-13 0 15,-1 0-15,1 13 16,-27 0 0,1 0-16,-1 0 15,0 13-15,-13 0 16,-13 0 0,13 1-16,0-1 15,0 0-15</inkml:trace>
  <inkml:trace contextRef="#ctx0" brushRef="#br0" timeOffset="31908.46">11337 10160 0</inkml:trace>
  <inkml:trace contextRef="#ctx0" brushRef="#br0" timeOffset="33054.41">11509 10239 0,'-13'14'31,"0"-1"-16,0-13 1,-1 26-16,14-12 16,-13-1-16,13 0 0,-13 0 15,13 0 1,0 1-16,0-1 0,0 0 16,0 0-1,0 1-15,13-1 16,0-13-1,14 0-15,-14-13 16,0 13-16,14 0 16,-14-14-16,0 14 0,1-13 0,-1 13 15,13-13-15,1-14 0,-14 27 16,0-13-16,14-13 16,-14 26-16,-13-13 0,13-14 15,0 27 1,-13-13-16,0 0 15,-13 13 1,0 13 0,0 0-1,13 0-15,-14-13 16,14 14-16,0-1 16,0 0-1,0 0-15,14-13 16,-1 0-16,0 0 15,0 0-15,1 0 0,-1 0 16,13 0-16,1 0 16,-14 0-16,0 0 0,0 0 15,1 0 1,-1 13-16,0-13 16,-13 14-16,-13-1 15,13 0 1,-13-13-16,13 13 0,-14-13 0,1 14 15,0-1-15,0-13 16</inkml:trace>
  <inkml:trace contextRef="#ctx0" brushRef="#br0" timeOffset="33191.49">12025 10345 0</inkml:trace>
  <inkml:trace contextRef="#ctx0" brushRef="#br0" timeOffset="43780.05">8123 12039 0,'-14'-14'31,"41"14"-15,-1-13 0,14 26-1,0-13-15,-27 0 16,13 14-16,-12-14 15,-1 13-15,13 0 0,-12 0 16,-14 14 0,-14-1-16,14-13 15,-13 1-15,0-1 0,-14 0 0,14 0 16,-13 1-16,13-14 0,-40 26 16,39-13-16,-12 0 15,13-13-15,-1 14 16,28-14 15,-1 13-31,0-13 0,0 0 0,1 0 16,-1 0-16,0 0 0,0 0 15,1 0-15,12 13 0,0-13 16,-12 0-16,-1 0 0,0 0 16,0 0-16,1 0 15,-1 0 1,0 0-16,0 13 15</inkml:trace>
  <inkml:trace contextRef="#ctx0" brushRef="#br0" timeOffset="44450.42">8467 12211 0,'13'0'15,"0"13"-15,0 13 32,1-13-32,-14 27 15,-14 0-15,14-27 0,-13 0 16,-13 27-16,-14-14 15,14 1-15,12-14 16,1 0-16,0-13 0,0 14 16</inkml:trace>
  <inkml:trace contextRef="#ctx0" brushRef="#br0" timeOffset="45267.74">9022 12105 0,'27'-14'16,"-14"14"-16,-13 14 16,13-1-16,-13 0 15,-13 14 1,0-27 0,13 13-1,0 0 1,26-13-1,-13 13-15,14 1 16,-27-1 0,13-13-16,-13 26 15,-13-13-15,0 1 16,-14-1-16,14 0 0,-13 0 16,12-13-16,1 14 15,-13-1-15,12-13 0,1 0 16</inkml:trace>
  <inkml:trace contextRef="#ctx0" brushRef="#br0" timeOffset="45467.19">9221 12250 0,'39'40'15,"-39"-27"-15,-13 14 0,13-14 16,-13 0-16,-40 53 31,53-53-31</inkml:trace>
  <inkml:trace contextRef="#ctx0" brushRef="#br0" timeOffset="45943.21">9829 12118 0,'-53'26'15,"40"-26"-15,-13 14 16,-1-1-16,1 13 16,13-26-16,-1 14 15,1-1 1,26 0 0,-13 0-16,14-13 0,12 0 15,0 13 1,14-13-16,-27 0 0,1 0 15,12 0-15,-13 0 0,27 0 16,-27-13 0,14 0-16</inkml:trace>
  <inkml:trace contextRef="#ctx0" brushRef="#br0" timeOffset="46126.26">9869 12105 0,'-27'39'16,"14"-12"0,13-1-1,0 1-15,-13-14 0,13 13 0,0-12 16,0 12-16,-13 1 16,13 25-16,0-38 0,0-1 15,66-317-15</inkml:trace>
  <inkml:trace contextRef="#ctx0" brushRef="#br0" timeOffset="46338.37">10081 12250 0,'0'-13'0,"26"39"31,-13 1-31,-13-14 15,0 0-15,0 27 16,0-14 0,-13-12-16,26-1 15,1-13-15</inkml:trace>
  <inkml:trace contextRef="#ctx0" brushRef="#br0" timeOffset="46755.6">10623 12105 0,'-26'0'16,"12"0"-16,-39 0 16,40 13-1,-13-13-15,13 13 0,-1 0 32,28-13-32,-1 27 15,13-14-15,-13-13 16,1 27-1,12-1 1,-26-13-16,0 0 16,-66 27-1,53-40 1,-27 13-16,27-26 16,13 0-1</inkml:trace>
  <inkml:trace contextRef="#ctx0" brushRef="#br0" timeOffset="46936.46">10755 12158 0,'40'53'15,"-40"-40"-15,-13 66 16,0-52-16,-1-1 0,1 0 15,0 1 1,13-14-16,0 0 0</inkml:trace>
  <inkml:trace contextRef="#ctx0" brushRef="#br0" timeOffset="47430.28">11337 11986 0,'-13'0'16,"-13"13"-16,12 0 15,1 0-15,0 14 16,0 26-1,13-27-15,13 1 16,0-1-16,14-13 0,-1 14 16,1-14-1,-14-13-15,0-13 16,-26 0 0,0-1-1,-14 1-15,1 13 16,12 0-16,1 0 15,0 0-15,13 13 16</inkml:trace>
  <inkml:trace contextRef="#ctx0" brushRef="#br0" timeOffset="47636.82">11576 12184 0,'13'40'16,"0"-40"-16,-26 66 15,13-40 1,-13 1-16,13-1 0,-14 1 16,14-14-16,0 0 15</inkml:trace>
  <inkml:trace contextRef="#ctx0" brushRef="#br0" timeOffset="48079.31">11959 11999 0,'40'0'0,"-14"0"16,1 0-1,26 13 1,-40-13-16,13 13 16,-12 14-16,-1 12 15,-13-12 1,0-1-1,0-12-15,-13-1 0,13 0 16,0 14-16,-14-14 16</inkml:trace>
  <inkml:trace contextRef="#ctx0" brushRef="#br0" timeOffset="48272.42">11893 12158 0,'40'-27'16,"-14"27"-16,40 0 16,-39 0-16,65 0 15,-12 0 1,-41 0-16</inkml:trace>
  <inkml:trace contextRef="#ctx0" brushRef="#br0" timeOffset="48446.42">12621 12184 0,'0'79'16,"-14"-65"-16,14-1 0,-13 13 16,0-12-16</inkml:trace>
  <inkml:trace contextRef="#ctx0" brushRef="#br0" timeOffset="48999.78">12991 11946 0,'53'26'16,"-27"1"-16,-26-1 15,0 14 1,-26 0-1,0-27 1,12 0-16,1 0 16,0-26-1,26-13 1,14 12-16,-14 1 16,40-13-1,-27-1-15,-13 14 16,1 0-16,-1-14 0,0-12 15,-13 25 1,-13 1-16,0 0 16,-1 0-16,1 13 15,0 0-15,0 13 16,-1-13-16,1 13 16</inkml:trace>
  <inkml:trace contextRef="#ctx0" brushRef="#br0" timeOffset="49172.54">13375 12012 0,'66'93'31,"-66"-80"-31,-13 27 0,-1-14 16,14 1-16,0-14 0,-13 0 15,13 13-15</inkml:trace>
  <inkml:trace contextRef="#ctx0" brushRef="#br0" timeOffset="49617.77">13944 11880 0,'-106'0'15,"66"13"-15,0 13 16,14-12 0,26-1-16,53 0 31,-27-13-31,1 0 16,12-13-16,-12 13 15,13 0-15,-14 0 16,0 13-16,-12-13 0,-1 13 15,0-13-15,-13 27 16,13-14-16,-26 0 16,13 27-16,0-14 15,-13-12-15,13 12 16,13-13-16,-13 1 16,13-1-16,1 0 15</inkml:trace>
  <inkml:trace contextRef="#ctx0" brushRef="#br0" timeOffset="49985.1">14407 12105 0,'26'39'16,"-39"41"-1,-14-54 1,1 14 0,13-27-16,-1 0 15,1-13-15,0-13 16</inkml:trace>
  <inkml:trace contextRef="#ctx0" brushRef="#br0" timeOffset="50197.31">14724 11893 0,'13'53'31,"-39"26"-15,13-65-16,-1 12 0,1 14 15,0-27-15,0 13 16,-1 14-16,14-27 16</inkml:trace>
  <inkml:trace contextRef="#ctx0" brushRef="#br0" timeOffset="50495.55">14922 12052 0,'-39'39'15,"52"1"1,13-27 0,-12-13-16,-1 0 0,13 0 15,-12 0-15,-1 0 0,0-13 16,0 0-16,1 0 15,-28-40 1,1 40-16,0-1 16,0 1-16,-27 0 15,13 13 1,14 0 0</inkml:trace>
  <inkml:trace contextRef="#ctx0" brushRef="#br0" timeOffset="50675.57">15306 12131 0,'27'106'15,"-27"-93"-15,-40 80 16,27-80-16,-14 13 15,14 1-15</inkml:trace>
  <inkml:trace contextRef="#ctx0" brushRef="#br0" timeOffset="50989.38">15677 11919 0,'13'14'15,"-13"-1"-15,13 13 0,-13-12 16,0 25 0,0-25-16,0 12 15,-13-13-15,13 14 16,0-14-16,0 0 16</inkml:trace>
  <inkml:trace contextRef="#ctx0" brushRef="#br0" timeOffset="51187.4">15915 11906 0,'0'27'31,"-14"-14"-31,14 0 0,0 14 16,0 39-1,0-53 1,14 13-16,-14-12 0,0-213 0</inkml:trace>
  <inkml:trace contextRef="#ctx0" brushRef="#br0" timeOffset="51478.5">16113 12118 0,'0'40'16,"0"-27"-16,-26 66 16,-1-52-16,14-1 15,-27 27-15,14-13 16,-1-14-16</inkml:trace>
  <inkml:trace contextRef="#ctx0" brushRef="#br0" timeOffset="53044.34">16378 12012 0,'0'27'16,"13"-14"0,-13 26-1,0-25-15,0 39 16,0-27-16,0-13 0,0 27 15,13-14 1</inkml:trace>
  <inkml:trace contextRef="#ctx0" brushRef="#br0" timeOffset="53638.1">16536 12039 0,'67'-14'0,"-54"14"16,0 14-16,0-1 0,-13 0 16,-13 13-16,-13 1 15,12-1-15,-12 1 16,13-14-16,-1 0 0,1 1 15,0-1-15,0 0 0,13 0 0,-13 0 0,13 1 16,13-14 0,40 13-1,-27-13-15,1 0 0,12 0 0,1-13 16,13 13-16,-13 0 0,13 0 0,39-14 16,-52 14-1,-27 0-15,0 0 16</inkml:trace>
  <inkml:trace contextRef="#ctx0" brushRef="#br0" timeOffset="55129.91">8123 11787 0,'-80'-39'0,"67"39"0,-27-14 15,1 14-15,-1-13 16,27 26 0,0 1-1,13 25-15,0 14 16,0-26-16,0-1 0,0 14 16,0 39-16,0-39 0,-14 39 15,1 1-15,0-54 16,0 0-16,-14 27 15,1-13-15,13-27 16,-1-13-16,1-13 16,0 13-16,13-13 15,-13 0-15,13 39 32,0 0-17,0 54-15,-14 39 16,14 0-16,-13 27 15,13-94-15,0-12 16,13 0-16,-13 0 0,14-1 0,-1-12 16,-13-1-16,13 1 0,14-1 15,12-13-15,-12 0 16,-1-13-16,14 0 0,0 0 16,12-13-16,1 13 0,80-13 15</inkml:trace>
  <inkml:trace contextRef="#ctx0" brushRef="#br0" timeOffset="56385.64">17079 11589 0,'119'-40'16,"-93"40"-16,-12 13 16,-1 1-16,-13-1 15,0 13-15,0 1 0,-13 12 0,-1 1 16,1 0-16,0-14 0,-14 14 16,14 39-16,0-52 15,0-1-15,13 27 0,13-13 16,0-1-16,0-25 15,1-14-15,39 13 16,-14-26 0,14-1-16,0 1 15,-26 13-15,-1-13 16,27 26 0,-27 27-16,-12-14 15,-14 41-15,0-28 0,0 1 16,0 39-16,-27 54 15,27-107 1,0-13-16,-13 14 0,13-14 16,-13 0-16,-1 0 0,1 14 15,0-14-15,-13-13 16,-14-13-16,13 13 16,-25-13-16,12-1 0,-79 1 15,-40-13-15,80 12 16</inkml:trace>
  <inkml:trace contextRef="#ctx0" brushRef="#br0" timeOffset="57068.92">6482 12396 0,'0'0'16,"40"0"0,-14 0-16,41 0 15,25 0 1,-65 0-16,-1 0 15,1 0-15,39 0 0,-27 13 16,-25-13-16,12 0 16,-13 13-16</inkml:trace>
  <inkml:trace contextRef="#ctx0" brushRef="#br0" timeOffset="57249.53">6601 12660 0,'305'-26'16,"-160"-1"0,-79 27-16,14-13 0,-14 13 15</inkml:trace>
  <inkml:trace contextRef="#ctx0" brushRef="#br0" timeOffset="58941.89">9948 12766 0,'252'0'16,"26"0"-1,-67 0 1,-105 0-16,92 0 0,-105 0 0,0 0 15,-1 0-15,-26 0 16,1 0-16,38 0 0,-65 0 0,-13 0 16,-14 0-16</inkml:trace>
  <inkml:trace contextRef="#ctx0" brushRef="#br0" timeOffset="59172.21">10610 12951 0,'489'-39'15,"-436"39"-15,0 0 0,13 0 16,-26 0-16,13 0 0,0 0 15,13 0-15,-26 13 0,-1-13 16</inkml:trace>
</inkml:ink>
</file>

<file path=ppt/ink/ink19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5:23:55.586"/>
    </inkml:context>
    <inkml:brush xml:id="br0">
      <inkml:brushProperty name="width" value="0.05292" units="cm"/>
      <inkml:brushProperty name="height" value="0.05292" units="cm"/>
      <inkml:brushProperty name="color" value="#0070C0"/>
    </inkml:brush>
  </inkml:definitions>
  <inkml:trace contextRef="#ctx0" brushRef="#br0">5027 5715 0,'13'40'15,"1"-27"-15,12-13 16,-13-13-1,0 13 1,1-14-16,-1 1 0,0 0 16,0 0-16,1 0 15,12 26 17,-26 0-17,13-13-15,-13 13 0,14-13 16,12 13-1,-13-13-15,-13-13 0,27 0 16,-14 13 0,0-13-16,-13-27 15,13 40-15,-13-26 0,0 12 16,0 1-16,0-13 0,0 12 16,0 1-16,0 0 15,0 0 1,0 52-1,0-25-15</inkml:trace>
  <inkml:trace contextRef="#ctx0" brushRef="#br0" timeOffset="479.5">5503 5755 0,'0'-53'15,"0"40"1,-13 26 0,0 13 15,13-13-31,26 1 31,1-28-15,-14 1-16,0 13 0,0-13 15,1 13-15,-1-13 16,0 13-16,0 0 16,1 13-1,-1 13 1,0-12 0,-13-1-1,13-13-15</inkml:trace>
  <inkml:trace contextRef="#ctx0" brushRef="#br0" timeOffset="615.54">5689 5609 0,'-14'-13'0</inkml:trace>
  <inkml:trace contextRef="#ctx0" brushRef="#br0" timeOffset="1350.91">5847 5609 0,'-39'13'16,"25"-13"-1,14 14-15,0-1 0,-13-13 16,13 13-1,0 0-15,13 1 16,1-14 0,-1 0-1,0 13-15,14-13 16,-14 0 0,0 13-1,-13 0-15,0 0 16,0 1-16,-13-1 15,13 0-15,-13 0 16,-1 1-16,1-1 16,0 0-16,0-13 15,13 13-15,-14 1 16,41-28 15,-27 1-15,13 0-16,0 13 0,1-27 15,-1 14-15,0 0 0,13-14 16,-12-12-16,25-27 16,-39 52-16,14-12 15,-1-27 1,0 40 0,-13 39 15,-13 1-31,13-1 15,0 1-15,0-14 16,26 40 0,-13-53-16,-13 13 0,14-13 15,-1 13-15,0-13 16,14 13-16,-14-13 16,13 14-1,-12-14 1</inkml:trace>
  <inkml:trace contextRef="#ctx0" brushRef="#br0" timeOffset="2204.75">7594 5556 0,'-80'0'16,"54"0"-16,12 13 16,1-13-16,0 0 15,0 14-15,39-14 32,-13-14-32,1 14 15,39 0 1,-40 14-16,0-14 0,0 13 15,1 0-15,-14 0 16,13 1-16,-13 12 16,0 14-16,0-27 15,0 0-15,0 0 0,0 1 16,0-1-16,-13 0 0,13 0 16,0 1-16</inkml:trace>
  <inkml:trace contextRef="#ctx0" brushRef="#br0" timeOffset="2488.04">7805 5583 0,'-26'0'0,"13"13"15,13 27 1,13-14 0,-13 14-1,-13-14 1,13-13-16,-14-13 0,14 14 0,-13-1 16,0 0-16,0 0 15,-1 1 1</inkml:trace>
  <inkml:trace contextRef="#ctx0" brushRef="#br0" timeOffset="2871.15">7990 5649 0,'0'-13'0,"0"39"31,14-13-31,-14 1 16,26 12 0,-26-13-16,13 14 15,1-14-15,-14 0 16,0 0-16,0 14 16,-14-14-1,1 0-15,0 1 16,-14-1-16,14-13 0,-26 26 15</inkml:trace>
  <inkml:trace contextRef="#ctx0" brushRef="#br0" timeOffset="3619.21">5794 6839 0,'0'80'16,"0"-40"-16,-13 65 15,26-78 1,-13-14-16,0 0 0,14 1 0,-1-14 15</inkml:trace>
  <inkml:trace contextRef="#ctx0" brushRef="#br0" timeOffset="3783.29">6032 6866 0,'14'-13'15,"12"26"-15,-13 0 16,-13 0-16,0 1 15,0-1-15,0 0 0,0 14 16,-39 52-16,25-53 16,1-12-16</inkml:trace>
  <inkml:trace contextRef="#ctx0" brushRef="#br0" timeOffset="3942.22">5768 7157 0,'-13'-13'16,"26"0"-16,-13-1 15,13 14-15,0-13 0,1 13 16,12-13-16,67 0 16,26-14-16,-66 14 15,39 0 1,-52-1-16,66 1 0,-67 13 16</inkml:trace>
  <inkml:trace contextRef="#ctx0" brushRef="#br0" timeOffset="5193.47">6006 8043 0,'-13'27'16,"13"-1"-1,-13 14-15,13 0 16,0-27-16,13 13 0,-13-12 16,13 12-16,0-13 0,14 14 15,12-14 1,-25-13-16,25 0 16,-25-13-16,-1 13 15,0-14-15,0 14 0,-13-13 16,13 13-16,1-13 0,-1-13 15,0 26 1,0 13 15,1-13-15,-1 13-16,0-13 16,-13 13-16,13-13 0,1 13 15,-1 1-15,0-14 16,0 0-1,-13 13-15,13-13 0,1 0 16,-1 0-16,0 0 16,0-13-1,1 13 1,-1 0-16,0 0 16</inkml:trace>
  <inkml:trace contextRef="#ctx0" brushRef="#br0" timeOffset="51416.33">12634 9909 0,'-27'39'16,"-26"1"-1,1 26-15,25-39 16,-13 12-16,-26 41 16,27-41-16,-80 67 15,52-40-15,-52 40 16,80-79-1,-14 26 1,39-53 0,14 13-16</inkml:trace>
  <inkml:trace contextRef="#ctx0" brushRef="#br0" timeOffset="51706.25">12039 10014 0,'79'106'15,"-53"-66"-15,80 119 16,-40-67-1,-26 1 1,-27-67-16,0-12 0,1 25 16,-1-12-16,-13-14 0,13 0 15,0 27-15,1-27 16,-1-13 0</inkml:trace>
  <inkml:trace contextRef="#ctx0" brushRef="#br0" timeOffset="52990.08">13441 10253 0,'-40'-14'16,"27"14"-16,-40 14 16,27 25-1,12-25 1,1-1-16,13 0 15,-13 40 1,26-40-16,0 27 16,27-14-16,-14-12 15,27-28 1,-39-12 0,-1-54 15,-13 67-31,-13-66 31,13 66-15,26 66-1,-13 39 17,-13-65-32,0-1 0,0 27 15,-13 0 1,13-40-1,13-53 32,14 1-31,-14 26-16,40-27 16,-40 27-16,14-14 15,-1 14-15,27-14 16,-40 27-16,27-13 15</inkml:trace>
  <inkml:trace contextRef="#ctx0" brushRef="#br0" timeOffset="53484.59">14288 10001 0,'105'0'15,"-78"0"-15,-1 13 16,-13 1-16,1-14 16,12 26-16,-26 1 15,0 12-15,-13-25 16,-27 52-16,1-13 16,12-27-16,-26 27 0,0 0 15,40-27 1,-13 14-1,26-27-15,13 1 16,0 12-16,0-26 16,53 26-16,1-12 15,-41-14-15,27 0 16,0 0-16,-40 0 16,80-27-1,-80 14-15,-13 0 16</inkml:trace>
  <inkml:trace contextRef="#ctx0" brushRef="#br0" timeOffset="53695.18">14102 10266 0,'40'-13'15,"39"13"1,-39 0-1,225 0 1,-67 0 0,-171 0-1,65 13 1</inkml:trace>
  <inkml:trace contextRef="#ctx0" brushRef="#br0" timeOffset="54354.34">11880 10941 0,'423'-53'32,"-370"39"-32,476-343 46,-489 304-30,66-264 0,-106 251-16,-225-331 31,172 370-31,-278-12 16,252 39-16,-490 238 15,225 53 16,291-212-31,-119 173 16,185 12 0,14-224-1,118 92 1,345-105-16,-702 52 16,463-53-1,-158-26-15,-14 0 0</inkml:trace>
  <inkml:trace contextRef="#ctx0" brushRef="#br0" timeOffset="55167.2">12872 9750 0,'198'-93'31,"-26"27"-31,-105 40 16,65-14-16,-13 0 15,-53 14-15,106-27 16,-119 53-16,-13-13 15,26-14-15,-40 27 0,-13 0 16,27-13 0,-13 0-16,-14 0 15</inkml:trace>
  <inkml:trace contextRef="#ctx0" brushRef="#br0" timeOffset="55425.22">13758 9194 0,'106'14'16,"-53"12"0,-13-13-16,39 40 15,-52-26-15,-1 25 16,-13-25-16,1 52 15,-41 27 1,-13-40 0,1-13-1,39-40-15</inkml:trace>
</inkml:ink>
</file>

<file path=ppt/ink/ink19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5:25:08.769"/>
    </inkml:context>
    <inkml:brush xml:id="br0">
      <inkml:brushProperty name="width" value="0.05292" units="cm"/>
      <inkml:brushProperty name="height" value="0.05292" units="cm"/>
      <inkml:brushProperty name="color" value="#0070C0"/>
    </inkml:brush>
  </inkml:definitions>
  <inkml:trace contextRef="#ctx0" brushRef="#br0">1627 1336 0,'0'0'15,"-13"0"-15,13-13 16,13 13-1,14 0-15,39-13 16,145-14 0,-131 14-16,52 0 0,-13-14 15,331-39 1,-119 26-16,-173 14 0,14 0 16,331-14-16,-331 27 15,-26-1-15,12 1 0,-25 13 16,105 0-16,-132 0 0,79-13 15,-93 26-15,-12-13 16,-27 0-16,0 0 0,0 0 16,26 13-16,-53-13 0,-12 0 0,-1 14 15,0-14-15,-39 13 16</inkml:trace>
  <inkml:trace contextRef="#ctx0" brushRef="#br0" timeOffset="316.87">2342 1482 0,'105'0'0,"-38"-14"15,118-12-15,-66 13 0,26-14 16,279-26 0,-266 40-16,-12 0 0,13 0 0,-14-1 15,1 1-15,-1 0 0,-12 13 0,-14-13 16,-14 13-16,-12 0 0,92-13 16,-13 13-16,-53 0 15,-79 0-15,0 0 16,-1 0-16,-12 0 0,13 0 15,-27 0-15,0 0 0</inkml:trace>
  <inkml:trace contextRef="#ctx0" brushRef="#br0" timeOffset="2233.41">7752 3175 0,'-13'0'16,"66"-13"-1,-13 13-15,-1-13 0,186-1 16,225-12-1,119 13 1,0 13 0,-305 0-1,54 13 1,-226-13-16,213 0 16,-252 0-1,92 0 1,-92 0-16,-26 0 15,-14 0 1,0-13 0</inkml:trace>
  <inkml:trace contextRef="#ctx0" brushRef="#br0" timeOffset="4493.35">17489 2461 0,'-13'-14'0,"-1"14"31,1 0-15,0 0-16,0 14 15,0-14-15,-1 13 0,-12 0 16,-27 40-16,13 0 16,-13 13-16,40-26 15,0-1-15,-27 81 16,27-81-16,13 1 0,0 0 16,13 39-16,0-13 15,14-26-15,-14-14 0,0 1 16,40 26-16,0 0 15,-40-40-15,14 13 16,-1-13-16,14 1 0,-14-1 16,27 0-16,14-13 15,-15 0-15,1 0 16</inkml:trace>
  <inkml:trace contextRef="#ctx0" brushRef="#br0" timeOffset="5340.02">19989 2461 0,'-13'0'16,"26"26"30,14 1-30,-27-14 0,26 26-16,14 28 15,-27-41-15,0 1 0,53 105 16,-52-53 0,-1-13-16,-26 0 15,-1-26-15,-12 26 16,13-26-16,-80 79 15,14-26 1,26-54 0</inkml:trace>
  <inkml:trace contextRef="#ctx0" brushRef="#br0" timeOffset="6223.1">20532 3135 0,'-27'-13'15,"93"13"1,-26 13-16,79 1 16,-66-14-16,-13 13 15,92 0 1,-66-13-16,-39 13 0,12-13 15,1 0-15,-14 0 0,1 0 16,13 13 0</inkml:trace>
  <inkml:trace contextRef="#ctx0" brushRef="#br0" timeOffset="6484.19">20558 3228 0,'304'40'16,"-251"-40"-16,53 13 0,-53-13 15,53 13-15,-14 0 16,-25-13-16,-41 0 15,1 0-15,52 14 32</inkml:trace>
  <inkml:trace contextRef="#ctx0" brushRef="#br0" timeOffset="10064.21">7845 2553 0,'516'-53'16,"-424"53"-16,1-13 0,0 0 0,211 0 16,-211-1-16,12 14 15,-12 0-15,172-13 16,-173 0-16,-12 13 16,-14 0-16,0 0 0,-13-13 0,-14 13 15,54 0-15,-53 0 16,-14-14-1,-13 14-15</inkml:trace>
  <inkml:trace contextRef="#ctx0" brushRef="#br0" timeOffset="10908.83">8334 2566 0,'-13'0'0,"66"14"31,13-14-16,27 0-15,-40-14 16,0 14-16,66 0 0,-40 0 16,-13 0-16,14-13 0,224 13 31,-132 0-31,-119-13 16,39 13-16,-52 0 0,26 0 15,40 0 1,-93-13-1,0 13-15,1 0 0,-1 0 0,0 0 16,0 0 0,1 0-16,-1 0 15,0 0 1,0 0 15,1 0 0,-1 0 1,0 0 46</inkml:trace>
  <inkml:trace contextRef="#ctx0" brushRef="#br0" timeOffset="12869.34">18058 3215 0,'225'0'16,"-172"0"-16,304 26 16,-304-26-16,92 0 15,-92 0 1,0 13-16,0-13 15,-27 0 1,-12 0-16,-1-13 0,-53 13 31,27 0-15</inkml:trace>
  <inkml:trace contextRef="#ctx0" brushRef="#br0" timeOffset="13672.61">18243 3281 0,'26'0'16,"1"13"0,-1-13-16,41 0 15,25 0-15,-65 0 16,39 13-16,-40-13 15,1 0-15,26 14 16,-27-14-16,40 0 16,-39 0-16,-14 0 0,0 0 15,14 0-15,-14 0 16,-13 13 0,26-13-1,-13 0 1,1 0 31,-1 0-16,0 13 344,0-13-344,1 13-31,-1-13 0,13 0 16,80 0-16</inkml:trace>
  <inkml:trace contextRef="#ctx0" brushRef="#br0" timeOffset="20608.75">7699 6297 0,'0'-13'31,"-13"39"16,0-12-47,13 12 15,-13 0-15,-1 67 16,-25 66 0,39-119-1,-40 92 1,27-79-16,13-27 16,-13 27-16,-1-26 15,14-1 1,0-13-1,-13 0-15,13 1 16,27-14 31,-1-14-16,-13 14-31,40-13 16,-40 13-16,40 0 15,159-26 1,-106 26 0,-27 0-16,345-13 31,-67 13-15,-265 0-16,345 0 15,-106-14 16,-252 14-31,146 0 16,-172-13-16,-27 13 16,67 0-16,-67 0 15,14 0-15,-13 0 16,-14 0 0,13-13-1,-13 13 1,-13-13 15,0-1-15,-13 14-1</inkml:trace>
  <inkml:trace contextRef="#ctx0" brushRef="#br0" timeOffset="22279.37">7713 6244 0,'26'13'16,"-13"-13"-16,67 0 16,-54 0-1,14 0-15,264-13 31,-158 13-31,-1-13 16,-66 13-16,80 0 16,-93 0-16,265 0 15,-199-13 1,1 13-16,105 0 31,-172 0-31,93 0 0,-53-14 16,13 14-1,-93 0-15,40-13 16,-13 13-16,-40 0 0,27 0 31,0 0-31,-27 0 16,0 0 0,0 0-1,1 0-15,-1-13 16,0 13 15,0 0 0,1 0-15,-1 0 0,0 0-1,0 0 16,1 0 1,-14 13-1,0 0-31,0 14 16,0-1-16,0 1 15,-14-1 1,14 1-16,0-1 0,-13 14 15,13 26 1,-13-26-16,13-1 16,0-25-16,0 65 15,13-39 1,-13-14 0,0 14-1,0-14 1,13-12-16,-13-1 0,0 13 15,0-13 1,14 1 0,-14-1-16,0 0 31,0 0 0,0 1 0,-40-1-15,-40 13-16,41-26 16,-1 14-16,-66 12 15,-39 14 1,105-40-16</inkml:trace>
  <inkml:trace contextRef="#ctx0" brushRef="#br0" timeOffset="37297.01">10769 6297 0,'13'0'15,"0"0"1,13 0 0,27 0-1,-39 0-15,65 0 0,-39 0 16,39 0-16,14 13 16,-40-13-16,52 0 15,1 0-15,-53 0 16,0 0-16,66 14 0,-66-14 15,53 0-15,0 0 16,-14 0-16,-65 0 16,12 0-16,94 0 15,-80 0 1,-40 0-16,13 0 16,-12 0-16,38 0 15,-38 0-15,12 0 16,-13 0-16,1-14 0,12 14 15,1 0-15,-1 0 16,27-13 0,-40 13-16,53 0 15,-39 0-15,39 0 16,-40 0-16,-12 0 16,25 0-16,-12 0 15,12-13-15,14 13 16,-39 0-16,12 0 15,-13 0-15,14 0 16,12 0-16,-12 0 16,-14 0-1,0 0-15,1 0 0,-1-13 32,0 13-17,0 0-15,0 0 16,1 0-1,-1 0 32,-13 13-31,13-13 0,-13 13-16,0 0 15,0 1-15,0 12 16,0-13-16,0 0 0,-13 14 0,13-14 15,0 14-15,-13 12 16,13-12-16,0 12 16,-14 54-1,14-53-15,0-27 16,0 13-16,0 27 16,0 0-1,0-40-15,0 1 0,0-1 16,0 0-16,14 14 15,-14-14 1,0 0 15,0 0-15,-14-13-16,1 0 16,-13 0-1,13 0 1,-14 14-1,1-14-15,12 0 0,-12 0 16,-106 0 0,79 0-16,0 13 15,-199-13 1,94 0-16,12 0 16,-39 13-1,66-13-15,-13 0 16,52 0-16,14 0 0,-66 13 15,13-13 1,66 0-16,-106 0 16,106 0-16,-13 0 0,-27 0 15,14 0 1,53 0 0,-1 0-16,-13 0 31,14-13-16,13 13-15,0 0 16,-1 0 31,1 0-31,0 0-1,0 0 1,-1 0-1,1 0-15,0 0 16,0 13 0,-1-13-1,1-13-15,0 13 16,0 0 0,-27-13-1,27 0 1,13-1-1,-13 1-15,13 0 16,0-14-16,0 1 16,0-1-1,0-52-15,0 66 16,13-14-16,-13-25 16,13-28-1,0 27 1,-13 40-16,27-27 15,-14 27-15,-13 0 16,26-14-16,-12 27 16,-14-13-16,26 0 15,-13 13 1,14 0-16,-14 0 16,14 0-16,-1 0 15,0 0 1</inkml:trace>
  <inkml:trace contextRef="#ctx0" brushRef="#br0" timeOffset="40628.68">19196 6932 0,'39'13'15,"-26"-13"-15,14 14 0,-1-14 16,27 26-16,-13-13 0,145 27 31,-66-14-31,0 1 16,-13-1-16,79-12 16,-119-14-16,1 0 15,38 13-15,15-13 16,-68-13-16,41 13 15,0-14-15,26 1 16,-93 0-16,67-14 16,-67 14-16,54-27 15,-1-12 1,-26-1 0,-40 13-1,0 13 1,1 1-16,-1 0 0,0-67 31,-13 80-31,-13-40 16,13 26-16,-40-78 15,-52-15 1,65 94-16,-26-14 16,-13-13-16,26 27 15,-132-53 1,119 52-16,-119-26 15,0 13 1,27 1 0,52 26-1,54-1-15,-147-12 16,107 26-16,26-13 0,13 13 16,-92 0-1,66 0 1,-27 0-16,41 0 15,12 13-15,13-13 16,-92 26 0,0 1-1,93-14-15,-14 0 16,14 0-16,-41 14 16,15 13-1,25-14 1,1 14-16,-1 13 31,27-40-31,0 27 16,-13 26-16,13 13 15,0-26 1,13-13-16,14 119 16,52-40-1,-39-67 1,-14-25-1,67 39-15,-14-26 16,1-14-16,-41-13 0,107 14 16,39-14-1,-145-13 1</inkml:trace>
  <inkml:trace contextRef="#ctx0" brushRef="#br0" timeOffset="48883.67">14155 8070 0,'0'13'31,"13"0"-31,27 14 16,-13-14-1,12 13-15,41 1 16,-41-14-16,-12 0 16,65 1-16,-12-14 15,-41 0-15,1 0 0,13 13 16,40-26-16,-40 13 15,39-14-15,-52 14 16,52-13-16,-52 13 0,0-13 0,-14 13 16,1-13-16,12 13 0,-25-14 15,12 14-15,27-26 0,-26 26 16,12-27-16,-26 14 0,1 13 16,12-13-16,-26 0 0,40 0 15,-27-14 1,0 14-16,1-14 0,-14 14 15,13-13-15,-13 13 0,13 13 16,-13-14-16,0 1 0,0 0 16,0-40-1,-13 40-15,13-1 0,0 1 16,0 0-16,-13 0 0,13 0 16,-14-1-16,14 1 0,-13-13 0,13 12 0,-13 1 15,-40-53 1,40 53-1,-27-14-15,27 14 0,-27-13 16,27 26-16,-14-14 0,1 1 16,13 0-16,-14 0 0,-12-1 15,-1-12-15,13 26 16,14-13-16,0 13 0,-14-13 16,14-1-16,-26 14 0,12-13 15,1 0-15,-14 13 0,-13-27 16,27 27-16,12-13 15,-12 13-15,-14-13 16,1 13-16,-1-13 16,0 13-16,14 0 15,12 0-15,1 0 0,-13 0 16,13 0-16,-14 0 0,14 0 0,0 0 16,-27 0-16,27 0 0,-1 0 15,1 0-15,0 0 0,-13 0 16,12 0-16,1 0 0,-13 13 15,12-13-15,1 0 16,0 13-16,0-13 0,-14 0 16,14 13-16,0-13 15,0 0-15,-1 0 0,14 14 16,-13-14-16,-13 13 0,12-13 16,1 13-1,-13 0-15,13-13 16,-1 14-16,1-1 15,0-13-15,0 0 0,13 13 0,-27 0 16,14 0-16,0 1 31,-1-14-31,1 13 0,0 0 16,0 0-16,13 1 16,-13-1-16,13 0 15,-14 0-15,1 1 0,13 25 16,-13-26-1,13 1-15,0-1 0,0 13 16,0-12-16,0-1 0,0 0 16,0 0-16,0 14 15,0 12-15,13-12 16,-13-14-16,0 14 16,13-1-16,1-13 15,-1 27-15,26 0 16,28 26-1,-14-27-15,-14-25 0,-12 12 16,12-13-16,41 14 16,-54-14-16,54 14 0,-41-14 15,-12-13-15,26 13 16,-14 0-16,1 0 16</inkml:trace>
  <inkml:trace contextRef="#ctx0" brushRef="#br0" timeOffset="50834.01">18164 7752 0,'0'53'16,"0"-26"-16,-14 26 0,14-27 16,-13-13-16,13 27 15,0 26 1,-13-53-16,13 1 0,0-1 0,13 0 15,-13 0 1,13-13 0</inkml:trace>
  <inkml:trace contextRef="#ctx0" brushRef="#br0" timeOffset="51247.86">18349 7726 0,'13'-13'15,"14"13"-15,-14 0 16,0 0-16,0 0 0,0 0 16,1 0-16,-1 0 0,0 0 15,0 13-15,27 13 16,-40-12-16,0-1 0,13 0 16,-13 13-16,0 14 15,0-13 1,0-1-16,0-13 0,0 1 15,0-1-15,0 0 0,0 13 16,0-12 0,14-1-16,-14 0 15,13-13-15</inkml:trace>
  <inkml:trace contextRef="#ctx0" brushRef="#br0" timeOffset="51457.11">18402 7938 0,'26'-14'16,"-13"1"-16,1 13 15,-1 0-15,0 0 16,0-13-16,27 13 0,-27 0 0,1 0 15,25-13 1,1 13-16</inkml:trace>
  <inkml:trace contextRef="#ctx0" brushRef="#br0" timeOffset="51810.98">18997 7752 0,'-106'0'16,"93"0"-16,-53 27 16,66-14-1,0 0-15,0 0 16,26 14-1,-26-14-15,14 0 0,-1-13 16,-13 14-16,13-1 16,0 13-16,-13-12 15,-13-1 1,0 0-16,-14 0 16,1 0-1,13 1-15,-1-14 16,1 13-16</inkml:trace>
  <inkml:trace contextRef="#ctx0" brushRef="#br0" timeOffset="52052.72">19301 7686 0,'0'13'32,"14"1"-17,-14 12-15,0-13 0,0 27 32,0-27-32,0 14 0,0-14 15,0 27-15,0-27 16,13 0-16</inkml:trace>
  <inkml:trace contextRef="#ctx0" brushRef="#br0" timeOffset="52259.93">19222 7805 0,'26'-13'32,"1"13"-32,-14 0 15,0 0-15,1 0 0,12 0 16,1 0 0</inkml:trace>
  <inkml:trace contextRef="#ctx0" brushRef="#br0" timeOffset="52501.8">19143 8017 0,'39'13'15,"-25"-13"-15,-1 0 16,40 0-16,-40 0 16,13-13-16,1 13 15,-14 0-15,14 0 0,25 0 16</inkml:trace>
  <inkml:trace contextRef="#ctx0" brushRef="#br0" timeOffset="53288.66">19751 7713 0,'66'0'16,"-52"0"-16,12 13 0,-26 0 16,26 14-16,-26-1 15,-13 0-15,-13 1 16,13-14-16,-1 0 16,-25 27-1,12-27-15,27 1 0,-13-14 16,13 13-16,-13 0 15,39-13 1,-13 0-16,40 0 16,-13 0-1,-27 0-15,14-13 16,-1 13-16,1-13 0,-1 13 0,-13-14 16,14 1-16,12-13 15,1-1-15,0 1 16,-40 12-1,13 1-15,-39 26 47,26 1-31,13-1 0,0 0-16,27 0 15,-14-13 1,-13 0-16,1 0 15,-1 0-15,0-13 0,-13 0 16,-13-14 0,0 14-16,13 0 15,-27 0-15,1 0 16,-1 13-16,14 0 16,0 13-1</inkml:trace>
  <inkml:trace contextRef="#ctx0" brushRef="#br0" timeOffset="53975.28">20518 7779 0,'-66'13'15,"53"0"1,13 0-16,-13 1 16,0-1-16,13 13 0,13-26 15,-13 14-15,40-1 31,-27-13-31,13 0 16,-13 0-16,1 0 16,-1-13-16,40-1 15,-40 14 1,0 0 0,1 0-16,-1 0 15,0 0 1,0 14-16,0-14 15,1 0 1,-1 13 0,0-13-16,0 0 15,1 0 1,12 0-16,-13 0 16,27 0-1,-27 0-15,14 0 16,-1-13-1,-13 13 1,1 0-16,-1-14 16</inkml:trace>
  <inkml:trace contextRef="#ctx0" brushRef="#br0" timeOffset="54113.02">21140 7885 0,'13'0'15</inkml:trace>
  <inkml:trace contextRef="#ctx0" brushRef="#br0" timeOffset="57444.19">2937 9327 0,'40'13'16,"-27"-13"-16,26 0 0,-12 13 15,13-13-15,26 13 0,-13-13 16,0 0-16,-14 0 0,80 13 16,80-13-1,-120 0-15,80 0 16,-80 0-16,1 0 0,184 0 16,-184 0-16,105-13 15,-106 13-15,106 0 16,-105 0-16,12 0 0,-12 0 0,52 0 15,-66 0 1,-13 0-16,0 0 0,0 0 0,-13 0 16,-1 0-16,-12 0 0,26 0 15,-40 0-15,27 0 16,-27 0-16,0 0 16,0 0-1,-39 0 16,-1 0-31,14 0 16</inkml:trace>
  <inkml:trace contextRef="#ctx0" brushRef="#br0" timeOffset="58296.19">4683 9485 0,'40'27'31,"-27"-27"-31,13 0 16,-12 0-16,52 0 0,-26 0 15,-1 0-15,14 0 0,66 0 16,0 0-16,14-13 16,12 13-16,1 0 15,-67-14-15,291 14 31,-198 0-31,-105 0 16,-15 0-16,41 0 16,-53 0-16,119-13 15,-133 13 1,0 0-16,-12 0 0,25 0 16,-25 0-16,-1 0 15,0 0-15,0 0 16,0 0-16,1 0 15,-1 0 1,0 0 0,0 0 31,1 0 15,-28-26 16,14 12-62</inkml:trace>
  <inkml:trace contextRef="#ctx0" brushRef="#br0" timeOffset="60389.87">7157 9750 0,'-53'119'16,"40"-93"0,0-12-16,13 12 0,-14 27 15,14-40-15,0 14 16,0-1-16,0-13 16,14-13-16,-14 14 0,13-14 0,13 13 15,54 0 1,-54-13-16,1 13 15,-1-13-15,-13 0 0,14 0 16,39 0-16,-26 0 16,-27 0-16,0 0 0,0-13 15,14 13-15,12-13 16,-25 13 0,-1-13-16</inkml:trace>
  <inkml:trace contextRef="#ctx0" brushRef="#br0" timeOffset="60649.57">7514 9842 0,'40'40'15,"13"0"1,0 13-1,-27-14-15,-13 1 16,1-27-16,-14 14 16,-14 13-16,1-1 15,-13 1-15,12-14 0,-12 1 16,13-1 0,0-26-16,-1 14 0</inkml:trace>
  <inkml:trace contextRef="#ctx0" brushRef="#br0" timeOffset="61435.65">8864 9803 0,'-146'-27'15,"120"41"-15,-14-1 16,13 0-16,-12 0 0,12 14 15,-26-1-15,27 14 16,26-14 0,0-12-16,26-14 15,-12 0-15,-1 0 16,40-14-16,-27 1 0,67-27 16,-40 14-1,0-14 1,-40 40-1,0 27 1,-13-14-16,0 93 31,0-67-31,0 1 16,0 0-16,-13 0 16,13-14-1,13-26-15,-13 13 16,13 0-1</inkml:trace>
  <inkml:trace contextRef="#ctx0" brushRef="#br0" timeOffset="61867.94">9327 9803 0,'-80'13'0,"41"0"15,25-13-15,-12 13 16,13-13-16,-1 14 16,1-1-16,13 0 15,199-92-15,-385 171 16,239-65-1,-26-27-15,-1 13 0,1 0 16,-14-13-16,13 14 16,1 12-1,-27 0-15,0 1 16,-27-1 0,1-12-16,13-1 15,-1 0-15,-52 27 16,53-40-16,-27 26 15,14-26-15,-1 13 16,1-13 0,13 0-1,26-13 1</inkml:trace>
  <inkml:trace contextRef="#ctx0" brushRef="#br0" timeOffset="62092.78">9591 9790 0,'0'13'32,"-26"53"-17,-1 0 1,1-26-1,13-1-15,-1-12 16,14-14-16,-13 0 16</inkml:trace>
  <inkml:trace contextRef="#ctx0" brushRef="#br0" timeOffset="62256.81">9446 9856 0,'0'-14'16</inkml:trace>
  <inkml:trace contextRef="#ctx0" brushRef="#br0" timeOffset="62404.85">9604 9988 0,'-158'-132'16,"330"264"0</inkml:trace>
  <inkml:trace contextRef="#ctx0" brushRef="#br0" timeOffset="63378.55">10530 9723 0,'-13'0'16,"-66"67"-16,79-54 15,-13 13-15,-1 14 16,14 13 0,14-13-16,-14-27 15,13-13-15,66 13 16,-52-26 0,-1 13-16,-13-13 0,1 13 15,12-14-15,-13 14 16,0 0-1,-13 27 1,0-1 0,0-13-16,0 1 15,14-1-15,-14 0 16,13-13-16,-13 13 16,13-13-16,14 0 15,-1-26 1,-26 13-16,0-1 15,0 1-15,0-26 16,0 25-16,-13 1 16,0 13-16,-14-13 15,14 13 1,0 0-16,13 13 16,13 0 15,0-13-31,0 0 0,1 0 15,-1 0-15,0 14 0,0-14 16,14 13 0,-1 0-1,-13-13-15,-13 13 16,14-13-16,-1 13 0,0-13 16,0 0 15,1 0-16,-1 0-15,0 0 0,0 0 16,1-13-16,25 13 16,1 0-1,-27-13-15,14 13 0,-1-13 16</inkml:trace>
  <inkml:trace contextRef="#ctx0" brushRef="#br0" timeOffset="63949.4">11377 9631 0,'-13'40'16,"13"-14"-16,0 27 15,13 26-15,-13 1 16,13-41-16,-13 107 15,0-120-15,0-12 16,0 12-16,-13-13 0,-27 67 31,1-67-15,12-13-16,1 0 16,-1-13-16,14-14 15,13 14-15,0-14 0,0 14 16,13-13-16,1 13 0,12-14 15,27-13 1,-13 14-16,-27 13 0,0 13 16,14-14-16,-1 14 15,0 0-15,1 14 16,-14-1-16,0 0 16,-13 0-1,0 1-15,0 12 31,0-13-31</inkml:trace>
  <inkml:trace contextRef="#ctx0" brushRef="#br0" timeOffset="65001.1">11919 9631 0,'0'40'16,"-13"26"-1,0-27-15,0 27 16,0 1-16,-1-14 16,14-40-16,0 13 15,0-13-15,0 27 16,0-27-16,0 1 16,-13-28 15,0 1-16,0 0-15,-1 13 16,14-13-16,-66-1 16,53 14-16,0 14 0,0-14 15,-1 0-15,14 13 16,-39 13 0,39-12-16,0-1 0,13-13 15,0 13-15,27-13 16,52 0-1,-25-26 1,-1-1 0,0-26-1,-66 40 1,13 0-16,-39 13 31,12 13-15,14 0-16,-13 0 15,13 1-15,0-1 16,13 0 0,1-13-1,25-13 1,1 0 0,-27 13-1,14 0-15,-14-14 16,0 28-16,0-14 15,-13 13-15,14-13 16,-14 13 0,0 0-1,13-13 17,13-13-17,-12 0 1,-1 13-16,40-13 31,-40 13-31,0 0 16,0 0-16,1 0 15,-1 0 1</inkml:trace>
  <inkml:trace contextRef="#ctx0" brushRef="#br0" timeOffset="65424.31">12554 9869 0,'-79'79'15,"79"-52"1,13-1-16,1-13 16,-1-13-16,26 0 15,28-13 1,-54 13-16,13-13 15,-12 0 1,-1 13-16,0 0 31,0 13-31,-13 0 16,40 27 0,-27-40-1,0 0-15,1 0 0,-1 13 16</inkml:trace>
  <inkml:trace contextRef="#ctx0" brushRef="#br0" timeOffset="66000.92">13494 9829 0,'-27'13'15,"1"-13"-15,13 14 16,-1-14-16,-25 13 16,25-13-16,1 0 15,-13-13-15,13 13 16,-1-14 0,28-12-1,-14 0-15,26-1 16,-13 14-1,0 13 1,1 0-16,12 13 0,1 14 16,-27-14-16,13 26 15,0-25-15,0 39 16,-13-14 0,-13 1-16,-13 0 31,-1-14-16,-13-13-15,27-13 16,-13 0 0,13 0-1,13-13-15</inkml:trace>
  <inkml:trace contextRef="#ctx0" brushRef="#br0" timeOffset="66349.16">13626 9895 0,'0'67'15,"-13"-41"1,13 0-1,0-12 1,13-28 15,0 1-15,0 0-16,1 13 16,-54-93-16,93 186 15,-40-93-15,0 13 16,14 0-1,-14 1 1,0-14 0,1-14-16</inkml:trace>
  <inkml:trace contextRef="#ctx0" brushRef="#br0" timeOffset="66750.8">14102 9618 0,'0'-14'15,"-26"54"1,13-27-16,-14 67 16,27-41-1,0 14 1,13-13-16,-13-27 0,14 0 15,25-290-15,-65 568 0,39-291 16,0 0-16,27 0 16,-27-14-16,0 1 15,1 13-15,-1-13 16,0 0-16,0 26 31,-13 27-15,0-14-1,14 1 1,-1-14-16,0 0 16,0 0-16,1-13 15,-1 0 1</inkml:trace>
  <inkml:trace contextRef="#ctx0" brushRef="#br0" timeOffset="66942.83">13838 9763 0,'-14'0'16,"41"13"0,52-13-1,-52 0-15,52 0 16,-13 0-1,-39 0-15</inkml:trace>
  <inkml:trace contextRef="#ctx0" brushRef="#br0" timeOffset="83887.51">18825 10464 0,'0'-13'16,"13"66"-1,1-13 1,-1 13-16,-13-14 0,13-12 15,-13-14-15,0 27 16,13 39 0,-13-66-1,0 0-15</inkml:trace>
  <inkml:trace contextRef="#ctx0" brushRef="#br0" timeOffset="84196.9">18865 10425 0,'53'-27'31,"-40"27"-31,40 13 16,-40 1-16,0-14 15,1 26-15,-1-13 16,-13 1-16,0 12 0,-13-13 0,-1 14 16,1-14-1,-27 27-15,27-27 16,0 0-16,-14-13 15,14 13-15</inkml:trace>
  <inkml:trace contextRef="#ctx0" brushRef="#br0" timeOffset="84612.87">19103 10319 0,'13'0'16,"-13"26"-1,13 1-15,-13 12 16,0 1-16,0 0 16,-13-27-16,13 27 15,0-27 1,13 0-16,-13 0 0,0 1 15,0-1-15,14-26 32,-1-1-32,0 14 15,0-13-15,14 13 16,-1 0 0,-13 0-16,1 13 15,-1 1 1,0-1-16,-13 0 15,13 13-15,1-26 16,-1 0 0,0 0-16,14 0 15</inkml:trace>
  <inkml:trace contextRef="#ctx0" brushRef="#br0" timeOffset="85030.23">19460 10451 0,'-40'27'16,"27"-14"0,13 0-16,13 13 15,1 1 1,-1-27-1,0 0-15,14 0 16,12-13-16,-12 13 16,-27-14-16,26 14 15,-13 0 1,14 0-16,-14 27 16,0-14-16,-13 14 15,14 12-15,-1 1 16,-225-265-1,411 516-15,-213-251 16,1-27 0,0 0-16,-27 0 15,27-13 1,-14-39 0,27 26-1</inkml:trace>
  <inkml:trace contextRef="#ctx0" brushRef="#br0" timeOffset="85496.19">19751 10425 0,'13'39'31,"1"-12"-31,-14-14 16,0 0-16,13 40 16,-13-13-1,0-27-15,-13 0 16,-1 14 0,1-14-16,-13-13 15,12 0 1,14-13-1,14-1 1,-14 1-16,13 13 0,0-26 16,0 13-16,14-14 15,-1 14-15,1-14 16,-14 14-16,0 0 16,0 13-1,14 13 1,-27 0-1,13 27 1,-13-13 0,0-14-16,-13 0 0,13 0 15,0 0 1</inkml:trace>
  <inkml:trace contextRef="#ctx0" brushRef="#br0" timeOffset="85633.02">19963 10358 0,'-27'0'16</inkml:trace>
  <inkml:trace contextRef="#ctx0" brushRef="#br0" timeOffset="86067.2">20122 10358 0,'-27'14'31,"27"-1"-31,-13 13 16,0 1-1,13 13 1,0-14-16,0-13 16,13 0-16,-13 1 15,13-14-15,0 13 16,14-26 0,-14 13-16,0-14 15,27-12 1,-14 13-1,-12 13-15,-14-13 0,13 13 32,13 13-17,-12 0-15,-14 0 16,0 0-16,0 1 16,-14-1-16,14 0 0,-13 0 15,0 1 1</inkml:trace>
  <inkml:trace contextRef="#ctx0" brushRef="#br0" timeOffset="86292.28">20638 10292 0,'26'-13'16,"40"13"15,-674 79-31</inkml:trace>
  <inkml:trace contextRef="#ctx0" brushRef="#br0" timeOffset="86487.82">20598 10425 0,'13'0'15,"0"13"-15,1-26 16,-1 13-16,26 0 31</inkml:trace>
  <inkml:trace contextRef="#ctx0" brushRef="#br0" timeOffset="87187.6">20651 10279 0,'26'-13'16,"-13"13"-16,27 0 16,26-13 15,-39 26-16</inkml:trace>
  <inkml:trace contextRef="#ctx0" brushRef="#br0" timeOffset="87368.78">20704 10464 0,'13'0'15,"13"0"1,1 0 0,-93 0-16,145 0 0,-66 0 15,0 0-15,14 0 16</inkml:trace>
  <inkml:trace contextRef="#ctx0" brushRef="#br0" timeOffset="115206.29">15584 12091 0,'-13'0'16,"39"0"15,40 14-15,-13-14-16,0 0 0,-13 13 15,0-13-15,-14 0 0,53 13 16,-39-13-16,-13 0 0,-1 0 16,0 0-16,1 0 0,-14 0 15,40 0 1,-40 0-16,0 0 15,1 0-15</inkml:trace>
  <inkml:trace contextRef="#ctx0" brushRef="#br0" timeOffset="115525.76">16073 11959 0,'53'27'16,"-39"-27"-16,-1 13 0,0 0 15,13 0-15,1 14 16,-14-14-16,0 0 0,14 27 15,-14-14-15,0-12 16,-13 12-16,0 14 16,-13-14-16,0 14 15,-14-14-15,14-26 16,13 14-16,-13-14 0,0 13 16,-1-13-1</inkml:trace>
  <inkml:trace contextRef="#ctx0" brushRef="#br0" timeOffset="122938.29">17119 11853 0,'-67'53'47,"28"-13"-32,25 0-15,1-1 16,0-25 0,26 52-1,27-40 1,-14-13 0,-12-13-16,25-13 15,-25 13-15,25-26 31,-39-1-31,0 14 16,-13 0 0,0-14-16,0 27 15,-1-13 1,-12 13-16,-14 0 16,27 0-1,0 0-15,13 13 16,-14-13-1</inkml:trace>
  <inkml:trace contextRef="#ctx0" brushRef="#br0" timeOffset="123359.04">17264 11919 0,'-40'40'15,"27"-13"-15,13-1 16,0-13-16,0 1 0,0-1 16,0 0-16,27 27 31,-14-27-31,0-212 0,-13 411 15,13-212-15,14 13 16,-14-26-16,0 13 16,14-13-1,-14 0-15,0-14 16,-13 14-16,0-13 16,0-1-1,-26 1 1,-1 12-16,14 14 15,0 0 1,13-13-16,-27 13 16</inkml:trace>
  <inkml:trace contextRef="#ctx0" brushRef="#br0" timeOffset="123859.34">18031 11827 0,'-26'13'16,"26"0"0,0 67-1,0-54 1,0 1-16,0 26 15,13-14 1,-13-12 0</inkml:trace>
  <inkml:trace contextRef="#ctx0" brushRef="#br0" timeOffset="124080.08">17886 12039 0,'53'-27'31,"-40"27"-31,0 0 16,40-13-16,-26 13 0,39-13 15,-53 13 1,13 0-16</inkml:trace>
  <inkml:trace contextRef="#ctx0" brushRef="#br0" timeOffset="124348.43">18269 11946 0,'14'13'47,"12"53"-16,-13-66-15,14 14-16,13-1 16,-27-13-1,0 0 1,-13-13-16,-13-1 16,0 1-1,-27-13 1,27 26-16,-27-27 15,27 27 1</inkml:trace>
  <inkml:trace contextRef="#ctx0" brushRef="#br0" timeOffset="124802.85">18706 11800 0,'40'-13'15,"13"13"17,-27 13-17,27 27 1,-53-27-16,13 53 31,-13 1-15,0-54-1,13 13-15,-13-12 16,0 25 0,0-26-16,0 1 31</inkml:trace>
  <inkml:trace contextRef="#ctx0" brushRef="#br0" timeOffset="125023.52">18706 11999 0,'13'-13'16,"93"13"31,-66 0-47,39-14 31</inkml:trace>
  <inkml:trace contextRef="#ctx0" brushRef="#br0" timeOffset="125346.09">19209 11853 0,'-80'93'62,"94"-80"-62,65 27 16,-53-40-1,14-13 1,-27-1 0,-13-65-1,-13 66 1,-40-40-1,40 40 1,0 13-16,-27-14 16</inkml:trace>
  <inkml:trace contextRef="#ctx0" brushRef="#br0" timeOffset="127016.3">16960 12224 0,'-27'-13'16,"14"39"-16,13-13 15,0 27 1,13-27-16,-13 27 16,14-14-16,12 14 0,-13-27 15,27 27-15,-14-27 16,-12 14-16,12-14 0,27 13 15,-13-13-15,-27 1 16,0-14-16,14 0 0,12 0 16,1-14-1,-14 14 1,1-13-16,-14 0 16,0 13-16,27-26 0,0-1 15,-27 27 1,0-13-16,27-14 0,-14 27 0,1-13 15,-14 0-15,40 0 0,-13-1 16,65-12 0,-78 13-16,13 13 15,65-27 1,-78 27-16,26 0 0,-13 0 16,-14 14-16,27-1 15,-13-13-15,-14 0 16,53 26-1,-39 1 1,-27-27-16,1 13 16,-1-13-16,0 13 15,0-13-15,0 0 16,1 13 0,-1-13-1,-13-13-15,26 13 16,-12-13-16,12 0 15,-13 13 1,40-27 0,-13 14-16,-27 13 15,40 0-15,0 0 16,-40 0 0,40 13-16,-40 0 15,1-13-15,12 0 0,53 14 31,-52-14-31,-14 0 0,14 0 16,12 0-16,-26 0 0,14 0 16,66-14-1,-80 1-15,13 0 16,-13 13-16,27-40 16,-13 27-16,-14-13 15,13-1 1,1 1-1,-14-1 1,-13 14-16,13 0 16,0 13 31</inkml:trace>
  <inkml:trace contextRef="#ctx0" brushRef="#br0" timeOffset="128809.06">19778 11814 0,'39'13'31,"-25"-13"-31,78 0 31,-39 13-15,-27-13-16,-12 0 15</inkml:trace>
  <inkml:trace contextRef="#ctx0" brushRef="#br0" timeOffset="129015.88">19831 11933 0,'52'26'32,"-38"-26"-32,39 0 0,-27 0 15,-13 0-15,53 13 16,-52-13 0</inkml:trace>
  <inkml:trace contextRef="#ctx0" brushRef="#br0" timeOffset="136327.57">20915 11734 0,'14'0'47,"-14"-13"-32,-14 0 1,1 13 0,0 0-16,-40 13 31,-13 14-16,39-1-15,14-13 16,0 14-16,0-1 16,13-13-1,13 1 1,0-14 0,0 0-16,67-27 15,-1-13 16,-66 40-15,-13 27 0,0-1-1,-13-12-15,13 12 16,-13 0-16,0 14 16,-1-13-1,14-1 1,14-26-1</inkml:trace>
  <inkml:trace contextRef="#ctx0" brushRef="#br0" timeOffset="136875.79">21140 11748 0,'-39'13'15,"12"13"-15,27-13 16,-13 14-16,0-14 15,13 27-15,0-27 16,0 0-16,13 0 16,0 1-16,0-14 0,27 13 15,-27-13 1,14 0-16,-1-27 16,-26 14-1,13-40 1,-13 40-1,-13 0-15,13 0 16,-13 13-16,0 0 31,-1 0-15</inkml:trace>
  <inkml:trace contextRef="#ctx0" brushRef="#br0" timeOffset="137096.35">21392 11721 0,'13'0'0,"-13"13"31,-13 1-31,13-1 0,0 13 16,-27 14-1,27-14-15,-13-12 16,13-1-16,-13 13 0,-1-13 15,14 1-15,-13 12 16,0-13-16,0 1 16</inkml:trace>
  <inkml:trace contextRef="#ctx0" brushRef="#br0" timeOffset="137250.82">21220 11774 0</inkml:trace>
  <inkml:trace contextRef="#ctx0" brushRef="#br0" timeOffset="137371.99">21511 11880 0</inkml:trace>
  <inkml:trace contextRef="#ctx0" brushRef="#br0" timeOffset="138252.5">22450 11602 0,'-13'-13'16,"-14"13"0,14 13-16,0 0 15,-14 27-15,14-27 16,-13 27-16,12 26 15,1-53-15,13 14 16,13-1-16,-13-13 16,27 14-16,-14-14 15,0-13-15,1 13 16,-1-13 0,-13-13-16,13 0 15,-13 0 1,0-1-16,-13 1 15,0 0 1,-1 13-16,1 0 16,-13 0-1,12 0 1</inkml:trace>
  <inkml:trace contextRef="#ctx0" brushRef="#br0" timeOffset="138613.16">22609 11628 0,'-14'-13'0,"-12"26"16,13-13-16,-1 27 15,1 13 1,13-1-16,0-12 15,0-14-15,13 27 16,27-14 0,0-13-16,-14 1 15,-12-14-15,-1 0 16,13-27 0,-13 1-16,-13 12 15,0 1-15,-13-13 16,13 13-1,-132-54-15,251 107 0,-132-53 16,-53-67-16,119 160 16</inkml:trace>
  <inkml:trace contextRef="#ctx0" brushRef="#br0" timeOffset="138830.79">22992 11602 0,'14'0'0,"-81"172"78,54-159-78,13 0 0,-13 14 16,13-14-16,-27 27 15,27-27-15,-13 0 16</inkml:trace>
  <inkml:trace contextRef="#ctx0" brushRef="#br0" timeOffset="138971.9">22741 11748 0,'0'-14'16</inkml:trace>
  <inkml:trace contextRef="#ctx0" brushRef="#br0" timeOffset="139135.78">23204 11827 0,'13'0'15,"-410"0"-15,318-79 16,568 158 0</inkml:trace>
  <inkml:trace contextRef="#ctx0" brushRef="#br0" timeOffset="139849.69">22093 12303 0,'-14'40'32,"14"-14"-32,-13 1 15,13-1-15,0-13 0,-13 27 16,13-27-16,0 14 15,0-1 1,-13 1-16,26-14 16,-13 0-1</inkml:trace>
  <inkml:trace contextRef="#ctx0" brushRef="#br0" timeOffset="140202.45">22199 12369 0,'-27'27'16,"27"-1"-16,13-13 16,-13 1-16,14 12 0,12-13 15,0 1 1,27-1-16,-26-13 15,-14 0 1,0-13-16,-13-1 16,0 1-1,-13 0-15,13 0 16,-13 13-16,-14-27 16,14 14-1,0 0 1,-66-1-16,145 28 15,-132-41 1</inkml:trace>
  <inkml:trace contextRef="#ctx0" brushRef="#br0" timeOffset="140494.54">22410 12382 0,'13'14'15,"1"39"16,-1-40-31,0 0 16,14 0 0,12 1-1,-26-14-15,1 0 16,12-14 0,-13 1-16,-13 0 15,-13-27 1,0 27-1,0 13-15,-1-13 16,1 13-16,-13 0 16,13 0-1</inkml:trace>
  <inkml:trace contextRef="#ctx0" brushRef="#br0" timeOffset="140731.19">22926 12263 0,'-26'53'31,"26"-39"-31,-27 25 16,27-26-16,-13 1 15,0 52 1,13-53-16,-13-13 16,13 13-16,-14 1 15</inkml:trace>
  <inkml:trace contextRef="#ctx0" brushRef="#br0" timeOffset="140887.88">22635 12343 0,'-13'-13'16,"39"13"15,-12 0-15</inkml:trace>
  <inkml:trace contextRef="#ctx0" brushRef="#br0" timeOffset="141024.78">23006 12449 0,'13'0'16</inkml:trace>
  <inkml:trace contextRef="#ctx0" brushRef="#br0" timeOffset="142157.01">21484 11020 0,'66'0'31,"-52"0"-31,-14 26 16,0 1-16,-14-14 0,1 13 15,0-12-15,-14 25 16,-12-12 0,12-1-1,14-12 1,13-1-16,13-13 16,27-13-1,-14-1-15,-12 14 16,12-13-16,14 0 15,-14 0-15,54-27 16,-67 27 0,-13-1-16,13 14 31,-39 0-15,12 14-1,41-1 1,-14 0-16,0-13 15,14 13 1,-1-13 0,-13-13-16,-13 0 15,-13 0 1,13-1-16,-26 1 16,39 0 15,0 13-16,40 0 1,-40 13 0,14-13-1,-14 13 1,14 1 0,-14-1-16,0-13 15,0 0-15,0-13 16,1-1 15,-28-12-15,1 13-1,13 0-15,0-1 32</inkml:trace>
  <inkml:trace contextRef="#ctx0" brushRef="#br0" timeOffset="142338.38">22265 10993 0,'-40'67'47,"27"-41"-47,-14 0 16,14-12-16,13-1 15,-53 40 1,40-40-16</inkml:trace>
  <inkml:trace contextRef="#ctx0" brushRef="#br0" timeOffset="142507.54">22053 11060 0</inkml:trace>
  <inkml:trace contextRef="#ctx0" brushRef="#br0" timeOffset="143368.25">21590 11351 0,'146'0'16,"-54"-14"-1,-39 14-15,0-13 0,145-13 16,-118-1-1,-41 27-15,1-13 0,0 0 16,26-27-16,-40 14 16,-12 12-16,-14 1 15,0-13-15,-14-1 16,-52-52-16,40 52 16,-40-25-16,-27-1 15,40 26-15,-13 1 0,0 12 16,-66-12-16,-67 13 15,146 13 1,-92 13-16,-1 13 16,80-12-16,0-1 0,-40 27 15,53-14-15,-13 14 16,53-14-16,-27 80 16,53-66-1,1-14-15,38 54 0,-12-54 16,0 14-16,66 26 0,-1-26 15,-52-27-15,0 13 16,0-13-16,238 1 16,-251-14-1,-14 0-15,14 0 16</inkml:trace>
  <inkml:trace contextRef="#ctx0" brushRef="#br0" timeOffset="154335.98">16960 12277 0,'0'-14'31,"-13"28"110,13 12-125,0-13-16,0 14 15,0-14 1,0 0-16,13-13 0,-13 13 0,0 1 15,0 12 1,13-13-16,-13 14 16,13-27-16,-13 13 15,13 0 1,-13 1-16,14-1 16,-1 0-1,-13 0-15,13-13 16,-13 13-16,13-13 15,-13 14-15,14-14 16,-1 13 0,0-13 15,0 13-15,1-13-1,-1 13 1,0-13-1,0 0 1,0 0 0,1 0-1,-1 0-15,0 0 16,0 0-16,1 0 16,-1 0-16,0 0 15,0 0-15,1 0 16,12-13-16,-13 13 15,14 0 1,-14 0 0,0 0-1,0 0-15,1-13 0,12 13 16,-13 0 0,14-13-1,-14 13-15,13 0 16,-12 0-1,-1-14-15,0 14 16,0 0-16,1 0 16,12-13-16,-13 13 15,0-13-15,1 13 16,12-13-16,-13 13 16,1 0-16,-1-13 15,13 13-15,-12-14 16,-1 14-1,0 0-15,0-13 16,0 13-16,1 0 16,-1-13-1,0 13 1,0 0-16,14-13 31,-14 13-31,-13-14 16,13 14-16,1 0 15,-1 0 1,-13-13 0,13 13-16,0 0 31,0-13-15,1 13-16,-1 0 31,0-13-31,14 13 15,-14 0-15,0-14 16,0 14 0,1 0-1,12 0-15,-13-13 16,0 13 0,14 0-16,-1 0 15,1 0 1,-14 0-16,0 0 15,14 0-15,-14 0 16,0 0-16,14 13 16,-14-13-1,13 0-15,-12 14 16,-1-14 0,0 0-1,0 13-15,0-13 16,1 0-1,-1 13-15,0-13 16,0 0 0,-13 13-1,14-13-15,-1 0 16,-13 14 0,13-14 15,0 0 31,1 0-15,-14-14-47,13 1 16,0 13-1,-13-13-15,13 0 16,14-14 0,-1 14 15,1 13-15,-14 0-16,-13-13 0,13 13 15,0 0 1,0 0-16,14 0 15,-14 13-15,0-13 16,1 0 0,12 13-16,-13-13 15,1 0 1,-1 13 0,0-13-16,0 0 15,0 14 1,1-14-16,-1 0 15,0 13 1,0-13 0,1 0-16,-1 0 15,0 0-15,0 0 0,1 0 16,-1 0 0,13 0-16,-13-13 15,1 13-15,-1 0 16,0 0-16,14 0 15,-1 0 1,-13 0-16,1-14 16,-1 14-16,13 0 15,-13 0 1,1 0 0,-1 0-16,13-13 15,-12 13 1,-1-13-1,0 13-15,0-13 16,1 13 0,-1-13-16,0 13 15,-13-14-15,13 14 0,0-13 16,-13 0 0,14 0-1,-14-1-15,13 1 16,0 0-1,-13 0 1,0 0 0,0-1 31,0 1 124,0 0 189,-13 13-345,13-13 1,-13 13 0</inkml:trace>
  <inkml:trace contextRef="#ctx0" brushRef="#br0" timeOffset="156916.73">16947 12277 0,'13'26'15,"0"1"1,0 12 15,0-26-31,1 1 0,-14-1 16,13 13-16,0-12 16,14-1-16,-1 13 15,14 1 1,-27-27-16,-13 13 15,40 0-15,-27-13 0,13 13 16,1-13 0,-1 14-16,-12-14 15,12 0-15,0 0 16,1 0 0,-14 0-16,14 0 0,-14 0 15,0 0 1,27 0-16,-27-14 15,0 14-15,0 0 16,1 0-16,12 0 16,1-13-16,-14 13 15,13 0-15,-13 0 0,1-13 16,-1 13-16,0 0 16,14-13-1,-14 13-15,0 0 0,0 0 16,1-13-16,-1 13 15,0 0-15,0-14 16,14 14-16,-14-13 16,40 0-1,-40 13-15,14-13 16,-14 13-16,0 0 0,13-14 16,27 1-16,-26 13 15,13-13 1,-27 13-1,13 0-15,-13 0 16,1 0-16,-1 0 0,13 0 16,1 0-16,-14 0 15,13 13 1,-12-13-16,-1 0 16,0 13-16,0-13 0,1 0 15,-14 14-15,13-14 16,13 13-1,-12 0-15,-1 0 16,0-13 0,-13 14-16,26-14 15,-26 13 1,14-13 0,-1 0-1,0 0 1,-13-13-1,13 13-15,1-14 16,12-12-16,-13 26 16,-13-13-16,27-1 15,26-12 1,-40 26-16,0-13 16,0 13-16,27 0 15,0-14 1,-27 14-16,0 14 0,0-14 15,1 0-15,12 0 0,-13 0 0,14 0 16,39 13 0,-40-13-1,1 0-15,39 0 16,-40 0 0,1-13-16,13-1 15,-27 14 1,0-13-16,14 0 15,-14 0-15,0-14 16,13 14-16,-26 0 16,14 13-16,-14-13 0,13-1 15,0 1 1,-13 0-16,0 0 16</inkml:trace>
  <inkml:trace contextRef="#ctx0" brushRef="#br0" timeOffset="158390.56">18944 12634 0,'-13'53'0,"13"-27"16,-13 1-16,13-14 0,0 13 15,0 1-15,0-1 16,0 14-16,0-27 16,13 14-16,-13-14 15,40 27 1,-14-40 0,1 13-1,-1-13-15,-13 0 16,27 0-16,39 13 15,-13-13-15,-13 0 16,53 0-16,-53 0 16,53 0-16,53 0 15,-120 0-15,41 0 16,-41 0-16,28-13 16,-41 13-16,40 0 15,0-13-15,0-1 16,1 1-16,-41 0 15,40-14-15,-13 1 16,-26 13-16,26-14 16,-40 14-16,40-13 15,0-14-15,-40 27 0,40-40 16,-27 26 0,14-26-16,-27 27 15,27-27 1,-40 40-16,26-40 15,1 26-15,-14 1 0,0-1 16,0-12 0,1 12-16,-1 27 0,0-39 15,0 25 1,-13 1-16,14 0 16,-14 0-16,13 0 15,0-1 1,-39 14 78,12 0-94</inkml:trace>
  <inkml:trace contextRef="#ctx0" brushRef="#br0" timeOffset="158860.84">20677 12237 0,'0'0'15,"27"-13"1,-14 0-16,0 13 16,0-14-16,14 1 31,-14 13-31,27-13 0,-27 13 15,0 0-15,0 0 16,14 0-16,-1 0 16,-12 0-1,25 26-15,-39-12 16,13-14-16,1 39 16,-14-26-16,13 14 15,-13-14-15,0 0 0,0 1 16,0-1-16,0 0 15,13 0 1,0-13 0,1 0-16,-1-13 15</inkml:trace>
  <inkml:trace contextRef="#ctx0" brushRef="#br0" timeOffset="160231.87">21431 11205 0,'40'0'16,"26"0"-1,27 0 1,-40 0-16,39 13 16,-39-13-16,53 0 15,-40 0 1,-13 0-16,-13-13 0,-27 13 16,0 0-1,-13-13-15,-40 0 16,1 13-16,-1-14 15,0 14-15,1 0 0,-54 0 16,-39-13 0,66 13-1,52 0-15,-12 0 16,52 13 0,1-13-1,-1 0-15,1 0 0,52 0 16,-13 0-16,27-13 15,-67 13-15,1 0 16,-1 0-16,-12-13 0,-1 13 16,0-13-1,-39-1-15,12 14 0,-52-13 16,-26 0 0,52 13-16,-79-13 15,53 13-15,26 0 16,14 0-16,12 0 15,54 0 17,-27 0-32,53 0 0,-13 0 15,-13 0-15,66-13 16,-53 13 0,-14-14-16,-25 14 0,-1 0 15,-13-13 1,-13 13-16,-40-13 15,13 0-15,0 13 0,-13 0 16,14 0-16,-14-14 0,-27 14 16,41 0-16,-14-13 0,13 13 15,27 0-15,-14 0 16,67 0 0,-27 0-1,14 0-15,52 13 0,67-13 16,-80 0-1,-13 0-15,-27 0 16,14 0-16,-27 0 16</inkml:trace>
  <inkml:trace contextRef="#ctx0" brushRef="#br0" timeOffset="166476.54">20955 12078 0,'13'13'32,"0"-13"-32,1 14 15,25-1 1,-12 0-1,-14 0-15,14-13 0,-14 14 0,0-14 16,40 0-16,-40 13 16,14-13-16,-14 0 0,13 0 15,14 0-15,13-13 16,-13 13-16,-1-14 16,-12 1-16,-14 13 0,0-13 15,27 0-15,-27 13 0,14-27 16,-14 27-16,0-13 0,0 0 15,-13 0-15,27-14 16,-14 14-16,-13 0 16,13-14-16,-13 1 0,0 12 15,0 1-15,0 0 0,0 0 16,0 0-16,0-1 0,0 1 16,-13 0-16,0-14 15,-1 14-15,14 0 0,-13 0 16,0 13-16,0-13 0,0-1 0,-14 1 15,14 0-15,-14 0 16,14-1-16,0 1 0,0 13 16,-14-26-16,14 26 15,-13-27-15,12 27 0,1-13 16,0 13-16,-14-13 16,-52-14-1,66 27-15,0-13 0,-1 13 16,1 0-16,-27-13 15,14 13-15,13 0 0,0 0 0,-1-13 16,-12 13-16,-1 0 16,14 0-16,0 0 15,0 0-15,-1 0 0,1 0 0,0 13 16,-40 0 0,40 0-1,-14 1-15,14-14 16,-13 13-16,12 0 0,1 0 15,0-13-15,-13 27 16,12-14-16,1 0 16,13 0-16,-13-13 0,0 14 15,13-1-15,-14 13 0,1-26 16,13 14-16,0-1 0,-13 13 16,13-13-16,-13 1 15,13-1-15,0 0 0,0 0 16,-13 1-16,26 12 0,-13-13 15,0 0-15,13 14 16,-13-14 0,13 0-16,0 1 15,14-1 1,-27 0-16,13-13 0,-13 13 16,13-13-16,14 14 15,-27-1-15,13-13 0,0 13 16,0-13-1,-13 13-15,14-13 32,-14 13-17,13-13 1,-13 14 0,0-1 30,0 0 1,13-13 781</inkml:trace>
  <inkml:trace contextRef="#ctx0" brushRef="#br0" timeOffset="168031.93">17185 11695 0,'13'-27'47,"0"27"-47,0-13 16,1 0-16,-14-1 0,13 1 15,13 0-15,-12 0 0,38-27 16,-25 14-16,-1 12 0,14-12 0,-14 13 16,14-1-16,66-25 15,-66 26-15,-1-1 16,-12 14-16,39-26 0,-40 26 0,1 0 15,13-13-15,-14 13 0,1 0 16,25 0-16,1 0 16,14 0-16,-41 0 15,67 0 1,-41 13-16,-12-13 0,-13 0 16,-1 0-16,14 13 0,-1-13 15,1 13 1,-27-13-16,1 14 0,12-14 15,1 13-15,-14-13 16,0 13-16,0-13 0,0 13 16,1-13-16,-1 0 15,0 13-15,0-13 16,1 14 0,-1-14 15,-13 13 63</inkml:trace>
  <inkml:trace contextRef="#ctx0" brushRef="#br0" timeOffset="171864.94">21153 12158 0,'-13'0'46,"0"0"-46,13-14 0,-13 14 0,0 0 16,-14-13-16,14 13 0,-14 0 16,-26-13-16,27 13 15,0-13-15,-1 13 0,1 0 0,-14 0 16</inkml:trace>
  <inkml:trace contextRef="#ctx0" brushRef="#br0" timeOffset="174102.24">3876 8903 0,'-13'13'31,"0"-26"-31,-27-40 16,40 40-16,-13-13 16,0 12-16,-1-12 0,-12-14 15,-1-13 1,1 27-16,13-1 0,-27-26 16,14 27-16,-41-14 15,41 14-15,-1 13 0,-12-1 0,-1 1 16,-92-26-1,105 39-15,1 0 0,-40 0 16,13 0-16,13 13 16,0-13-16,1 13 0,-1-13 0,-26 26 15,-80 27 1,120-26 0,0-14-16,-1 0 0,1 14 0,-1-14 15,-13 27-15,27-27 16,-13 13-16,13 1 0,-14-1 0,14-13 15,0 1-15,-1 12 0,-25 54 16,12-28 0,14-25-16,13-1 15,-13-12-15,13 12 0,-13 14 16,-1 26 0,14-40-16,14 14 0,-1 13 15,0-27-15,-13 1 16,26-1-16,-12 1 0,12-1 0,1 1 15,-1-14-15,53 53 16,-39-53-16,-13 1 0,12-1 16,-12-13-16,-1 13 0,1 0 0,-1-13 15,1 0-15,65 13 16,-65-13-16,-1 0 0,1 0 16,12 0-16,-12 0 0,26-13 15,26 0-15,-53 0 16,14 0-16,26-1 0,-13-12 15,-26 13-15,-1-1 16,1 1-16,25-13 0,-12-1 16,0 1-1,-27 13-15,14-1 0,-14 1 0,0 0 16,0 0-16,14-14 16,-27 14-16,13-27 0,0 27 15,-13 0-15,0-14 0,13 14 16,-13 0-16,14-27 15,-14 27-15,0-13 0,0 12 0,13 1 0,-13-13 16,0-1-16,13-26 16,-13 40-16,13-13 15,-13-14-15,0 13 16,0 1-16,0 13 0,0-14 16,0 14-16,0-13 0,-13 12 0,13 1 15,0 0-15,-13-14 16,13 1-16,-13 26 0,13-13 15,-14 13-15,14-14 16,-13 14 0</inkml:trace>
  <inkml:trace contextRef="#ctx0" brushRef="#br0" timeOffset="174947.24">3149 9988 0,'0'-13'0,"-14"0"15,14 52 1,0-26-16,14 54 16,-14-28-16,0 1 0,13 0 0,-13 13 15,0 39-15,0-52 16,0 0-16,13-1 0,-13 1 16,0-14-16,0 1 0,0 13 15,0-1-15,0-12 16,-13-14-16,13 0 15</inkml:trace>
  <inkml:trace contextRef="#ctx0" brushRef="#br0" timeOffset="175204.04">3228 10028 0,'-53'26'15,"0"27"1,13 0-16,14-27 0,-1 14 16,14-27-16,-13 27 15,-1 0 1,14-40-16,13 13 0</inkml:trace>
  <inkml:trace contextRef="#ctx0" brushRef="#br0" timeOffset="175368.38">3149 10054 0,'79'53'15,"-53"-53"-15,41 27 16,-41-14 0,-13-13-16,27 13 15,-27-13-15,14 0 16</inkml:trace>
  <inkml:trace contextRef="#ctx0" brushRef="#br0" timeOffset="187930.24">15121 1138 0,'13'0'0,"-13"-14"15,13 14 1,-13-13 0,0 0-1,-13-13-15,0-1 16,0 14 0,-1 0-16,1 13 0,-26 0 15,12 0-15,14 13 16,-67 27-1,54-27-15,13 0 0,-14 13 16,27-12-16,-13-1 16,13 0-1,13-13-15,27-13 16,-27 0-16,0-1 16,1 1-16,12 0 15,-13 0-15,-13 0 0,14 13 16,-1-14-16,13 28 31,-12 12-31,-1 27 16,-13-27-16,13 1 15,-13-14-15,0 14 0,0-14 16,13 40-16,-13-27 16,0-13-16,13 1 0,-13-1 15,14 0-15,-1-13 31</inkml:trace>
  <inkml:trace contextRef="#ctx0" brushRef="#br0" timeOffset="188339.54">15505 1085 0,'-14'-27'15,"1"27"-15,-13 14 0,12-14 16,-12 0-16,0 13 0,-1 0 16,-26 13-1,40-26-15,0 14 0,13-1 0,-14-13 16,28 13-1,-1 0-15,13 1 16,1-14-16,-14 13 0,14 0 16,-14-13-16,0 13 15,0-13-15,0 14 0,14-1 16,-27 0-16,0 0 16,0 0-16,-13 1 0,13-1 15,-14 0-15,1 0 0,-13 1 0,-1 12 16,-12 1-16,25-14 15,-12-13-15,13 13 16,-1 0-16,1-13 0</inkml:trace>
  <inkml:trace contextRef="#ctx0" brushRef="#br0" timeOffset="188552.71">15782 979 0,'14'13'31,"-28"0"-31,-12 80 0,26-67 16,-13-12-16,-1 12 0,14 1 0,-13-14 15,13 0-15,-26 40 16,26-40-1</inkml:trace>
  <inkml:trace contextRef="#ctx0" brushRef="#br0" timeOffset="188700.57">15518 1177 0,'-27'-13'0,"54"13"31,-1 0-15</inkml:trace>
  <inkml:trace contextRef="#ctx0" brushRef="#br0" timeOffset="189095.56">16484 979 0,'39'-13'16,"-12"-1"-16,12 14 15,-12 0-15,-1 0 0,-12 0 0,38 0 16,-38 0-16,-1 0 0,0-13 16,0 13-16</inkml:trace>
  <inkml:trace contextRef="#ctx0" brushRef="#br0" timeOffset="189312.49">16682 820 0,'26'0'16,"67"40"0,0 13-1,-54-14 1,-12-39-16,-14 27 0,-13-14 16,13 27-16,-26-27 15,-13 53-15,-1-26 0,-26 13 16,27-27-16,-1 1 0,1-1 15,-1-13-15</inkml:trace>
  <inkml:trace contextRef="#ctx0" brushRef="#br0" timeOffset="190052.96">18269 833 0,'14'-13'15,"-54"53"1,14-14-16,-27 1 16,39-27-1,14 13-15,-13-26 16,13 0-1,0-1-15,0-12 16,0-1-16,13-39 16,-13 53-16,14 0 15,-14-14-15,0 14 16,13 13-16,0 13 16,0-13-16,27 53 15,-14 0 1,-12-26-16,-1-1 0,-13 1 0,13-14 15,0 13-15,-13 1 0,14-1 16,-28 14-16,14-27 16,-26 14-16,13-1 15,-27 0-15,27-12 16,-14-1-16,-12 0 16,12-13-16,1 0 15,-1 0 1,14-13-16</inkml:trace>
  <inkml:trace contextRef="#ctx0" brushRef="#br0" timeOffset="190396.22">18402 873 0,'39'53'16,"-25"-13"15,-14-27-31,0 0 0,13-26 31,0 0-31,0 13 16,-13-14-16,14 14 0,-1 0 15,0 0-15,0 0 0,1 0 16,12 0-16,-13 0 16,0 0-16,1 0 15,-1 14 1,-13-1-16,13-13 16</inkml:trace>
  <inkml:trace contextRef="#ctx0" brushRef="#br0" timeOffset="191368.66">19037 503 0,'0'-14'16,"0"54"0,0-27-16,-13 27 15,13 13 1,0-27-16,13-12 0,-13 12 15,0-13-15,0 14 0,13-14 0,-13 0 0,13 27 16,0-14 0,-13-12-1,-26-28 17,13 14-32,0-13 0,-40 0 15,39 13-15,1 0 16,-40 0-16,27 0 15,13 13-15,-14-13 16,-26 40 0,40-14-1,13-12-15,13-14 0,0 13 16,27-13 0,-13 0-16,25-13 0,1-1 15,-26 1-15,-14 0 0,14 0 16,-14-1-16,40-25 15,-40 26-15,0-14 16,0 27-16,1-13 31,-14 39-15,0-12 0,0-1-1,13-13-15,0 13 16,0-13-16,1 0 15,12 0-15,-13 0 16,0-13-16,1 0 16,-1 13-16,0-14 0,0 1 15,-13 0 1,14 13-16,-14 13 31,0 14-15,13-27-1,-13 13 1,26-26 0,-12-1-16,-1 1 15,0 13-15,0 0 16,0 0-16,1 0 16,-1 0-16,0 0 0,14 13 31,-27 1-31,0-1 15,0 0-15,-14-13 16,1 26-16,0-12 16,0-14-16,-14 13 15,14-13-15</inkml:trace>
  <inkml:trace contextRef="#ctx0" brushRef="#br0" timeOffset="191594.97">19579 450 0,'53'39'31,"-53"-25"-31,40 78 16,-27-52-1,-13-14 1,13 14-16,0 0 15,1-27-15,-14 0 16,13 1 0</inkml:trace>
  <inkml:trace contextRef="#ctx0" brushRef="#br0" timeOffset="191793.54">19579 701 0,'0'-26'47,"13"12"-47,93-12 32,-93 26-32,27 0 31</inkml:trace>
  <inkml:trace contextRef="#ctx0" brushRef="#br0" timeOffset="192057.67">19791 635 0,'40'-13'31,"39"66"-15,-66-14-1,0-25-15,-13-1 16,14-13-16,-14 13 15,13-13 1,-13-13 0,13 0-1,0-14 1,-13 14-16,13-14 16,1 14-1,-1 0 1,0 13-1</inkml:trace>
  <inkml:trace contextRef="#ctx0" brushRef="#br0" timeOffset="192673.26">20135 582 0,'-27'13'16,"27"27"15,14-27-31,25-13 16,-12 0-16,-1-13 15,-13 13 1,14 13-16,26 14 16,-27-1-1,-26 1 1,13 12 0,-26 27-1,13-39 1,-13-1-1,26-39 1,0 0 0,67-66-1,-27 26 1,-14 26 15</inkml:trace>
  <inkml:trace contextRef="#ctx0" brushRef="#br0" timeOffset="193414.68">21352 357 0,'-40'-39'32,"27"39"-17,0 0 17,-1 0-17,1 0-15,0 13 16,-13 0-1,12-13 1,14 13 0,0 40 15,0-40-31,80 67 31,-54-54-31,-13-13 31,-13 1-31,-26 12 32,-53 1-17,-14-14 1,67-26 0,12 13-1</inkml:trace>
  <inkml:trace contextRef="#ctx0" brushRef="#br0" timeOffset="193637.05">21431 238 0,'40'132'46,"-40"-105"-46,26 39 16,-12-13 0,-1-40-16,0 14 15,-13-14-15,13 0 0,1-13 16,-1 13 0</inkml:trace>
  <inkml:trace contextRef="#ctx0" brushRef="#br0" timeOffset="193853.9">21392 529 0,'79'-53'16,"-53"53"-1,1-13-15,-1 13 0,-12-13 16,12 13-16,-13 0 0,53-13 16,-26-1-1</inkml:trace>
  <inkml:trace contextRef="#ctx0" brushRef="#br0" timeOffset="194441.03">21908 357 0,'-14'0'0,"1"0"0,0-13 16,0 13 0,-14 0-16,14 13 15,0-13-15,-1 0 0,1 13 0,-13 1 16,13-1 0,-1 0-16,14 0 15,0 1 1,0 12-1,14-13-15,-1-13 16,0 0 0,0 0-16,0-13 15,1 0 1,-1 13-16,0-13 0,0-1 31,-13 1-31,14 13 16,-438-172-16,861 344 31,-424-172-15,0 0-1,1 13-15,-1-13 32,0 0-32,-13 14 15,13-28 16,0 14-31,1 0 16,-1 0 0,0 0-1,0 0-15,1 0 16,-1 0 0,0-13-1,-674 132-15,1348-238 16,-673 106-16</inkml:trace>
  <inkml:trace contextRef="#ctx0" brushRef="#br0" timeOffset="194951.9">22357 79 0,'0'53'31,"-449"172"-31,898-423 16,-449 211-16,0 27 15,0 13-15,14-14 16,-14-25-16,0-1 16,0 0-16,13 13 15,-13-12 1,13-1-16,-26-13 16,-14 0-1,14-13 1,0 13-16,0 0 0,-1 0 15,1 0-15,0 0 0,-14 0 16,1 13 0,13-13-16,13 13 15,-13-13-15,-1 13 16,28 1 0,-1-14-1,40 0 1,-40 0-16,27 0 0,-1 0 15,-12 0 1</inkml:trace>
  <inkml:trace contextRef="#ctx0" brushRef="#br0" timeOffset="197783.74">17264 1905 0,'13'-40'15,"-13"27"1,0 0-16,0 0 0,-13-1 16,0 1-16,0 0 15,-1 13-15,1-13 0,0 13 0,-27 0 16,27 0-16,-40 13 16,40 0-16,-14 0 0,-12 14 15,12-1 1,14-12-16,13-1 0,-13 0 0,13 0 15,0 0 1,13-13-16,0 0 0,27 0 16,-14-13-1,27-13-15,-26 13 16,-14-1-16,13 1 0,1 0 16,-27 0-16,13-1 15,0 14-15,1 0 0,12 0 16,-26 14-1,13-1-15,1 13 16,-1-12-16,-13-1 0,13 13 16,0 14-16,-13-27 15,13-13-15,-13 27 16,14-1-16,-14-13 16,13-13-1,0 14-15</inkml:trace>
  <inkml:trace contextRef="#ctx0" brushRef="#br0" timeOffset="198223.66">17621 1759 0,'-66'0'15,"53"0"-15,-14 14 16,14-1-16,0-13 0,-14 13 16,14 0-16,0 14 15,26-14 1,14-13-1,-14 0 1,13-13-16,-12 13 0,12-13 16,14-1-1,-27 14-15,13 0 16,-12 0-16,12 14 16,-13-1-16,1 0 15,-1 14 1,-13-14-16,13 13 0,0-26 15,-13 27-15,14-14 16,-14 0 0,13 0-16,0-13 0</inkml:trace>
  <inkml:trace contextRef="#ctx0" brushRef="#br0" timeOffset="198408.12">17939 1918 0,'13'-13'31,"-26"26"-15</inkml:trace>
  <inkml:trace contextRef="#ctx0" brushRef="#br0" timeOffset="198876.58">18230 1667 0,'-80'0'16,"28"13"-16,25 0 16,14 1-16,-27-1 15,27 0 1,0 0-16,26 0 15,0-26 1,0 13-16,14 0 0,-14 0 16,0-13-16,40 0 15,-26 13 1,-14 0-16,27 13 16,-27 0-16,0 0 15,-13 1-15,13 12 16,0 1-16,-13-14 15,0 0-15,0 14 0,14-1 16,-14 14 0,0-27-1,13-13-15,0 13 16,0-13-16</inkml:trace>
  <inkml:trace contextRef="#ctx0" brushRef="#br0" timeOffset="199112.98">18746 1508 0,'-14'27'32,"1"39"-17,0-40-15,0 40 16,0-39-16,-14 52 15,14-39 1,13-27 0,0 0-16,0 1 0,0-1 15,-13-13-15</inkml:trace>
  <inkml:trace contextRef="#ctx0" brushRef="#br0" timeOffset="199268.57">18508 1693 0,'-14'0'15,"28"-13"17</inkml:trace>
  <inkml:trace contextRef="#ctx0" brushRef="#br0" timeOffset="199411.6">18759 1707 0,'13'0'16,"0"13"15</inkml:trace>
  <inkml:trace contextRef="#ctx0" brushRef="#br0" timeOffset="199996.65">19817 1826 0,'53'-53'15,"-26"39"-15,26-12 16,-14 13-16,-12 13 16,-14 0-16,0 0 15</inkml:trace>
  <inkml:trace contextRef="#ctx0" brushRef="#br0" timeOffset="200150.26">19936 1879 0,'-26'13'16,"118"-40"15,-78 14-31,12 13 16,40-26 0,-39 12-16</inkml:trace>
  <inkml:trace contextRef="#ctx0" brushRef="#br0" timeOffset="200627.74">20836 1495 0,'-106'0'16,"93"0"0,-93 93 15,119-93-16,53 0 1,-26-14 0,26-12 15,-53 26-31,14 40 31,-14 65 0,0-25-15,14-41 0,-14-25-1</inkml:trace>
  <inkml:trace contextRef="#ctx0" brushRef="#br0" timeOffset="201005.63">21272 1468 0,'-211'27'31,"198"-27"-31,13 13 31,53-13-15,-1-13-1,-25 13 1,26 0 0,-14 26-1,-25-12-15,-1 25 16,0 1-1,-13-27-15,27 67 32,-530-292-32,1019 476 15</inkml:trace>
  <inkml:trace contextRef="#ctx0" brushRef="#br0" timeOffset="201547.58">20651 2090 0,'53'-26'16,"-27"13"-16,292-80 31,-226 66-31,14 1 16,-80 26-1,14-13-15,-27 13 16,1 0-16</inkml:trace>
  <inkml:trace contextRef="#ctx0" brushRef="#br0" timeOffset="201745.75">20704 2143 0,'92'0'15,"-65"-13"1,52 13-16,40-27 16,-39 14-16,-14 0 15,-40 13-15,1-13 16,-14 13-16</inkml:trace>
  <inkml:trace contextRef="#ctx0" brushRef="#br0" timeOffset="203127.03">10702 1257 0,'-13'-27'16,"0"14"-16,-14 13 15,-12-13 1,26 26-16,-1-13 16,-25 27-16,-27 25 15,39-25 1,14-1-16,0 1 16,13-1-1,13-12 1,27-28-1,-14 14-15,-13-13 16,40-40-16,-13 27 16,-27-1-16,0 27 15,0-13-15,1 0 0,-1 26 32,0 0-32,0 14 15,1 39 1,-14-40-16,0-12 0,13 12 15,-13 0-15,0-12 0,0 25 16,13-25-16,-13-1 0,0 13 16,13-12-16,-13-1 15,14 0-15,-1-13 16</inkml:trace>
  <inkml:trace contextRef="#ctx0" brushRef="#br0" timeOffset="203505.95">10914 1177 0,'-13'0'16,"0"14"-16,-1-1 15,1 13-15,13 1 16,-13-1-16,26-13 0,-13 14 15,40 26 1,-27-40 0,14-13-16,-1 0 15,-13 0-15,14-13 16,-14 0 0,0-1-16,-13-12 0,0 13 0,0-1 15,-13-12-15,-14-14 16,27 27-1,-13 0-15,0 0 0,-40-1 0,93 28 16,-53-14 0,-1 13-16,14 13 15,0-12-15,0-1 16</inkml:trace>
  <inkml:trace contextRef="#ctx0" brushRef="#br0" timeOffset="203752.23">11456 1019 0,'-39'66'15,"-1"53"17,40-66-32,-26 13 15,12-13 1,14-40-16,0 0 0</inkml:trace>
  <inkml:trace contextRef="#ctx0" brushRef="#br0" timeOffset="203935.44">11179 1230 0,'0'0'0,"-14"-13"15,28 0-15,-1 13 16,0 0-16,14 0 15</inkml:trace>
  <inkml:trace contextRef="#ctx0" brushRef="#br0" timeOffset="204048.76">11456 1191 0,'14'0'15,"-1"0"1</inkml:trace>
  <inkml:trace contextRef="#ctx0" brushRef="#br0" timeOffset="204686.77">10676 1918 0,'410'-53'15,"-278"14"-15,-13-1 16,14 0-16,-27-13 16,-27 14-16,27-54 31,-80 67-31,1-27 0,-1-13 15,-26 26-15,0 0 16,0-52-16,-13-1 16,0 40-16,-1 0 0,-38-40 15,12 41-15,-40-41 16,-12 14-16,-80-14 16,-40 40-1,133 53-15,-80 13 16,-26 27-16,-106 79 15,132-13 1,0 13-16,93-53 16,-53 93-16,26 26 15,80-119-15,0 0 0,0 1 16,26 52-16,40-14 16,79 1-1,53-40-15,-118-66 16,12 14-16,159-41 15</inkml:trace>
  <inkml:trace contextRef="#ctx0" brushRef="#br0" timeOffset="206106.09">15822 675 0,'0'-14'0,"-13"-12"16,-27 0-16,0-1 16,1 1-16,12 12 0,1 1 15,-53-27-15,-1 14 16,-12 13-16,-14 0 16,13 13-1,-26 13-15,-13 26 16,66-25-16,-53 39 0,52-14 15,14 1-15,-52 39 16,52-39-16,13 13 0,-53 53 16,54-67-16,12 14 0,1 0 15,-1 0-15,14 13 0,-13 27 16,12 0-16,28-40 16,-1 52-16,40 1 15,-13-66-15,-14 0 0,27-1 0,53 41 16,0-27-16,-40-27 15,0 0-15,-13 1 0,13-14 16,53 27-16,53-27 16,-79 0-16,-54-26 15,14 13-15,40-26 16,13-1-16,-1-26 16,-52 27-16,-13-1 15,13-12-15,-13 12 0,-1-13 16,1 14-16,0-14 0,-1 1 0,1 12 15,13-52-15,13-14 16,-39 67-16,-14-14 0,13-26 16,1 0-1,-14-14-15,0 41 0,-13-1 16,0-26-16,-13 26 0,13 0 16,-13 14-16,13-14 0,-14 14 15,-12-40-15,13 26 0,-40-39 16,26 52-1,-12 1-15,12-1 0,-79-39 16,27 26-16,26 27 16,-26-13-16,39 13 15,-52-14-15,12 14 16,27 13-16,0-13 0,-39 13 16,39 0-16,0 0 0,-40 13 15,40 0-15,0-13 16,-158 66-1,171-39-15,-13 12 16,13-25-16,27 12 0,-13-13 16,-14 40-16,27-40 15,0 1-15</inkml:trace>
  <inkml:trace contextRef="#ctx0" brushRef="#br0" timeOffset="208063.41">13414 2275 0,'-13'0'16,"0"0"0,53 0 15,-27-13-31,13 13 0,107-53 15,118-13 1,-198 40 0,0 12-16,0 1 0,53-26 15,-80 39 1,0-14-16,14 1 0,-27 13 16,1-13-16,-1 13 15,0-13-15,0 13 16,-13-14-1</inkml:trace>
  <inkml:trace contextRef="#ctx0" brushRef="#br0" timeOffset="208354.77">13957 1905 0,'39'0'16,"1"0"-16,26 13 16,-26 0-16,0 1 0,26 25 15,-13 1-15,-14 39 31,-52-52-31,13-14 0,-26 53 16,13-26-16,-14 0 0,-39 52 16,26-39-1</inkml:trace>
  <inkml:trace contextRef="#ctx0" brushRef="#br0" timeOffset="209468.26">15796 1005 0,'0'-13'16,"-14"40"0,14-14-16,-13 27 0,13-27 15,0 40-15,0-27 0,-13 27 16,13-26-16,0-1 16,-13 14-16,-1 26 15,1-40 1,13-12-16,0-1 15,0 0 1</inkml:trace>
  <inkml:trace contextRef="#ctx0" brushRef="#br0" timeOffset="209629.5">15981 1244 0,'-13'-14'31</inkml:trace>
  <inkml:trace contextRef="#ctx0" brushRef="#br0" timeOffset="-211984.58">13652 4273 0,'14'0'0,"-14"-13"16,13 0-1,-26-1 1,-1-12-1,1 13-15,0-1 16,0 14-16,0-13 0,-14 13 0,14 0 16,0 0-16,-14 0 0,1 0 15,-40 27-15,39-14 16,1 13-16,-14-12 0,27 12 0,-14-13 0,1 27 16,26-27-1,-13 0-15,13 1 0,0-1 0,13 0 16,0-13-16,0 0 0,1 0 15,-1 0-15,0 0 0,13 0 16,14-13-16,-27 0 16,14-1-16,-14 1 0,0 0 0,1 0 15,-1 13-15,0-14 0,0 1 16,0 13 0,1 13-16,-1 1 15,-13-1-15,13 27 16,-13-27-16,0 13 0,0 14 15,0 0 1,0-27-16,0 13 0,13-12 16,-13-1-16,0 0 0,0 14 15,0-14-15</inkml:trace>
  <inkml:trace contextRef="#ctx0" brushRef="#br0" timeOffset="-211544.26">13944 4313 0,'-40'-14'16,"27"28"0,-40-1-16,39 0 0,-12 0 15,13-13-15,0 14 16,13-1-16,0 0 16,0 0-16,13-13 15,0 14-15,0-14 16,0 0-16,1 13 0,-1-13 0,0 13 15,0-13-15,14 13 16,-27 0-16,13 1 0,-39 12 31,-1 1-31,14-14 16,0 0-16,-27 14 0,27-14 16,-14-13-16,14 13 0,-13 0 15,12-13-15,1 0 0,0 0 16,0 0-1,13-13 1</inkml:trace>
  <inkml:trace contextRef="#ctx0" brushRef="#br0" timeOffset="-211294.88">14195 4233 0,'0'27'16,"0"-14"-16,0 0 16,-13 0-16,-1 67 15,1-67-15,13 14 16,-13 12-16,0 1 16,0-14-16,-1 1 15,1-14-15,13 0 16,-13 1-16,132-372 15</inkml:trace>
  <inkml:trace contextRef="#ctx0" brushRef="#br0" timeOffset="-211135.9">13944 4379 0,'26'13'47,"-13"-13"-47</inkml:trace>
  <inkml:trace contextRef="#ctx0" brushRef="#br0" timeOffset="-210983.71">14261 4471 0</inkml:trace>
  <inkml:trace contextRef="#ctx0" brushRef="#br0" timeOffset="-210559.03">14724 4366 0,'93'-14'16,"-67"1"-16,27 13 0,-27 0 16,14-13-16,-13 13 15,-1 0-15,14 0 0,-27 0 16,13-13-16,-12 13 0</inkml:trace>
  <inkml:trace contextRef="#ctx0" brushRef="#br0" timeOffset="-210315.37">14975 4180 0,'93'14'16,"-67"-1"-16,1-13 0,-14 13 16,27 14-16,13-1 15,-40 0 1,0-12-16,-13 12 16,0-13-16,-26 27 0,13-27 15,-1 1-15,1 12 0,-13-13 16,26 0-1,-14-13-15</inkml:trace>
  <inkml:trace contextRef="#ctx0" brushRef="#br0" timeOffset="-209665.08">15743 4141 0,'-40'39'15,"40"-25"-15,0-1 0,26 0 16,-12 0 0,12-13-16,1 0 0,-14 0 15,0 0-15,53-26 16,-53 26-16,1 0 16,-1-13-16,0 13 15,14 0-15,-14 13 16,0 0-16,-13 0 15,27 14 1,-27-14-16,0 0 0,0 53 31,-14-52-31,-12 25 16,-1-12-16,-12-1 16,25-26-16,1 13 0,-13-13 15,13 0 1,-1 0-16,1 0 15,13-13 1,13 0-16</inkml:trace>
  <inkml:trace contextRef="#ctx0" brushRef="#br0" timeOffset="-209356.76">16126 4194 0,'-26'53'31,"26"-40"-15,0 0-1,13 13-15,0-26 0,1 14 16,25-14 0,-26 0-16,14-14 15,-14 14-15,-13-13 16,13 0-16,-26 0 15,0-14 1,0 14-16,-67-13 0,146 52 0,-92-39 16,13 0-1,0 26 1</inkml:trace>
  <inkml:trace contextRef="#ctx0" brushRef="#br0" timeOffset="-208568.02">16351 4180 0,'-39'67'15,"39"-54"1,0 13-16,13-13 16,-13 1-16,13-1 0,0 0 15,27 14-15,-27-27 0,53 0 16,-52 0-1,-1-14-15,0 14 0,0 0 16,0-13-16,14-27 16,-27 27-16,13-13 0,-13 13 15,0-27 1,0 27-16,0-1 16,13 14-16,-13-13 15,14 13-15,-1 0 0,0 0 16,14 0-1</inkml:trace>
  <inkml:trace contextRef="#ctx0" brushRef="#br0" timeOffset="-207000.01">17304 4075 0,'26'13'16,"-13"13"-16,1 1 15,-14-14 1,13 40-16,-13-13 16,13-40-16,-13 13 15,0 0-15,0 0 16,13 0-16,-13 1 16,14-14-1,-1 0-15,0-14 16,66-38-1,-12-1-15,-15 26 16,41-39-16,-53 26 0,119-39 16,-107 53-16,41-27 15,-14 13 1,14 0-16,-53 14 16,-1 13-1,-12-1 1,-14 14-16,14-13 0,-14 13 31,0-13-31,0 13 16,-13-13-1,13 13 17,1 0-1,-28-14 156,1 14-171,-13 0-16</inkml:trace>
  <inkml:trace contextRef="#ctx0" brushRef="#br0" timeOffset="-205259.71">13957 5173 0,'26'0'15,"1"-14"1,-14 14-16,0 0 16,0 0-16,1 0 15,-28 14 16,1-14-15,-27 13-16,14 13 16,0-26-16,12 14 0,1-14 15,0 13-15,-14 0 16,1 0 0,26 0-1,0 1-15,13-14 0,14 26 16,-14-26-1,13 13-15,1 1 16,-14-14-16,13 13 0,-26 0 16,14-13-16,12 27 15,-39-1 1,0-26-16,13 13 16,-40 0-16,14 14 15,-14-14 1,-26 0-16,52-13 15,1 0-15,0 0 16,0 0 0,0 0-16</inkml:trace>
  <inkml:trace contextRef="#ctx0" brushRef="#br0" timeOffset="-204975.8">14380 5186 0,'13'0'0,"-26"53"31,0-27-15,0 14-16,-1-27 15,1 0-15,-13 40 16,13-26-16,-1-14 16,1 13-16,132-290 0,-251 528 0,132-250 15,-13-1-15,-1 0 16,1-13 0,0 0-16</inkml:trace>
  <inkml:trace contextRef="#ctx0" brushRef="#br0" timeOffset="-204785.18">14155 5292 0</inkml:trace>
  <inkml:trace contextRef="#ctx0" brushRef="#br0" timeOffset="-204579.7">14486 5398 0</inkml:trace>
  <inkml:trace contextRef="#ctx0" brushRef="#br0" timeOffset="-204153.78">15147 5212 0,'67'-13'15,"-15"13"1,1-13-16,-13 13 16,-27 0-1,1 0-15,-1 0 0,13 0 16,1-13-16,-14 13 15,0 0-15,0-14 16</inkml:trace>
  <inkml:trace contextRef="#ctx0" brushRef="#br0" timeOffset="-203856.7">15386 5040 0,'119'66'47,"-66"-39"-31,-40-14-16,0 14 15,0-14-15,0 40 16,-13-40 0,-13 13-16,0-12 15,13-1-15,-40 27 16,40-27-16,-13-13 0</inkml:trace>
  <inkml:trace contextRef="#ctx0" brushRef="#br0" timeOffset="-203330.79">16708 4842 0,'-39'26'32,"12"1"-32,1-1 15,-14 14-15,-26 39 16,26-39-1,40-27-15,-66 67 32,53-67-32,0 13 0,-14-12 31,14-1-31,0-26 31</inkml:trace>
  <inkml:trace contextRef="#ctx0" brushRef="#br0" timeOffset="-202939.95">16245 4868 0,'93'14'16,"-80"-1"0,67 26-16,-27-25 15,-27 12-15,40 14 16,-397-186-16,715 318 15,-371-158-15,67 38 16,-67-52-16,27 27 16,-27-14-1,0-13-15,14 27 16,-14-27-16,0 13 16,0-13-1,0 13 1</inkml:trace>
  <inkml:trace contextRef="#ctx0" brushRef="#br0" timeOffset="-201054.96">14327 5649 0,'132'-40'16,"-105"40"-16,13-13 16,13-14-1,-40 14-15,53-13 16,-53 13-16,27-14 0,-27 14 16,14-14-1,-1-25 1,-13 38-16,0-12 0,-13-1 15,0 14-15,0-53 16,-13 26 0,0 27-16,0 0 0,0-27 15,-27 14 1,27 12-16,-27-12 0,13 13 16,-25-14-16,-15 1 15,-12-1 1,0 14-1,52 13-15,14-13 16,-80 13 0,80 0-16,-53 0 0,26 0 15,-52 26 1,52-12 0,14-1-16,-186 106 46,159-79-30,-53 39 15,106-66-31,-40 67 16,40-1 15,0-53-31,67 67 16,-54-67-16,238 107 31,-211-120-15,92 13-1,-105-26-15,65 14 32,-52-14-17,0 0-15,-1-14 16,-25 1-1</inkml:trace>
  <inkml:trace contextRef="#ctx0" brushRef="#br0" timeOffset="-199529.77">13481 4802 0,'39'13'16,"-26"-13"-16,40 14 16,-39-14-1,38 13-15,-25-13 16,-1 0-16,93-13 15,14-1-15,-14-12 16,-79 13 0,145-53-1,-146 39 1,1 1-16,-13-1 16,12 1-1,-39 13-15,13-14 16,14-13-16,-27 1 15,13 25-15,-13 1 0,13-40 16,-13 0 0,0 40-16,0 0 15,0-40-15,0 27 16,0-1-16,-13-13 16,0 1-16,-14-1 15,14 14-15,-13-14 16,13 27-16,-1-14 15,-12 14-15,13-13 0,-53-14 16,13 13-16,0 1 16,-13-1-16,26 27 15,0-13-15,-52 0 16,52 0-16,-53 13 16,54-13-16,-14 13 15,13 13-15,-66-13 16,-13 26-1,79-26-15,-79 40 16,93-27-16,-1 0 16,-65 27-16,52-13 15,27-14-15,0 13 16,-40 14-16,26 0 16,14-27-16,-13 27 0,12-27 15,-25 66 1,25-66-16,1 14 0,-13 26 15,26-40 1,-27 40 0,27-13-16,-13-1 15,26-12 1,-13 12-16,27 1 16,39 13-1,-40-27-15,41 1 16,-15-1-1,-12-12-15,26 12 0,40-13 16,-79-13-16,-1 13 16,14-13-16,-1 14 0,14-14 15,-39 0-15,38 13 16,-38-13 0,25 0-16,-25 0 15,38 13 1,-38-13-1,-1 0 1,0 13-16</inkml:trace>
  <inkml:trace contextRef="#ctx0" brushRef="#br0" timeOffset="-190132.38">21722 6403 0,'14'26'31,"-14"1"-15,0-1 0,0-12-16,0-1 0,0 0 15,0 0-15,0 0 0,0 1 16,0-1 0,13-40 30,0 14-46,0 0 16,0 0-16,-13 0 0,14 13 16,-1-14-16,13 14 15,-12 0 1,-1 0-16,0 14 0,0-14 16,-13 13-16,14-13 0,-1 13 15,0-13 1,-13 13-16,13-13 15,-13-13 1,13 0 0,1 13-1,-1-13-15,0-1 16,0 14-16,-13-13 0,14 13 16,-1 13-1,0-13-15,0 0 16,-13 14-16,13-14 15,1 13-15,-14 0 16,13-13-16,0 0 16,0 0-16,1 0 15,-1 0-15</inkml:trace>
  <inkml:trace contextRef="#ctx0" brushRef="#br0" timeOffset="-189807.84">22278 6509 0,'26'-66'32,"-26"52"-32,0 1 15,0 0 1,-13 0-1,0 26 1,0-13-16,13 13 0,-14-13 16,14 13-16,-13 1 15,13-1 1,0 0-16,13 0 0,1 1 16,-1-14-16,0 0 15,0 0-15,27 0 16,-27 0-16,1-14 15,25 14-15</inkml:trace>
  <inkml:trace contextRef="#ctx0" brushRef="#br0" timeOffset="-189090">22622 6350 0,'-13'-13'16,"-1"13"0,1 0-1,0 0-15,0 13 16,-14 0 0,14 0-16,0 1 15,0-1 1,13 0-16,0 0 15,-14-13-15,28 14 32,-1-1-17,119-106-15,-145 80 0,-93 119 16,119-106 15,0 0-15,-13-13-16,14 13 15,-1-14 1,-13 1 0,13 13-1,0-13 1,1 13 15,-1 0-15,0 0 15,0 13-15,1-13 15,-1 0 0,0 0-31,0 0 16,0 0-1,1 0 1,-1 0-16,0 0 0,-13-13 16,66 0-1,-52-1 1,-1 14-16,0 0 16</inkml:trace>
  <inkml:trace contextRef="#ctx0" brushRef="#br0" timeOffset="-188027.54">16232 7779 0,'-26'-13'16,"12"26"-16,-12-13 15,13 13-15,-14-13 0,14 13 16,-13 0-16,12 1 16,1-1-1,26 13 1,1-26-16,-1 14 15,13-1-15,-12-13 16,-1 0-16,-13 13 0,13-13 16,0 0-16,14 27 15,-41-14 1,14 0-16,0 0 16,-26 0-16,26 1 15,-13-1-15,-27 0 16,27 0-16,0 1 15,-1-14-15,1 13 0</inkml:trace>
  <inkml:trace contextRef="#ctx0" brushRef="#br0" timeOffset="-187757.08">16285 7858 0,'0'-13'0,"13"13"16,-13 40 15,0-27-31,0 0 16,0 14-16,-13 12 31,13-26-16,0 1-15,0-1 16,13-13 15</inkml:trace>
  <inkml:trace contextRef="#ctx0" brushRef="#br0" timeOffset="-187412.24">16259 7885 0,'26'-40'15,"-13"27"1,14 26-1,12 0-15,14 14 16,-39-14 0,-1 0-16,0 0 0,-13 1 15,-13 38 1,-14-38 0,-39 25-16,40-25 15,-40 12 1,39-26-16,-26 13 15,27-13-15,-1 13 0,14-13 16</inkml:trace>
  <inkml:trace contextRef="#ctx0" brushRef="#br0" timeOffset="-185252.08">3664 9366 0,'53'-66'16,"-26"53"-1,-27 0-15,13-1 16,14-52-1,-14 53 1,0 0-16,-13-14 0,0 14 16,13 0-16,0-14 0,-13 1 0,14 0 15,-14 12-15,0-12 16,0 13-16,13-14 0,-13 14 16,0 0-16,-13-27 0,13 27 15,0-14 1,0 14-16,0 0 0,-14-14 15,1 1-15,0 13 0,13-1 16,-13 1-16,0 0 0,-1-13 16,-12-1-16,-27-13 15,13 14 1,27 13-16,-53-14 16,53 14-16,-40-13 0,13 12 15,0-12 1,14 26-16,-14-13 0,1-1 15,-14 1-15,13 13 16,13 0-16,1-13 16,0 13-16,-1 0 0,1 13 0,-27-13 15,0 13 1,0 1-16,26-1 16,-25 0-16,25 0 0,-13 1 15,-13 12-15,14-13 16,-14 27-1,40-27-15,-27 0 16,13 1-16,14-1 16,-13 0-16,-1 0 15,14 1-15,-40 52 16,27-40 0,12 1-1,-12 12-15,13 1 16,0-27-16,-1 27 15,-12 13 1,26-13-16,-13-1 16,13 1-16,0-14 15,0 1-15,13 65 16,0 27-16,-13-79 16,13-13-16,1 12 0,12 27 15,27 14 1,0-40-16,79 26 15,-92-66 1,158 0 0,-145 0-16,159-53 15,-80 0 1,-66 13-16</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2.038"/>
    </inkml:context>
    <inkml:brush xml:id="br0">
      <inkml:brushProperty name="width" value="0.025" units="cm"/>
      <inkml:brushProperty name="height" value="0.025" units="cm"/>
      <inkml:brushProperty name="ignorePressure" value="1"/>
    </inkml:brush>
  </inkml:definitions>
  <inkml:trace contextRef="#ctx0" brushRef="#br0">75 1,'-9'8,"1"2,0-1,0 1,1 1,1-1,-11 23,15-29,0-1,1 1,0-1,-1 1,1 0,0-1,1 1,-1 0,1 0,-1-1,1 1,0 0,0 0,1 0,-1-1,1 1,0 0,0 0,0-1,1 1,-1-1,1 1,0-1,0 0,0 1,5 4,-4-5,1-1,0 1,0-1,0 0,0 0,0 0,0 0,1-1,-1 0,1 0,-1 0,1 0,-1-1,1 0,-1 0,1 0,-1 0,1-1,0 1,-1-1,0-1,1 1,-1-1,8-3,-7 3,-1 0,1 0,-1-1,1 0,-1 0,0 0,0 0,0-1,-1 1,1-1,-1 0,0 0,0-1,0 1,-1 0,1-1,-1 0,0 0,0 1,-1-1,2-9,-2 10,-1 0,1 0,-1 0,0 0,-1-1,1 1,-1 0,1 0,-1 0,0 0,-1 0,1 0,-1 0,0 0,0 0,0 1,-4-6,2 6,1 0,-1 1,1-1,-1 1,0 0,0 0,0 0,0 1,-1-1,1 1,0 0,0 0,-1 1,1-1,-1 1,-6 0,-6 1</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8.256"/>
    </inkml:context>
    <inkml:brush xml:id="br0">
      <inkml:brushProperty name="width" value="0.025" units="cm"/>
      <inkml:brushProperty name="height" value="0.025" units="cm"/>
      <inkml:brushProperty name="ignorePressure" value="1"/>
    </inkml:brush>
  </inkml:definitions>
  <inkml:trace contextRef="#ctx0" brushRef="#br0">36 24,'-3'7,"0"-1,1 1,-1 0,1 0,0 0,1 0,0 0,0 0,0 14,1-18,1-1,-1 0,1 1,-1-1,1 0,0 1,0-1,0 0,0 0,0 0,1 0,-1 0,1 0,-1 0,1 0,0 0,-1-1,1 1,0-1,0 1,0-1,1 0,-1 0,0 0,0 0,0 0,1 0,-1-1,1 1,-1-1,0 0,1 1,3-1,-3 0,0 0,0 0,0 0,0 0,-1-1,1 1,0-1,0 1,0-1,-1 0,1 0,0 0,-1-1,1 1,-1-1,1 1,-1-1,0 0,0 0,0 0,0 0,0 0,0 0,0 0,-1-1,1 1,-1-1,0 1,0-1,0 0,0 1,0-1,0 0,-1 0,1-5,0 5,-1-1,0 0,0 1,0-1,0 1,-1-1,0 1,1-1,-1 1,0 0,-1-1,1 1,-1 0,1 0,-1 0,0 0,0 0,0 0,0 0,-1 1,1-1,-1 1,0 0,0 0,1 0,-1 0,-1 0,1 0,-4-1,-3 1,0 0,0 0,0 1,0 1,-20 0,13 1</inkml:trace>
</inkml:ink>
</file>

<file path=ppt/ink/ink20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5:29:17.268"/>
    </inkml:context>
    <inkml:brush xml:id="br0">
      <inkml:brushProperty name="width" value="0.05292" units="cm"/>
      <inkml:brushProperty name="height" value="0.05292" units="cm"/>
      <inkml:brushProperty name="color" value="#0070C0"/>
    </inkml:brush>
  </inkml:definitions>
  <inkml:trace contextRef="#ctx0" brushRef="#br0">8824 2858 0,'26'0'47,"-12"0"-47,-1 0 15,0 0-15,0 0 0,27 0 16,-27 0-16,0-14 0,1 14 16,25 0-16,-12 0 15,-14 0 1</inkml:trace>
  <inkml:trace contextRef="#ctx0" brushRef="#br0" timeOffset="183.94">8890 3016 0,'0'13'16,"13"-13"-1,27 0 17,-27-13-32,0 13 0,14 0 15,-1-13 1,-12 13-16,-1 0 0</inkml:trace>
  <inkml:trace contextRef="#ctx0" brushRef="#br0" timeOffset="9607.7">9750 2791 0,'13'0'15,"-26"14"1,0-1 0,-53 53-1,52-53 1,-12 27-16,-1-14 15,14-12-15,0 12 16,0 0 0,26-12-1,-13-1-15,13-13 16,0 0-16,14 0 0,52-13 16,-66-1-1,14 14-15,-14 0 0,27-13 16,-27 13-16,13-13 15,14 0-15,-27 13 16,-13-13 0</inkml:trace>
  <inkml:trace contextRef="#ctx0" brushRef="#br0" timeOffset="9850.23">9737 2831 0,'-14'0'16,"28"0"-1,-41 27-15,27-1 16,0 40 0,0-13-1,0-13-15,0-1 16,0-12-16,0-1 15,0 1-15,0-14 16,13 0 0</inkml:trace>
  <inkml:trace contextRef="#ctx0" brushRef="#br0" timeOffset="10194.74">9988 2844 0,'-40'27'16,"40"-14"-16,0 27 16,0-27-16,14 13 15,-14-12-15,66-1 16,-53-13-1,0 0-15,14 0 16,-1-27 0,-13 14-16,-13-13 15,0-1-15,-13 1 16,-13-1-16,12 14 16,-25-13-16,25 26 15,-12-14-15,-14 28 16,-26-1-1,53 0-15</inkml:trace>
  <inkml:trace contextRef="#ctx0" brushRef="#br0" timeOffset="11097.54">4921 3572 0,'40'-27'16,"0"14"-16,13 0 15,-14 0 1,-26 13-16,1 0 0,12 0 16</inkml:trace>
  <inkml:trace contextRef="#ctx0" brushRef="#br0" timeOffset="11284.81">5014 3757 0,'145'-26'32,"-131"26"-32,12-14 0,-13 14 15,14-13-15</inkml:trace>
  <inkml:trace contextRef="#ctx0" brushRef="#br0" timeOffset="12021.64">6178 3321 0,'13'13'15,"-13"0"-15,13 66 32,1-52-32,-14-14 15,0 27 1,13-14-16,-13-13 16</inkml:trace>
  <inkml:trace contextRef="#ctx0" brushRef="#br0" timeOffset="12418.42">6363 3321 0,'27'-14'16,"-14"14"-16,53 0 15,-39 14 1,-1-1-1,-13 0-15,0 0 16,1 14-16,-14-1 16,13 27-1,-13-13 1,0-27-16,0 13 16,13-12-1,-13-1 1</inkml:trace>
  <inkml:trace contextRef="#ctx0" brushRef="#br0" timeOffset="12645.74">6443 3532 0,'13'-13'0,"-13"0"16,13 13-16,0-14 0,27 1 16,-27 13-16,14-13 15,-14 13-15,0 0 16,0 0-16,1-13 0,-1 13 16,0 0-16</inkml:trace>
  <inkml:trace contextRef="#ctx0" brushRef="#br0" timeOffset="13060.78">6959 3307 0,'-14'-13'0,"-12"26"16,13 1-16,-14-1 16,1 0-16,12-13 0,1 13 15,13 0 1,0 1 0,27-1-1,-1 0 1,1 0-1,-14-13 1,27 27 0,-27-14-16,-13 0 0,-27 27 31,14-27-31,-27 27 0,1-27 16,-1 14-1,-13-1 1,27-13-16,-27 0 15</inkml:trace>
  <inkml:trace contextRef="#ctx0" brushRef="#br0" timeOffset="14710.61">8520 4220 0,'52'-13'16,"-12"0"-16,-27 13 15,14 0 1,-1 0-16,-12 0 16</inkml:trace>
  <inkml:trace contextRef="#ctx0" brushRef="#br0" timeOffset="14908.21">8559 4339 0,'-13'0'16,"39"0"15,-12 0-31,-1 0 16,13 0 0,-12 0-16,12-13 0,-13 13 15,1 0-15</inkml:trace>
  <inkml:trace contextRef="#ctx0" brushRef="#br0" timeOffset="15754.49">9075 4075 0,'80'-40'32,"-54"53"-32,-13-13 15,1 13-15,-14 1 16,0 12-16,-27 14 15,14-27 1,0 13-16,-14 1 0,14-14 16,0 0-16,-1 1 15,1-1-15,13 0 32,27-13-17,-1 0 1,14 0-16,-27-13 15,0 13-15,14 0 0,-14 0 16,80-27 0,-80 27-16,0-13 0,0 13 15,0 0-15,27-13 16,-27 0-16</inkml:trace>
  <inkml:trace contextRef="#ctx0" brushRef="#br0" timeOffset="16090.15">9551 4022 0,'-52'13'16,"52"0"-16,-27 14 16,27-14-16,0 13 15,13 1 1,1-14-16,12 0 15,-13-13-15,27 0 16,-14 0 0,-79-145-16,146 277 15,-80-132-15,1-26 16,-14 12-16,-14-12 16,1-1-1,0 14-15,0 13 0,13-13 16,-14 13-16,-39 0 15,27 0 1,13 13-16,-27-13 0</inkml:trace>
  <inkml:trace contextRef="#ctx0" brushRef="#br0" timeOffset="19417.5">3532 4868 0,'-26'0'47,"12"14"-32,-52-1 1,27-13-1,12 0 1,14 13-16,0-13 16,-14 0-16,1 13 15,13-13 1,13 13-16,-14 1 0,1 12 16,0-13-16,13 27 15,-13 13-15,13-13 16,0-1-16,0 54 0,0-53 15,0 132 1,13-53-16,0 13 16,14 0-16,-14-13 15,-13 0 1,13 40-16,-13-119 16,0 52-16,0-52 0,0 40 15,0-54-15,0 27 16,0-40-16,0 14 0,0 26 15,-13-40 1,26 13-16,-26-26 16,13 13-1,0 14-15</inkml:trace>
  <inkml:trace contextRef="#ctx0" brushRef="#br0" timeOffset="20787.52">21365 4829 0,'53'0'15,"40"0"16,-54 0-31,-25 0 16,12 0-16,-13 0 0,0 0 16,1 13-16,12-13 15,-26 13-15,13-13 0,1 13 16,-14 1-16,0-1 0,13 13 16,-13-13-16,0 40 15,13 0-15,0 27 16,1 39-1,-14-66-15,0-14 0,13 14 16,-13 13-16,13 40 0,0 53 16,0-53-1,1-40-15,-14-26 0,13 79 16,0 26 0,0-92-16,1 27 15,-1 52 1,0-106-16,-13 1 0,0-1 0,13 27 15,1-13 1,-1-14-16,-13-12 16,13-1-16,-13 0 15,13 0-15,-13 0 16,0 1 0,13-1-1,1 0 16,-28 0-15,-25 1 0,12-1-16,-12 0 0,-54 27 15,27-27-15,-80 40 16,-65 0-16,-160 13 16,-224-13-1</inkml:trace>
  <inkml:trace contextRef="#ctx0" brushRef="#br0" timeOffset="22163.66">3254 6734 0,'14'13'32,"-14"13"-17,0 1-15,0 12 16,0-12-16,0-14 15,0 27-15,0 0 16,0-27-16,13 13 16,-13-13-16,13 1 15,0-1-15,1-13 16,-1 0-16,26-13 0,-25 13 16,65-14-1,-39 1-15,-14 0 0</inkml:trace>
  <inkml:trace contextRef="#ctx0" brushRef="#br0" timeOffset="24188.17">14817 5530 0,'53'0'15,"-27"-13"-15,0 13 0,27 0 16,40-14-16,0 1 15,-40 0-15,105 0 16,-65-1 0,-27 14-16,27-13 0,12 0 15,-12 13-15,-53-13 16,26 13 0,0-13-16,-39 13 15,-1 0-15,-13 0 31</inkml:trace>
  <inkml:trace contextRef="#ctx0" brushRef="#br0" timeOffset="25062.39">14777 5662 0,'53'-13'16,"53"-14"0,-53 27-16,52-13 15,-52 0-15,0 13 0,0-13 16,0 13-16,106-14 15,-106 14-15,26 0 0,1 0 16,-54-13-16,27 13 16,-40 0-16,27 0 15,0 0-15,-27 0 16,0-13 0,0 13-16,0 0 15,1 0 1,-1 0 15,0 0-15,0 0 31,1 0 109,-41 0 94</inkml:trace>
  <inkml:trace contextRef="#ctx0" brushRef="#br0" timeOffset="27421.12">15042 4908 0,'-14'0'16,"54"0"0,39 0-1,-39 0-15,13 0 16,0-13-16,53 13 0,39-13 15,-65 13-15,-14-14 16,0 14-16,13 0 0,-26-13 0,13 13 16,40-13-16,-66 13 15,13 0-15,0-13 16,-27 13-16,14 0 0,-27 0 16,14 0-16</inkml:trace>
  <inkml:trace contextRef="#ctx0" brushRef="#br0" timeOffset="27784.32">15319 5027 0,'159'-26'16,"-119"26"-16,13 0 15,0-14-15,119 1 16,-67 0-16,-12 13 16,-40-13-16,26 13 15,-26 0-15,0-14 16,-26 14-16,-1 0 15,-13 0-15,14 0 16,-14 0-16,0 0 16,0 0-1</inkml:trace>
  <inkml:trace contextRef="#ctx0" brushRef="#br0" timeOffset="28736.19">16021 4829 0,'13'-27'16,"0"14"-16,27-14 16,26-12-16,66-41 15,-26 28 1,39-28 0,-52 40-16,-53 27 0,66-26 15,-67 25 1,-25 14-16,-1-13 0,0 13 15,0 0-15,0-13 0,14 13 16,-14 0 0,0-13-1</inkml:trace>
  <inkml:trace contextRef="#ctx0" brushRef="#br0" timeOffset="29017.17">16722 4299 0,'53'14'32,"-14"-1"-17,-12 0-15,-14 0 0,27 14 16,-27-14-16,40 27 15,-27-14-15,-26-13 16,0 1-16,0-1 0,0 27 16,-13-14-16,-13 27 15,12-53-15,1 26 16,0-12-16,-14-1 16</inkml:trace>
  <inkml:trace contextRef="#ctx0" brushRef="#br0" timeOffset="30022.17">17198 3863 0,'-13'13'15,"13"0"1,0 1-16,0 25 0,13 27 16,0-26-1,0-27-15,1 1 0,-1-1 0,13 13 16,14-12 0,-27-14-16,0 0 0,14 0 15,-14-14 1,0 1-16,1 0 15,-14-14 1,13 14-16,-13-13 0,0 12 16,0 1-16,13 0 15,-13 0 1,13 39 15,-13-13-31,27 1 16,-14-1-1,0 0-15,14 0 16,-14-13 0,0 0-16,0-13 31,1 0-31,-14 0 16,13-1-16,-13 1 15,0 0 1,0 0-1,0 0 1,13 13 0,0 0-1,0-14 1</inkml:trace>
  <inkml:trace contextRef="#ctx0" brushRef="#br0" timeOffset="30334.98">17859 3836 0,'-39'67'32,"12"-1"-17,-12 26 16</inkml:trace>
  <inkml:trace contextRef="#ctx0" brushRef="#br0" timeOffset="30521.93">17727 3956 0,'0'-14'16,"13"14"-1,1 0 1,91-106-16,-171 226 16,93-120-1,-14 13-15,40-13 16,13 0 0</inkml:trace>
  <inkml:trace contextRef="#ctx0" brushRef="#br0" timeOffset="30975.51">18084 3823 0,'0'-13'15,"-13"39"-15,13 14 31,13-27-31,-13 1 0,14-1 16,12-13 0,14 0-1,-27-13-15,0 13 16,-13-14 0,13-25-16,-13 25 15,0-12 1,0 13-1,0 0 1</inkml:trace>
  <inkml:trace contextRef="#ctx0" brushRef="#br0" timeOffset="31473.58">18389 3664 0,'26'14'15,"-13"-1"-15,0 0 16,-13 0-16,14 1 15,-14-1-15,13-13 16,-13 13-16,13 0 16,-13-39 31,0 13-47,0-1 15,13-12 1,1 13-1,-1-1-15,0 1 16,0 0 0,1 13-16,-14-13 15</inkml:trace>
  <inkml:trace contextRef="#ctx0" brushRef="#br0" timeOffset="31911.76">18680 3519 0,'-14'26'31,"28"-12"1,12-14-1,-13 0-16,14 0 1,-14 13 0,0 0-16,-13 0 15,13 14-15,1-1 16,-14-13-16,0 14 16,-14-27-16,14 13 15,0 0-15,14-26 31,12-13-15,-13-1 0,14 1-16,-1-14 0,1 27 0,-14-14 15,13 1 1,41-14 0,-54 27-16,0 0 15</inkml:trace>
  <inkml:trace contextRef="#ctx0" brushRef="#br0" timeOffset="37973.62">7051 6416 0,'132'0'15,"-92"0"1,13 0-16,66 13 0,-40-13 16,80 0-16,-66 0 0,-14 0 0,186-13 31,-173 13-31,1 0 0,0-13 0,65 13 16,1-13-16,-106 13 15,53-14-15,-27 14 16,-13 0-16,-52-13 15,-1 13-15,27 0 16,-27 0 0,0 0-16</inkml:trace>
  <inkml:trace contextRef="#ctx0" brushRef="#br0" timeOffset="38309.69">8348 6548 0,'79'0'0,"0"0"15,-26-13-15,93 13 16,-80 0-16,-13-13 15,0 13-15,53 0 16,-53 0-16,105-13 16,-105 13-16,13 0 15,-13 0-15,-26 0 0,26 0 16,-40 0-16,0 0 16,0 0-1,14 0-15,-27 13 16</inkml:trace>
  <inkml:trace contextRef="#ctx0" brushRef="#br0" timeOffset="39005.01">12131 6522 0,'53'-13'15,"-13"13"1,-1 0-16,14 0 16,40-13-16,-27 13 0,40-14 15,-53 14-15,13 0 16,40 0-16,-14-13 15,1 13-15,-66 0 0,25-13 16,-38 13 0,12 0-16,-13 0 0,14 0 0,-14 0 31</inkml:trace>
  <inkml:trace contextRef="#ctx0" brushRef="#br0" timeOffset="39277.4">12594 6615 0,'53'0'0,"0"0"15,-27 0-15,27 0 16,-26 0-16,26 0 0,-27 0 15,1 0-15,26 13 16,-40-13-16,40 0 16,-27 0-1,-13 13 1,-26 0 15</inkml:trace>
  <inkml:trace contextRef="#ctx0" brushRef="#br0" timeOffset="40997.36">8043 4538 0,'53'13'0,"0"-13"15,27 13 1,12 0-16,-39 1 15,0-14-15,198 26 16,-198-26-16,93 0 16,-1 0-1,-65 0-15,131-13 16,-131 13-16,-14-13 0,93-14 16,-93 27-16,79-26 0,-12-1 15,-28 1 1,-52-1-16,27 1 15,26-14-15,-40 0 16,-53 27 0,40-27-1,-40 1-15,-13-14 16,0 13 0,-13 1-1,13 12-15,-13-13 0,-1 1 16,1 12-16,13 1 15,-53-40-15,27 13 16,-1 13-16,1 27 16,13 0-16,-40-27 15,-27 0-15,-65-13 16,92 40 0,13 0-16,-26 13 15,-40-27 1,27 27-16,13-13 15,-53 13 1,92 0-16,-158 0 16,159 0-1,-54 13-15,-12-13 16,-80 27 0,132-27-16,-40 13 15,1 0-15,53-13 16,-67 13-16,40 1 15,27-14-15,-80 26 16,79-13 0,-52 1-16,39-1 15,-52 27 1,78-40 0,-38 26-16,38-13 15,-25 0-15,12 1 16,1 12-16,-40 27 31,39-26-31,1 12 16,12-26-16,-12 27 15,26-27 1,-26 27 0,26-13-16,0 25 15,0-38 1,0 12-16,26 40 15,0-26 1,-12-14-16,12 1 16,1 13-16,52 12 15,-53-25 1,1-1 0,26 1-1,-40-27-15,13 26 16,1-26-1,13 14 1,-1-14-16,-25 0 16,25 13-1</inkml:trace>
  <inkml:trace contextRef="#ctx0" brushRef="#br0" timeOffset="44172.47">16047 6482 0,'331'-13'16,"-265"13"-16,556-40 31,-437 40-31,93-13 15,119 0 1,-239 0 0,-105 13-16,79 0 31,-92 0-15,-27 0-1</inkml:trace>
  <inkml:trace contextRef="#ctx0" brushRef="#br0" timeOffset="44783.91">16722 6641 0,'436'-40'16,"-356"40"-16,396-26 31,-397 26-31,27-13 16,0 13-16,-53 0 15,79 0 1,-105 0-16,-14 0 0,53-14 16,-53 14-1,0 0-15,1 0 16,12 0-1,-13-13 17,-26 13 124,0 0-140,-14 0-16,14-13 15</inkml:trace>
  <inkml:trace contextRef="#ctx0" brushRef="#br0" timeOffset="45771.05">20227 6390 0,'199'0'31,"-159"0"-15,224 0 0,-198 0-1,159-14 1,-198 14 0</inkml:trace>
  <inkml:trace contextRef="#ctx0" brushRef="#br0" timeOffset="45954.01">20505 6456 0,'27'0'0,"52"0"31,-39 0-31,105-13 16,67-14-1,-172 14-15</inkml:trace>
  <inkml:trace contextRef="#ctx0" brushRef="#br0" timeOffset="46917.56">3810 6919 0,'40'13'32,"-1"-13"-17,28-13-15,-1 13 0,-27 0 16,28-13-16,-41 13 16,40-14-1,-53 14-15,27 0 0</inkml:trace>
  <inkml:trace contextRef="#ctx0" brushRef="#br0" timeOffset="47095.26">3969 7038 0,'66'-27'16,"-53"27"-16,93-26 0,-93 26 16,14 0-16</inkml:trace>
  <inkml:trace contextRef="#ctx0" brushRef="#br0" timeOffset="72576.92">8493 3321 0,'66'-40'0,"-53"27"0,1-1 15,39-25 1,-40-1-16,13 0 16,-12 27-16,-14-13 0,13-27 15,-13 13-15,-13 14 16,13-1-16,-14 14 0,1-27 15,-53-13-15,39 27 16,-12 13-16,12-1 16,14 14-16,-40-13 15,14 26-15,12-13 0,1 14 0,-27 25 16,13 1 0,14 0-16,-1-14 0,14 14 0,-27 26 15,27-40-15,13 14 16,-13-13-16,13 25 0,0-38 0,0 12 15,0-13 1,13 1-16,-13-1 0</inkml:trace>
  <inkml:trace contextRef="#ctx0" brushRef="#br0" timeOffset="72997.45">8771 2765 0,'132'-66'0,"14"13"16,13 0-16,-80 26 15,27-12-15,-14-1 0,14 14 16,79-27-16,1 0 15,-107 40-15,0-14 0,80-13 16,40 1 0,-160 25-16,80-12 15,-92 26-15,-1 0 0,-13-13 0,1 13 16</inkml:trace>
  <inkml:trace contextRef="#ctx0" brushRef="#br0" timeOffset="73288.06">10649 2077 0,'67'13'0,"144"67"32,-197-67-17,-1 13-15,-13 1 0,-53 79 16,13-40 0,-13 0-16,0-26 15</inkml:trace>
  <inkml:trace contextRef="#ctx0" brushRef="#br0" timeOffset="76557.48">13481 1508 0,'-14'0'15,"14"-13"1,-13 13-16,40-13 31,-14 13-15,13-14-16,1 1 15,26 0 1,-40 0 0,0 13-16,13-13 31,-12 26-31,-14 0 15,13-13-15,0 53 0,-13-40 16,13 40 0,-13-13-16,14-14 0,-14 1 15,0-1-15,13 14 0,-13-27 16,0 13-16,0 1 16,13 13-16,-13-27 15,13 0 1,-13 0-16</inkml:trace>
  <inkml:trace contextRef="#ctx0" brushRef="#br0" timeOffset="76807.36">13560 1786 0,'0'0'16,"13"-13"-1,27-1-15,-27 14 16,13-13-16,-12 13 0,12-13 16,-13 0-16,27 0 15,-13 13-15,-14-14 16,13 14-16,-26-13 0</inkml:trace>
  <inkml:trace contextRef="#ctx0" brushRef="#br0" timeOffset="77637.16">14089 1416 0,'0'26'0,"0"-13"15,13 27-15,-13 0 16,0 13-16,14-1 16,-14-25-16,13-1 15,-13-12 1,0-1-16,0-40 47,0 14-47,13 0 0,0-14 15,0 14-15,1 0 0,-1 0 16,13 13 0,-12-13-16,12 26 15,-13 13 1,-13-13-16,0 1 15,-13 12 1,0 1-16,0-14 0,-1 0 16,1 0-16,0 0 15,0-13-15,-1-13 32</inkml:trace>
  <inkml:trace contextRef="#ctx0" brushRef="#br0" timeOffset="77826.46">14367 1495 0,'13'0'0,"0"13"15,-13 0 1,0 1-16,14 12 16,-14-13-16,0 27 15,0-27 1,0 14-16,0-14 0,0 0 0,13 0 15,-13 1 1</inkml:trace>
  <inkml:trace contextRef="#ctx0" brushRef="#br0" timeOffset="77958.57">14367 1416 0,'-13'0'16,"13"-14"-16</inkml:trace>
  <inkml:trace contextRef="#ctx0" brushRef="#br0" timeOffset="78536.49">14499 1283 0,'13'53'16,"-13"40"0,0-40-16,27 39 31,-27-65-31,26-1 15,-12-13-15,-1 1 16,26-41 15,-25 1-31,-14-1 16,13-65 0,-13 65-16,0 1 0,0 13 15,-13-80 1,13 66-16,0 67 31,0 13-15,13-13-16,0 13 15,-13-40 1,13 0-16,14 27 16,-1-27-1,-12-13 1,-1 0-1,0 0-15,0 0 32,0 0-17,1 13 17</inkml:trace>
  <inkml:trace contextRef="#ctx0" brushRef="#br0" timeOffset="78700.85">15042 1521 0</inkml:trace>
  <inkml:trace contextRef="#ctx0" brushRef="#br0" timeOffset="78811.47">15002 1442 0,'-13'-13'31</inkml:trace>
  <inkml:trace contextRef="#ctx0" brushRef="#br0" timeOffset="79757.31">15081 2090 0,'93'-13'32,"-93"26"-32,13 0 15,-13 14 1,-13-14-1,26 0 1,0 1 0,1-14-16,-1 0 15,13 13-15,1-13 16,-14 13-16,0-13 16,-13 13-16,-13 14 15,0-27-15,-40 39 16,40-25-1,-1-14-15,1 0 16,0 13-16,-27-26 47</inkml:trace>
  <inkml:trace contextRef="#ctx0" brushRef="#br0" timeOffset="79876.53">15399 2117 0,'13'-14'16,"-39"28"31</inkml:trace>
  <inkml:trace contextRef="#ctx0" brushRef="#br0" timeOffset="80209.64">15690 1879 0,'-66'26'16,"52"-26"-16,1 13 15,13 0-15,13 14 16,14-1 0,-14-12-16,0-1 15,-13 0-15,14 0 16,-1 1-16,-13 38 16,0-38-1,-13-1-15,-1 0 16,1-13-16,-27 27 15,27-14-15</inkml:trace>
  <inkml:trace contextRef="#ctx0" brushRef="#br0" timeOffset="80808.5">15862 1680 0,'13'66'0,"-13"-53"0,40 305 31,-40-305-31,-14-13 32,1-26-17,0-54 1,13 54-16,0-27 0,0 27 16,13-1-1,0 1-15,27 12 16,-27 14-16,1 0 0,-1 0 15,27 40 1,-27-27 0,-26 14-16,13-1 15,-14-13-15,1 14 16,0-27-16,0 26 16,13-12-1,-14-14-15,28 13 16,-1-13-1,0 0-15,53 26 63,-66-12-47,-26 25-1,13-39-15,-67 40 16,67-40-1</inkml:trace>
  <inkml:trace contextRef="#ctx0" brushRef="#br0" timeOffset="81580.52">15412 2434 0,'93'-40'16,"-67"40"-16,53-26 15,80-27 1,-106 27-16,198-54 16,-198 54-16,119-54 15,-66 14 1,-66 40-16,105-133 15,-92 80 1,-26-1 0,-27 41-16,-13-133 15,-1 119-15,-52-27 16,-79 1-16,-27 66 16,13 26-1,-119 80-15,185-54 16,1 14-16,-239 212 15,252-199-15,-54 79 16,41-25-16,65-68 16,-39 94-1,106 13 1,26-106-16,40-14 16,132-12-1,-39-54 1,-133 14-1,0-13-15,26-1 0</inkml:trace>
  <inkml:trace contextRef="#ctx0" brushRef="#br0" timeOffset="82482.17">13957 2156 0,'159'-39'31,"-107"12"-31,226-65 16,-185 65-16,145-79 15,0 0 1,-66-13-1,-26 14 1,-107 52-16,27-40 16,-26-66-1,-40 120-15,-119-173 16,79 185 0,-118-39-16,91 40 15,-250-14 1,145 40-16,93 13 15,-14-13-15,-92 27 16,79-1-16,-384 186 16,371-106-1,53-53-15,-145 344 32,197-331-32,1 40 15,13-53-15,27 52 16,131 54-1,14-106-15,-39-27 16,-1-26 0,53-13-1</inkml:trace>
  <inkml:trace contextRef="#ctx0" brushRef="#br0" timeOffset="114896.13">6403 3731 0,'-13'0'16,"39"-14"15,27 1-16,-26 13-15,-1 0 0,0-13 16,14 13-16,40-13 16,-28-1-16,-25 14 0,13-13 15,-14 13-15,-13 0 16,0 0-16,1 0 16</inkml:trace>
  <inkml:trace contextRef="#ctx0" brushRef="#br0" timeOffset="115136.35">6403 3889 0,'304'-53'46,"-251"40"-46,-26 13 0,78-26 32,-91 26-32,-1 0 15,0 0-15</inkml:trace>
  <inkml:trace contextRef="#ctx0" brushRef="#br0" timeOffset="115913.7">20466 1177 0,'13'53'0,"-13"-13"16,0-14-16,0 1 0,0 26 16,0 0-1,0-14-15,0-25 0,0 12 16,0-13-16,0 40 16,13-53-16,-13 14 15</inkml:trace>
  <inkml:trace contextRef="#ctx0" brushRef="#br0" timeOffset="116257.21">20690 1244 0,'27'-27'0,"13"67"16,-14-1-1,-26 1 1,13-13-16,0 39 15,-13-53 1,0 13-16,14 14 16,-1 0-1,0-40 1,-13 13-16,13-13 0</inkml:trace>
  <inkml:trace contextRef="#ctx0" brushRef="#br0" timeOffset="116468.62">20690 1442 0,'0'-13'0,"14"0"15,12 13-15,-13-14 16,14 14-16,26-13 15,-27 13 1,27-13-16,-26 13 16</inkml:trace>
  <inkml:trace contextRef="#ctx0" brushRef="#br0" timeOffset="116776.32">21272 1191 0,'-52'0'0,"25"0"15,14 0-15,0 26 32,26-13-32,0 14 15,14-1-15,-14-13 16,0 1-16,0-1 0,14 13 15,-27-12-15,13-1 0,0 13 16,-26-12 0,0-1-1,-1-13-15,1 13 0,-66 27 16,13-14 0,53-26-16</inkml:trace>
  <inkml:trace contextRef="#ctx0" brushRef="#br0" timeOffset="119306.29">18521 2090 0,'26'0'16,"1"0"-16,105-13 15,-66 0-15,14 0 16,197-40-16,94-14 16,-120 15-1,172-28 1,-12-12 0,-266 65-16,424-79 15,-437 93-15,1-13 16,237-27-16,-39 13 15,-159 14 1,-80 12-16,-12 1 0,65-13 16,-65 12-16,171-25 15,-106 25 1,-105 1-16,66 0 16,-80 13-16,1-13 15,65 0-15,14-1 31,-53 14-31,-40 0 0,40-13 32,-39 13-32,-1 0 0,0 0 15,0 0 1,-66 0 15,-13 0-15</inkml:trace>
  <inkml:trace contextRef="#ctx0" brushRef="#br0" timeOffset="121615.35">19010 2103 0,'27'40'16,"-14"-40"0,13 66-1,-12-53-15,25 54 31,-25-54-31,12 27 0,1-14 16,-14-13-16,40 27 16,-27-27-1,1 14 1,26-1-16,-40-26 16,0 0-16,0 13 0,0-13 0,1 0 15,-1 14-15,66-14 16,-52 0-16,26 0 15,-40 0-15,27 0 16,12 0-16,15-14 16,-41 14-16,120-13 15,-120 0 1,40 13-16,-39-13 16,-1 13-16,27-14 0,-27 14 15,1-13-15,-14 13 0,14 0 16,-1-13-16,53 0 15,-52-1-15,-1 1 0,-12 13 0,25-13 16,14 0 0,-40 13-16,1-13 15,12-1-15,-13 1 16,1 13-16,-1 0 16,0-26-16,14 26 15,-27-14-15,13 14 0,-13-13 16,13 13-16,0-13 0,14 0 15,-14-1-15,13 1 16,-12 13-16,-1-13 16,0 0-16,13 13 15,-12-13-15,25-1 0,-25 14 16,25-13-16,27-13 16,-26 26-16,13-14 15,0 14-15,-13-13 16,-1 13-16,67 0 31,-79 0-31,-14 0 0,13 0 16,1 0-16,-1 0 0,14 13 15,-27-13-15,27 0 16,0 14-16,-14-14 16,0 13-16,-12-13 0,-1 0 15,0 0-15,40 13 16,-40 0-1,1-13-15,-1 0 16,0 14 0,0-14-1,0 0 1,1 0 15,-14-14-15,13 1-1,0 0 1,0 0-16,1-1 16,-1-12-1,13 13-15,14-27 16,-14 14-16,-12 12 16,-1 14-16,27-26 15,-27 13-15,0-1 0,53-12 16,-39 26-1,-14-13-15,13 0 0,1 13 16,-14 0-16,80-14 16,-80 14-1,27 0-15,26 0 16,-53 0-16,27 0 16,12 0-16,-25 0 15,-14 0-15,0 0 16,14 0-16,26 0 15,-14-13-15,-25 13 16,12-13-16,-13 13 16,1-13-16,25-1 0,1 1 15,-27 0-15,0 13 16,-13-13-16,14 13 0,12-27 16,14 1-1,-27 13-15,14-40 16,-14 39-1,13-25-15,-13-14 16,-13 40-16,14-1 16,-14-25-16,13-1 15,-13 14-15,13-1 16,-13 14 0,0 0-16,0-1 15,0 1-15,0 0 16,0 0-1,0-1 1,-13 14-16,0-13 16,-14 0-1</inkml:trace>
  <inkml:trace contextRef="#ctx0" brushRef="#br0" timeOffset="123169.39">18852 1680 0,'13'40'16,"-13"-27"0,0 0-16,13 27 15,-13-14 1,13-12-16,-13-1 0,0 13 16,0-12-16,0-1 0,0 0 15,0 0-15</inkml:trace>
  <inkml:trace contextRef="#ctx0" brushRef="#br0" timeOffset="123636.81">19037 1667 0,'0'0'16,"0"26"-1,-13 1-15,13 12 16,0-25-16,0-1 16,13 27-16,-13-27 15,13 0-15,-13 0 0,13 1 16,0-14-16,-13 13 0,14-13 16,-1 0-16,0 0 15,0 0 1,-13-13-1,0-1-15,0 1 16,-13 13-16,13-13 16,0 0-16,-13 13 0,0 0 31,-1 0-31,1 0 16</inkml:trace>
  <inkml:trace contextRef="#ctx0" brushRef="#br0" timeOffset="124209.24">19248 1667 0,'40'-27'0,"-27"27"31,-39 14-15,-1 12 15,14-26-31,13 13 0,0 1 16,0-1-1,13-13-15,14 13 16,-27 0-16,13-13 16,0 13-16,1-13 0,-1 0 15,0 14-15,0-14 16,1 13-16,-14 0 0,-14 14 16,1-14-1,0 0-15,-27 14 16,0-14-16,1 13 15,26-26-15,-1 13 0,1-13 16,0 14-16</inkml:trace>
  <inkml:trace contextRef="#ctx0" brushRef="#br0" timeOffset="124949.59">22834 1045 0,'0'-13'15,"13"39"1,-13 1 0,0-14-16,13 13 15,-13-12 1,13-1-16,-13 0 0,0 0 15,0 1-15</inkml:trace>
  <inkml:trace contextRef="#ctx0" brushRef="#br0" timeOffset="127028.94">22979 1019 0,'0'-14'15,"40"54"1,-27-27-16,-13 1 16,13-14-16,0 13 0,1 26 15,-14-25-15,0-1 16,0 0-16,0 0 15,-14 1-15,1-14 0,0 13 16,0 0-16,0-13 16,-1-13-1,28-14 1,-1 27 0,13-26-16,-26 13 15,13-1-15,1 1 0,-1 13 0,13-26 16,-12-1-1,-14 1-15,13 26 0,-13-13 16,0-1-16,0 1 0,-13 13 16,13-13-16,-14 13 0,14-13 15,-13 13-15,0 0 0,0-14 16,-14 14-16,14 0 16,13 14-16,-13-14 15</inkml:trace>
  <inkml:trace contextRef="#ctx0" brushRef="#br0" timeOffset="127421.39">23283 966 0,'14'-14'16,"-14"41"31,0-14-47,13-13 15,0 27 1,13-1-1,-12-26-15,-14 13 0,13-13 16,0 14 0,-13 12-1,-13-13-15,-40 14 16,40-27 0,-14 13-16,14 0 15,-13-13-15,12 13 0,1-13 16</inkml:trace>
  <inkml:trace contextRef="#ctx0" brushRef="#br0" timeOffset="134118.37">18441 9948 0,'14'27'15,"-14"-14"1,0 0-16,0 0 0,13 1 0,0 52 31,0-53-31,1 14 0,-1-14 0,-13 13 16,26 14-16,-12-27 16,-1 0-16,0 14 0,13-14 15,-12 14-15,39-1 0,-40 0 16,13-12-16,-13-1 0,14 0 0,-1 0 15,1 1-15,-1-1 0,-12-13 0,12 13 16,0 0-16,1-13 0,-1 14 0,67-1 31,-67-13-31,-12 0 0,39 0 16,-27 0-16,14 0 16,-14 0-16,1 0 0,-1-13 0,-13 13 15,54-14 1,-41 1-16,-13 13 0,0-13 0,14 13 15,-14-13-15,0 13 0,1-14 0,12 14 16,27-26 0,-27 13-16,-12-1 0,-1 14 15,0-13-15,14 0 0,-14 0 0,13 0 16,-13 13-16,54-40 16,-41 27-16,1-1 0,-14 1 15,13 13-15,14-26 16,-14 26-16,-12-14 0,12 1 0,-13 13 15,14-13-15,-1 0 0,54-14 16,-14 1 0,-27 13-16,1 13 0,-13-14 15,12 1-15,1 0 0,0 13 16,-1-13-16,-12-1 0,12 1 0,1 13 0,0-13 16,0 0-16,-1 13 0,41-27 15,-41 14-15,1 13 16,13-13-16,-13 0 0,-1-1 0,1 14 15,53-13-15,-54 0 0,-12 13 16,65-13 0,-26 13-16,-26 0 0,-13 0 15,12 0-15,-12 0 0,12 0 0,-12 0 16,13 0-16,-14 0 0,27 0 16,-13 0-16,-1 13 0,1-13 0,13 0 15,13 0-15,-39 13 16,-1-13-16,0 0 0,1 0 15,-14 0-15,40 13 16,13 1 0,-53-14-16,1 0 0,-1 0 15,0 0-15,0 13 0,1-13 16,-1 0-16,0 0 16,0 0-1,0 0 16,1 0-15,-1-13 0,0-1-1,-13 1-15,13 13 16,-13-13-16,40-14 16,-27 14-16,1 0 15,-1 13-15,0-13 0,0 0 16,0 13-16,1-14 0,-1 14 0,0-13 15,0 13-15,1-13 0,52 0 32,-53 13-32,0 0 0,0 0 15,1 0-15,-1 0 0,0 0 16,0 0-16,1 0 0,12 0 16,-13 0-16,0 0 0,14 0 15,-14 0-15,0 0 16,14-14-16,-14 14 0,0 0 0,1 0 15,-1 0-15,13 0 16,14-13-16,-27 13 0,0-13 16,14 13-16,-14 0 0,0-13 15,1 13-15,12 0 0,-13 0 0,0-13 16,14 13-16,-14-14 0,27 14 16,-27-13-16,0 13 0,14 0 15,-14-13-15,0 13 0,14-13 0,-14 13 16,0-14-16,14 14 0,12-26 15,-26 13-15,14 13 16,-1-14-16,-12 1 0,-1 0 0,13 0 0,-12 0 16,-1 13-16,0-14 0,0 1 0,27-27 15,-27 27 1,0 0-16,1-14 16,-1 14-16,0-26 15,0 25-15,-13 1 0,14 0 0,-14 0 16,13-14-16,-13-12 15,13 25-15,-13 1 0,0 0 16,13 0-16,-13-1 0,0 1 16,0 0-16,0 0 0,0-1 15,0-12 1,0 13-16,0 0 16,0-1 15,0 1-31,0 0 31,0 0 110,-13-1-126</inkml:trace>
  <inkml:trace contextRef="#ctx0" brushRef="#br0" timeOffset="136270.32">18375 9472 0,'-13'-13'0,"-13"26"32,26 0-32,-14 1 0,-12 12 15,13 0-15,-1-12 0,14 12 16,-13 1-16,-13 26 15,26-27-15,0-13 0,0 0 16,0 1-16,0-1 0,0 0 16,13 0-16,-13 1 0,13-1 0,0-13 0,-13 13 15,27-13-15,-1 0 16,1-13 0,-14 0-1,-13-1-15,0 1 16,0-13-1,-13 26 1,0-14 0,-1 14-1,1-13-15,0 13 16,0 0 0</inkml:trace>
  <inkml:trace contextRef="#ctx0" brushRef="#br0" timeOffset="136584.21">18468 9591 0,'13'66'0,"0"-52"0,-13-1 16,14-13-16,12 26 15,1-13-15,-14-13 16,0 0-16,0 0 0,0 0 16,14 0-16,-27-13 15,13 0 1,-13 0 0,-13 0-16,0-1 15,-1 1-15,-12 0 16,13 13-16,0 0 15,-1 0-15,1 0 16</inkml:trace>
  <inkml:trace contextRef="#ctx0" brushRef="#br0" timeOffset="137824.98">23733 8520 0,'-13'-14'15,"-14"14"1,-12 0 0,26 0-16,-1 0 15,1 0-15,0 14 0,0-14 16,-1 13-1,14 0-15,0 13 16,14-12 0,12 25-1,-13-25-15,1-1 0,-1 0 16,0 0-16,0 1 0,-13-1 16,13 0-1,-13 0-15,-13 0 16,0-13-16,0 14 0,0-14 15,-1 0-15,-25 0 16,25 0-16,1 0 16,0 0-16,0 0 15,-1 0-15,41-27 32,-1 14-17,1 0-15,-14 0 0,0 13 0,14-14 16,-14 1-16,66-27 15,-52 40-15,-14-13 16,0 0-16,0 13 0,-13-13 0,14-1 16,-1 1-1,-13-13-15,-40-1 16,27 27 0,0-13-16,-14 13 15,1 0 1,13 0-16,-1 0 15</inkml:trace>
  <inkml:trace contextRef="#ctx0" brushRef="#br0" timeOffset="138132.92">23945 8506 0,'0'27'16,"0"-1"-1,13-13-15,0 1 16,0-1-16,14-13 0,-1 0 16,1 0-1,-14 0-15,0 0 0,1 0 0,-1-13 16,0 13-16,-13-27 15,0 14 1,-13 0-16,0-14 16,-1 27-16,1-13 0,0 13 15,-27 0-15,-26 13 16,40 1 0</inkml:trace>
  <inkml:trace contextRef="#ctx0" brushRef="#br0" timeOffset="138817.35">21418 9300 0,'0'66'32,"0"67"-17,0-107-15,-13-13 0,13 0 16,13 1-16,-26-1 0,13 0 0,13 0 15</inkml:trace>
  <inkml:trace contextRef="#ctx0" brushRef="#br0" timeOffset="139690.51">20995 8837 0,'26'0'31,"27"-13"-31,-40 13 16,1 0-16,12 0 0,-13 0 15,0 0-15,1 0 0,12 0 16,-13 0-16,14 13 15,-27 0 1,13-13-16,0 27 16,-13-14-16,0 0 0,13 0 15,-13 1-15,0-1 0,0 0 0,0 0 16,0 1-16,0-1 0,14 13 16,-14-12-1,0 12-15,13-13 16,-13 0-1</inkml:trace>
  <inkml:trace contextRef="#ctx0" brushRef="#br0" timeOffset="139897.29">21087 9075 0,'14'-13'16,"12"0"-1,-13 0-15,14-1 0,-14 14 16,0-13-16,0 0 0,14 0 0,-14 13 16,13-14-16</inkml:trace>
  <inkml:trace contextRef="#ctx0" brushRef="#br0" timeOffset="140167.28">21458 8824 0,'-14'13'0,"1"0"16,13 14 0,13-14-16,-13 0 0,40 14 15,-27-27 1,1 0-16,25 13 15,-12-26 1,-27-1 0,-13-25-1,-1 39-15,1-27 16,0 27-16,-27-13 16,27 26-16,0-13 0,-1 0 15,1 14-15,-13 12 16</inkml:trace>
  <inkml:trace contextRef="#ctx0" brushRef="#br0" timeOffset="140897.51">21431 9300 0,'-13'27'31,"0"-14"-31,0 0 16,-14 27-1,14-27-15,13 0 0,-13 0 16,-1 1-16,1 12 15,13-13-15,-13-13 0,13 14 16,13-28 31,14-12-31,-27 13-16,13 13 0,0-14 0,0 1 15,-13 0-15,14 13 16,-1-13-16,0 13 0,0 0 15,0 0-15,1 0 16,-1 0 0,0 13-1,0-13-15,1 0 0,-1 13 16,0-13 0,0-13-1</inkml:trace>
  <inkml:trace contextRef="#ctx0" brushRef="#br0" timeOffset="151769.28">13467 10438 0,'-26'66'15,"26"-13"-15,0 13 0,-13 93 16,-1-53-16,14-1 0,-13 14 0,0 1 16,0 12-16,-14-13 0,14 13 15,-13-13-15,12 14 0,-25 211 16,25-239-16,1-25 15,13-1-15,0 0 0,0 1 0,0-14 16,0-13-16,0 0 0,0 92 16,0-131-1,0 12-15,0-13 0,0 1 16</inkml:trace>
  <inkml:trace contextRef="#ctx0" brushRef="#br0" timeOffset="152191.22">12290 12554 0,'119'-13'0,"-66"13"15,0 0-15,106 0 16,-80-13-16,14 13 0,12 0 0,-12 0 16,26 0-16,13 0 0,1 0 0,12 0 15,1-13-15,-14 13 0,13 0 0,14-13 16,145 13-16,14-14 15,-159 14-15,-1 0 0,1 0 16,13 0-16,-13 0 0,0 0 16,13 0-16,-14 14 0,-12-14 0,291 26 15,-173 0 1,-171-26-16,-1 14 16,1-14-16,-14 13 0,1-13 0,-14 13 0,-13-13 15,53 13 1,-80-13-16,0-13 0,-26 0 15</inkml:trace>
  <inkml:trace contextRef="#ctx0" brushRef="#br0" timeOffset="153587.31">13361 12158 0,'27'0'0,"-1"0"0,-26-14 15,14 14-15,-1 0 0,40-13 16,-40 0-1,0 0-15,14 13 0,-1-14 0,-13 1 16,14 0-16,-1 0 0,14 0 16,-14-1-16,27-25 0,-13 25 15,-14-12-15,1 13 0,26-27 16,-13 27-16,-14 0 0,27-27 16,-27 13-16,1 14 0,-1-13 15,1-1-15,-1 14 0,1-13 0,-1-1 16,1 14-16,-1-14 0,14 1 0,-14 13 15,14-14-15,-14 1 0,14 13 16,26-40-16,-26 39 16,-14-12-16,54-14 0,-54 27 0,14-13 15,-14 12-15,14 1 16,-14-13-16,1 12 0,79-38 16,-40 12-16,-26 27 15,-14-1-15,14 1 0,-1-13 16,1 12-16,0 1 0,26-13 15,-26 26-15,26-27 16,-27 14-16,1 13 0,0-13 0,-14 13 16,14-13-16,0 13 0,-14 0 0,80 0 15,-66 0-15,-1 0 16,1 0-16,13 13 0,-13-13 16,-1 13-16,14-13 0,-13 13 15,0 1-15,39 12 16,-39-13-16,-14 0 0,14 1 0,-1 12 15,1-13-15,0 1 0,0 12 0,-1-13 16,1 1-16,66 38 16,-53-25-16,-14-14 0,1 0 15,53 27-15,-54-27 0,14 14 16,-13-14-16,13 0 0,53 27 16,-53-14-16,-14-12 0,1-1 15,13 0-15,-13 14 0,12-14 0,1 0 16,-13 13-16,13-12 0,40 12 15,-40-13-15,-1-13 16,1 14-16,0-1 0,0-13 0,13 13 16,-13-13-16,13 13 0,1-13 15,-1 0-15,-13 14 0,66-14 16,-66 0-16,0 13 0,-14-13 0,14 0 16,-13 0-16,-1 0 0,-12 13 15,39-26 1,-53 13-16,-66 0 31,27 0-31,-27-13 0</inkml:trace>
  <inkml:trace contextRef="#ctx0" brushRef="#br0" timeOffset="154713.06">13666 12250 0,'0'106'0,"-14"-66"0,14-1 16,-13 1-16,0 13 0,0 66 15,13-40-15,0-52 16,0-1-16,13 14 16</inkml:trace>
  <inkml:trace contextRef="#ctx0" brushRef="#br0" timeOffset="155334.45">17634 12462 0,'0'13'0,"0"0"16,0 14-16,-13-1 15,0 146 1,-13-119-16,26 0 0,-27 79 15,14-92-15,13 0 16,-13-1-16</inkml:trace>
  <inkml:trace contextRef="#ctx0" brushRef="#br0" timeOffset="157916.74">19447 1971 0,'132'-119'0,"-105"93"0,-1-1 16,14-52-1,-27 52-15,-13 1 0,0-1 16,0 14-16,0-13 0,-13-14 0,0 14 16,-1-1-16,-52-65 15,40 78-15,-14-12 16,14-1-16,-93-12 16,-14 12-1,54 40-15,39-13 0,-13 14 16,14-1-16,-14 13 0,-40 27 15,40-26-15,13 12 0,-105 133 16,118-132 0,14 0-16,-13-1 0,13 1 0,13-13 15,-14 12-15,14-25 0,0 12 16,53 53 0,-26-52-16,-1-1 0,14-12 0,26-1 0,-13 0 15,26-13-15,1 0 0,-1 0 16</inkml:trace>
  <inkml:trace contextRef="#ctx0" brushRef="#br0" timeOffset="158805.01">23257 820 0,'0'-39'16,"0"25"-16,-13 1 0,-14-27 16,14 27-1,-13 0-15,12 0 0,-12-1 0,-40-12 16,39 13-16,1 13 0,-80 0 15,13 13 1,-13 40-16,-39 53 16,39 26-1,40-13 1,53-26-16,26 26 16,0-80-1,80 81 1,-54-94-16,28 27 0,-28-27 15,1-12-15,0-1 0,13 0 16,0 0-16,-14-13 0,14 14 0,0-14 0,40-14 16,-40 1-1,-14 0-15,14 0 0,-13-1 0,0 1 16,-14-13-16,14-1 0,-14 14 0,1-13 16,-1-1-16,1-39 15,-1 13-15,-26 27 0,0-1 16,0 1-16,0-14 0,-13 0 0,0 1 15,-1 12-15,-12-39 16,-27 13-16,26 27 0,1-1 16,-27-26-16,13 27 0,1 13 15,-1-14-15,0 14 0,14-14 16,-53 1-16,52 26 0,1-13 16,-1 13-16,14 0 0,-14 0 0,14 0 15,0 0-15,-13 0 0,-1 13 16,14-13-16,0 13 15</inkml:trace>
  <inkml:trace contextRef="#ctx0" brushRef="#br0" timeOffset="160455.03">20254 11232 0,'40'145'16,"-40"-79"-16,0 27 0,-14 13 16,1 13-16,13 0 0,-13 13 15,0-13-15,-1 13 0,1 1 0,0-14 16,0 0-16,-1 106 0,1-146 16,13 1-16,-13-1 0,13-13 15,0 0-15,-13-13 0,13-13 0,0-1 0,0 67 31</inkml:trace>
  <inkml:trace contextRef="#ctx0" brushRef="#br0" timeOffset="160832.44">18931 13031 0,'13'0'16,"14"13"-16,-1-13 16,27 0-16,159-13 15,-120 13-15,1 0 0,39-13 0,14 13 16,-1-14-16,14 14 0,0 0 15,13-13-15,357 0 16,-159 13-16,-171-13 0,-14 13 16,13 0-16,-12-14 0,-1 14 15,0 0-15,-13 0 0,0 0 16,-13 0-16,145 0 0,-159 0 16,-39 0-16,-13 0 0,0 14 15,-14-14-15,-13 0 0,-13 13 0,-13-13 16,13 0-16,-14 0 15,-26 0 1</inkml:trace>
  <inkml:trace contextRef="#ctx0" brushRef="#br0" timeOffset="167700.45">13481 8229 0,'0'-14'15,"13"14"501,0-13-500,0 13-16,0 0 15,1-13-15,-1 13 16,0 0-16,0-13 16,1 13-1,-41 13 16,1 0-15,12 0-16,1 1 0,-13-14 16,13 13-16,-1 0 0,1-13 0,0 13 15,0-13-15,-1 13 0,1-13 0,0 14 16,26-1 15,14-13-15,12 13-1,1-13-15,-27 0 0,0 13 16,1-13-16,-1 0 0,0 14 16,14-1-1,-27 0-15,0 14 16,-14-27-16,14 13 0,-13 0 16,-13 0-16,12 0 0,-52 14 15,27-1 1,25-26-16,1 14 0,0-14 0,0 0 15,-1 13-15,1-13 16</inkml:trace>
  <inkml:trace contextRef="#ctx0" brushRef="#br0" timeOffset="168952.11">13454 8837 0,'0'-13'16,"13"0"-16,1 13 0,-1 0 16,0-14-16,0 14 15,14 0 1,-14 0-16,0 14 0,-13-1 16,13-13-1,-13 13-15,0 0 0,-13 1 0,13-1 16,-13 0-16,13 0 0,-13 0 15,13 1-15,-14-1 0,1 0 16,13 0-16,-13 1 0,13-1 16,-13-13-16,13 13 0,13-13 31,0 0-31,0 0 0,27 0 16,-27-13-16,1 13 15,12 0-15,-13 0 16,0-13-16,27 13 0,-13-14 15,-14 14-15,0 0 0,0 0 16</inkml:trace>
  <inkml:trace contextRef="#ctx0" brushRef="#br0" timeOffset="169901.03">13269 8705 0,'-27'26'0,"14"-13"0,13 1 16,-13-1-16,13 0 0,-13 14 0,13 39 15,13-27 1,-13 1-16,13 0 0,14-14 0,-14 14 15,0-14-15,14 1 0,-1 13 0,67 26 16,-27-40 0,-27-13-16,14 1 15,-26-14-15,26 0 0,-14-14 0,1 1 16,79-26 0,-79 12-16,-14 1 0,14 12 15,-14-12-15,-12-1 0,-1 14 0,0-13 16,0 13-16,-13-27 0,0 0 15,-13 27-15,0-27 16,-14 14-16,14 13 0,-13-14 0,-1 1 16,1-1-16,-1 14 0,-26-27 15,1 27-15,25 0 16,1 0-16,12-1 0,-12 1 0,-1 13 16,14-13-16,-13 0 0,13 13 15</inkml:trace>
  <inkml:trace contextRef="#ctx0" brushRef="#br0" timeOffset="170442.35">13322 8586 0,'132'-27'15,"-105"14"-15,-1 0 0,27 0 16,-27-1-16,40-12 16,-52 13-16,25-14 0,-12 14 15,-14 0-15,14-14 0,-14 14 0,13-27 16,-13 14-16,1 13 16,-14-14-16,13 1 0,-13-1 0,0 1 15,-13-14-15,13 0 0,-40-26 16,27 40-16,-14-1 0,1 1 15,-1 13-15,-52-27 0,39 27 16,-13 0-16,-105-1 16,105 14-16,-13 0 0,13 14 15,-13-1-15,13 13 0,0-12 0,0 12 16,13 14-16,-13-14 0,14 14 0,12-1 16,-39 54-1,39-40-15,14-13 0,13-1 0,-13 1 16,13 0-16,13-1 0,0 1 0,54 53 31</inkml:trace>
  <inkml:trace contextRef="#ctx0" brushRef="#br0" timeOffset="172905.95">22027 12898 0,'0'-13'15,"0"40"32,-14-14-47,14 0 0,0 0 16,0 1-16,0-1 15,0 0-15,0 0 0,0 1 16,0-1-16,0 0 0,0 27 31,0-27-31</inkml:trace>
  <inkml:trace contextRef="#ctx0" brushRef="#br0" timeOffset="173457.36">22013 13256 0,'14'-14'32,"-41"28"15,14-1-47,0-13 0,-1 13 31,1-13-31,0 0 15,26 13 1,14 1 15,-14-1-31,0-13 16,-13 13-16,0 0 16,-13 0-16,13 1 15,-27-1 1,-25 13-16,25-12 15,14-14-15,-14 13 0,14-13 16,-13 13-16</inkml:trace>
  <inkml:trace contextRef="#ctx0" brushRef="#br0" timeOffset="174012.58">21299 12965 0,'-13'26'16,"13"1"0,0-14-16,0 0 0,0 13 15,0-12-15,0 12 16,0-13-16,-14 1 0</inkml:trace>
  <inkml:trace contextRef="#ctx0" brushRef="#br0" timeOffset="174462.97">21286 13309 0,'0'-14'16,"13"14"-1,-13 14 1,-13-1-1,13 0-15,-14 0 16,28 0 0,-1 14 15,0-14-15,-26 14-1,0-27 1,-1 13-16,1-13 0,0 0 15,0 13-15,0-13 16</inkml:trace>
  <inkml:trace contextRef="#ctx0" brushRef="#br0" timeOffset="175339.99">22714 12978 0,'14'13'16,"-14"0"0,0 27-1,0-27-15,0 0 0,0 1 16,0-1-16,0 40 15,0-27-15,0-13 16,0 40-16</inkml:trace>
  <inkml:trace contextRef="#ctx0" brushRef="#br0" timeOffset="175817.1">22820 13441 0,'14'0'125</inkml:trace>
  <inkml:trace contextRef="#ctx0" brushRef="#br0" timeOffset="176372.28">21603 13004 0,'-26'40'32,"26"-27"-32,0 0 15,-13 14-15,13-1 0,-14-12 0,14 12 16</inkml:trace>
  <inkml:trace contextRef="#ctx0" brushRef="#br0" timeOffset="176722.19">21537 13361 0,'-26'14'31,"12"-14"-31,1 13 31,13 0-31,0 0 16,-13-13 0,26 14-1,0-1 1,1-13-16,12 0 15,-13 0 1,1 0-16,-1 0 16,0 0-16</inkml:trace>
  <inkml:trace contextRef="#ctx0" brushRef="#br0" timeOffset="176905.94">21577 13375 0,'-13'132'16,"13"-119"-16,0 0 0,13 1 16,-13 12-16,13-13 15</inkml:trace>
  <inkml:trace contextRef="#ctx0" brushRef="#br0" timeOffset="177812.94">22741 13348 0,'-13'27'16,"-1"-14"-16,14 0 0,-13 0 15,13 1-15,0 25 0,0-25 16,0-1-16,0 13 15,13-13-15,1 14 16,12-14 0,-13-13-16,1 0 15,-14-13 1,-14 0 0,14-1-16,-13 1 15,13 0-15,0 0 16,0-14-16,13 14 15</inkml:trace>
  <inkml:trace contextRef="#ctx0" brushRef="#br0" timeOffset="178171.47">23257 12938 0,'-13'106'15,"-1"-66"1,14-27-16,0 27 16,0-27-16,0 26 0,0-25 15,14 12-15,-14-13 16</inkml:trace>
  <inkml:trace contextRef="#ctx0" brushRef="#br0" timeOffset="178878.32">23164 13414 0,'27'-13'15,"-14"13"1,0 0 0,0 0-16,1 13 15,-1 14 1,0-1-1,-13-12-15,13 12 16,-13-13 0,0 0-16,0 1 0,0-1 15,0 0-15,0 0 16,0 1-16</inkml:trace>
  <inkml:trace contextRef="#ctx0" brushRef="#br0" timeOffset="179023.37">23151 13639 0,'93'-39'16,"-40"12"0</inkml:trace>
  <inkml:trace contextRef="#ctx0" brushRef="#br0" timeOffset="180658.3">21325 13679 0,'-13'13'0,"13"14"31,0-14-31,13 40 15,-13-40 1,14 13-16,25 14 16,-25-27-16,-1 1 15,13 12 1,1 1-16,-14-27 0,27 13 16,-27 0-1,27-13 1,-27-13-16,13 13 0,1 0 15,12-13 1,54-14 0,-27 1-1,-53 26 1,54-27-16,-54 27 16,53-13-1,-53 0-15,14 13 0,12-14 16,-26 14-16,14 0 15,132 14 32,-133-1-47,1 0 16,-14 0 0,0-13-1,0 0 1,1 0-1,12 0 1,14-13 0,-27 13-1,13-13-15,-12 13 16,12-13 0,-13 13-1,14 0 1,-14-14-16,27 14 15,-14 0 1,1-13-16,25 13 16,-38 0-16,12 0 0,1 0 93,39 13-93,-40-13 0,40 14 16,-52-1-16,39 0 16,-40-13-1,79-13 17,-65 13-32,-1-13 15,-12-1-15,52-25 16,-27 12-1,1 1 17,-27 13-32,0 13 31,-13 13 0</inkml:trace>
  <inkml:trace contextRef="#ctx0" brushRef="#br0" timeOffset="183915.94">20571 12978 0,'-26'92'16,"-1"14"-1</inkml:trace>
  <inkml:trace contextRef="#ctx0" brushRef="#br0" timeOffset="185937.55">20479 13375 0,'0'26'16,"0"1"0,0-14-16,0 27 15,0-14-15,-13 0 16,13 1-1</inkml:trace>
  <inkml:trace contextRef="#ctx0" brushRef="#br0" timeOffset="186521.15">20862 12951 0,'0'53'31,"0"-39"-31,0-1 16,0 13-16,-13 27 16,0 26-16</inkml:trace>
  <inkml:trace contextRef="#ctx0" brushRef="#br0" timeOffset="186861.13">20796 13428 0,'13'-14'16,"1"14"-16,-1 14 15,-13-1 1,-13 0 0,13 0-16,-27 14 15,-12 26-15,-1-14 16,119-197-16,-171 330 16,92-159-16,-14 0 15,28 0 1,-1-13-16,0 0 15,0 0-15,27 0 0,106-26 16,-107 13 0,54-1-16,-53 1 15</inkml:trace>
  <inkml:trace contextRef="#ctx0" brushRef="#br0" timeOffset="187468.52">23680 12965 0,'-13'39'15,"13"1"16,-13-27-31,26 119 32</inkml:trace>
  <inkml:trace contextRef="#ctx0" brushRef="#br0" timeOffset="188199.64">23733 13375 0,'-26'-14'16,"12"14"-1,1 0-15,-13 14 16,13-14-1,13 13-15,0 13 16,0-12-16,13 12 16,-13 1-16,0 12 15,0-12 1,-13-14-16,13 0 0,-14 0 31,14 1-31,27-41 47,-1 1-47,-13-1 16,1 14-16,-14-13 15,13-1-15,-13 1 16,0 12 0,0 1-16,-13 0 0,13 0 0,-14-1 15,14 1-15,-13 0 16,13 0-1</inkml:trace>
  <inkml:trace contextRef="#ctx0" brushRef="#br0" timeOffset="188415.49">24090 12978 0,'-26'53'31,"26"-40"-31,0 27 16,-13-14-16,13-13 0,-14 40 16,1-40-16,13 27 15,0-13-15,0-14 0,0 0 0</inkml:trace>
  <inkml:trace contextRef="#ctx0" brushRef="#br0" timeOffset="188760.5">24236 13348 0,'-27'0'0,"1"0"16,-1 13 0,14 1-1,0-14-15,119-27 0,-212 67 16,119-40 0,-13 13-1,13-13-15,1 0 16,-14 13-16,13 1 15,-13-1-15,0 0 16,0 0-16,-13 14 16,13-14-1,0 0-15,-14 0 0</inkml:trace>
  <inkml:trace contextRef="#ctx0" brushRef="#br0" timeOffset="191036.74">20227 12872 0,'67'26'15,"-41"-26"1,225 14 31,-224-14-47,118-14 15,-105 1 1,158-13 0,-171 13-16,118-14 31,-52 1-16,-80 12-15,120-39 32,-120 40-32,53-26 31,-53 25-31,53-39 31,-26 14-31,-27 25 16,53-38-1,-39 25 1,65-79 15,-78 93-31,-1 0 0,0-14 16,53-65 0,-52 52-1,12 0 1,-13 14-16,27-53 15,-27 65-15,-13 1 16,13-40 0,1 40-16,12-53 15,-13 26 1,27-26 0,-14 13-1,1 27 1,-1-27-1,-26 39-15,53-25 16,-13-14 0,-27 40-1,53-54 1,-26 41-16,0-14 16,-27 40-1,0-13-15,14-13 0,12 12 31,-26 1-31,27 13 0,-27 0 16,67-13 0,-67 13-16,80 0 15,-80 0 1,53 13-16,-13 0 16,-13 1-16,13 12 15,-40-26 1,53 40-16,-26-27 15,-27 0-15,0 0 0,0 1 16,40 25-16,-40-12 16,1-14-16,12 14 15,-13-14-15,14 13 16,-1 1-16,1 12 16,12 14-1,-25-39-15,-1 12 0,13 0 16,1 1-1,-1 13-15,1-1 16,-1 14 0,-13-40-16,1 14 15,-1-1-15,13 40 16,-12-52-16,25 65 16,-12-39-1,-1 13-15,1 0 16,-1-14-16,-13-12 15,14-1-15,26 54 16,-14-41-16,14 14 16,0 13-1,27 0 1,-54-39-16,0-1 0,27 27 16,0-26-16,-26-1 0,-1-13 15,40 14-15,1-1 16,-15-12-1,28-1-15,-27 0 16,0-13 0,-40 13-16,40-13 15,-40-13-15,0 13 16,0-13-16,1 13 16,-14-13-16,0-1 15</inkml:trace>
  <inkml:trace contextRef="#ctx0" brushRef="#br0" timeOffset="192088.36">22662 11351 0,'-14'53'16,"1"-27"-1,13-13-15,-13 27 16,13-14-16,-13-12 15,13 12-15,-14 40 16,1-26-16</inkml:trace>
  <inkml:trace contextRef="#ctx0" brushRef="#br0" timeOffset="192245.02">22542 11946 0,'-52'106'31,"52"-93"-15,-14 0-16,1 14 0,-13 26 15,26-40 1</inkml:trace>
  <inkml:trace contextRef="#ctx0" brushRef="#br0" timeOffset="192510.09">22410 12422 0,'0'27'0,"-13"78"32,13-91-17,0-1-15,0 13 16,0 1-16,13-1 16,-13 14-16,0 0 0,0-27 15,0 27-15,0-14 16,132-899-16,-264 1759 15,132-859-15,0 26 0,-13 0 16,13-27-16,-13-13 0,0 40 16,13-40-16,-27 40 15,27-26 1,-13-27-16</inkml:trace>
  <inkml:trace contextRef="#ctx0" brushRef="#br0" timeOffset="193441.44">22701 12012 0,'40'0'32,"53"-13"-17,-54 13 1,54-13-16,-1 13 15,-25 0-15,25 0 16,-65 0 0,12 0-16,-12 0 0,-14 0 15,40-14 1,-40 14 0,0 0-16,1 0 15,-1-13-15</inkml:trace>
  <inkml:trace contextRef="#ctx0" brushRef="#br0" timeOffset="193745.34">23270 11853 0,'79'53'32,"-65"-53"-32,-14 13 0,13 1 15,0-14-15,-13 13 0,27 0 16,-27 0-1,-14 14 1,-12-1-16,-1 1 16,-12-1-1,-41 14-15,28-14 16</inkml:trace>
  <inkml:trace contextRef="#ctx0" brushRef="#br0" timeOffset="194207.8">22847 12356 0,'-27'-13'31,"-12"-14"-15,39 14-16,0 0 15,13 0-15,-13-1 16,13 14-16,0-13 16,1 13-16,-1 0 0,0 0 15,27 0-15,-14 0 16,1 0-16,26 0 16,13 0-1,13 0 1,-66 0-16,14 0 0,-14 0 15,27 0 1</inkml:trace>
  <inkml:trace contextRef="#ctx0" brushRef="#br0" timeOffset="196664.25">22066 11827 0,'0'53'16,"0"-40"-16,-13 40 0,13 0 15,-13-13-15</inkml:trace>
  <inkml:trace contextRef="#ctx0" brushRef="#br0" timeOffset="196813.24">21987 12475 0,'0'40'0,"0"-27"0</inkml:trace>
  <inkml:trace contextRef="#ctx0" brushRef="#br0" timeOffset="196913.19">21960 12819 0,'0'40'16,"-39"52"15</inkml:trace>
  <inkml:trace contextRef="#ctx0" brushRef="#br0" timeOffset="197519.93">23455 11483 0,'-13'66'16,"13"-53"-16,0 14 0,-13 26 15,0 53 1,13-27-16,-14-53 16,14 1-16</inkml:trace>
  <inkml:trace contextRef="#ctx0" brushRef="#br0" timeOffset="197673.18">23416 12250 0,'0'13'0,"-14"67"31,14-54-15,0 14-1,0-14-15</inkml:trace>
  <inkml:trace contextRef="#ctx0" brushRef="#br0" timeOffset="197788.07">23416 12660 0,'-67'212'47</inkml:trace>
  <inkml:trace contextRef="#ctx0" brushRef="#br0" timeOffset="198893.19">22728 10808 0,'-27'13'15,"14"1"-15,13 12 0,-13-13 16,-27 80-16,14-53 15,12 26 1,14-53-16,0 27 16,14-27-16,-14 0 0,13 0 15,13 14 1,-12-27 0,-1 0-16,0 0 15,0-13-15,0-1 16,-13 1-1,0 0-15,0 0 16,-13-1-16,0-12 16,-13 39 15</inkml:trace>
  <inkml:trace contextRef="#ctx0" brushRef="#br0" timeOffset="200171.28">22873 10861 0,'27'66'16,"-14"-52"-16,-13 12 15,13 14-15,-13-1 16,0-25-16,-13 12 15,13-13-15,-13 14 0,-1-14 16,1 0 0,0-13-1,0-13 1,26-14 0,0 1-1,0 13-15,-13 0 0,27-14 16,-27 14-16,26-27 15,-26 14 1,0-1-16,14 14 16,-28 0-16,1 0 15,-13-1 1,-1 14-16,14 14 16,0-14-16,0 13 15</inkml:trace>
  <inkml:trace contextRef="#ctx0" brushRef="#br0" timeOffset="200414.1">23164 10888 0,'-53'172'47,"40"-159"-47,0 13 0,-14 14 16,27-27-16,-13 14 0,0-14 0,0 13 15,-14 1 1,27-14 0</inkml:trace>
  <inkml:trace contextRef="#ctx0" brushRef="#br0" timeOffset="200568.34">22953 11086 0,'-14'0'15,"28"-13"16</inkml:trace>
  <inkml:trace contextRef="#ctx0" brushRef="#br0" timeOffset="200715.49">23297 11126 0,'-344'-40'47</inkml:trace>
  <inkml:trace contextRef="#ctx0" brushRef="#br0" timeOffset="202023.96">21365 12713 0,'0'80'16,"0"-67"-1,0 0-15,0 14 0,0 12 16,0-26-16,13 14 16</inkml:trace>
  <inkml:trace contextRef="#ctx0" brushRef="#br0" timeOffset="202771.86">23693 12197 0,'0'40'16,"0"26"-1,14-26-15,-14 26 0,0-13 16,0-13-16,-14 52 16,14-52-16,-13 0 0,0 79 15,0-66-15,13-14 16,-13-12-16,13-1 16,0-13-16</inkml:trace>
  <inkml:trace contextRef="#ctx0" brushRef="#br0" timeOffset="203648.41">21630 11708 0,'66'0'15</inkml:trace>
  <inkml:trace contextRef="#ctx0" brushRef="#br0" timeOffset="203832.45">23058 11761 0,'93'0'15,"-40"0"-15,-27-13 16,1 13-16,-14 0 15,0 0-15,1 0 0,-530 13 0,1071-26 16</inkml:trace>
  <inkml:trace contextRef="#ctx0" brushRef="#br0" timeOffset="203957.24">23627 11787 0,'40'0'16,"-14"-13"-1</inkml:trace>
  <inkml:trace contextRef="#ctx0" brushRef="#br0" timeOffset="204669.38">21828 10993 0,'-106'27'31,"80"-1"-15,13-26-16,-14 27 0,27-14 16,13 0-1,27-13 1,-27 0-16,106-39 31,-92 25-15,-14 41-1,-13-14 1,0 0 0,0 0-16,-26 54 15,26-54-15,-14 27 16,1-14-16,0-13 31,13 14-31</inkml:trace>
  <inkml:trace contextRef="#ctx0" brushRef="#br0" timeOffset="205333.17">22040 11060 0,'0'26'16,"0"-13"-16,26 14 16,1-1-1,-27 14 1,-14 0 0,1-27-1,-13 13-15,13-26 16,-1 0-16,-12 13 15,13-13 1,-1 0-16</inkml:trace>
  <inkml:trace contextRef="#ctx0" brushRef="#br0" timeOffset="205614.87">22251 11060 0,'-26'39'47,"13"-26"-47,13 1 16,-13 25 0,-1-12-16,1-1 15,0 1 1,0-14-16,13 0 0,-14-13 15,1 27 1,13-14-16,-13 0 0,0-13 16,13 13-16</inkml:trace>
  <inkml:trace contextRef="#ctx0" brushRef="#br0" timeOffset="205912.04">22291 11271 0</inkml:trace>
  <inkml:trace contextRef="#ctx0" brushRef="#br0" timeOffset="206651.53">20611 12965 0,'-13'-14'15,"0"-12"1,13 13-16,0-1 16</inkml:trace>
  <inkml:trace contextRef="#ctx0" brushRef="#br0" timeOffset="206758.59">20571 12568 0,'0'-14'0</inkml:trace>
  <inkml:trace contextRef="#ctx0" brushRef="#br0" timeOffset="207034.24">20757 11827 0,'-14'-53'16,"14"40"-16,0 0 15</inkml:trace>
  <inkml:trace contextRef="#ctx0" brushRef="#br0" timeOffset="207181.21">22013 11681 0,'199'-39'31</inkml:trace>
  <inkml:trace contextRef="#ctx0" brushRef="#br0" timeOffset="207327.42">22886 11562 0,'305'-53'47</inkml:trace>
  <inkml:trace contextRef="#ctx0" brushRef="#br0" timeOffset="207476.72">23641 11509 0,'158'-26'78</inkml:trace>
  <inkml:trace contextRef="#ctx0" brushRef="#br0" timeOffset="207608.29">24209 11536 0,'14'-13'15,"-1"-1"32</inkml:trace>
  <inkml:trace contextRef="#ctx0" brushRef="#br0" timeOffset="207745.67">24209 11853 0,'-26'66'31,"26"-52"-15</inkml:trace>
  <inkml:trace contextRef="#ctx0" brushRef="#br0" timeOffset="207857.1">24223 12224 0,'13'13'15</inkml:trace>
  <inkml:trace contextRef="#ctx0" brushRef="#br0" timeOffset="209324.35">20809 11205 0,'-39'-26'16,"26"39"-16,-27 27 15,27-14-15,-1-13 16,14 0 0,14 1-1,-1-28 1,0 1-16,14 0 15,-14 0 1,0 0-16,0 26 31,-13 13-15,0-13-16,0 14 0,0-14 16,0 14-16,0-14 15,0 0-15,0 27 16,0-27-1,13 13-15</inkml:trace>
  <inkml:trace contextRef="#ctx0" brushRef="#br0" timeOffset="209755.04">21008 11205 0,'-27'13'15,"54"-26"-15,-80 40 16,66-14 15,0-13-31,1 0 16,-1 0-16,-13 13 16,13-13-16,0 40 15,-13-27 1,14 13-16,-14-12 15,0-1-15,-14 40 16,14-40 0,0 0-1,0 0 1</inkml:trace>
  <inkml:trace contextRef="#ctx0" brushRef="#br0" timeOffset="209914.24">21127 11404 0</inkml:trace>
  <inkml:trace contextRef="#ctx0" brushRef="#br0" timeOffset="210316.43">21233 11218 0,'39'0'31,"-25"0"-31,-67 0 15,119 27 1,-53-1-16,-13-13 16,0 1-1,0-1-15,0 40 16,-13-27 0,13-12-16,0 12 15,0-13 1,-13 0-1</inkml:trace>
  <inkml:trace contextRef="#ctx0" brushRef="#br0" timeOffset="210516.28">21193 11404 0,'0'-14'15,"66"1"32,-39 13-47,-14-13 16,0 13-16,0 0 0</inkml:trace>
  <inkml:trace contextRef="#ctx0" brushRef="#br0" timeOffset="210777.77">21471 11258 0,'13'-13'31,"-26"52"-16,0-12-15,-1 26 32,-12-13-17,26-27 1,0 0-16,-13 0 0,0 0 16</inkml:trace>
  <inkml:trace contextRef="#ctx0" brushRef="#br0" timeOffset="210967.48">21365 11337 0,'0'-13'47</inkml:trace>
  <inkml:trace contextRef="#ctx0" brushRef="#br0" timeOffset="211141.25">21497 11470 0,'14'13'15,"-332"-92"17</inkml:trace>
  <inkml:trace contextRef="#ctx0" brushRef="#br0" timeOffset="-203613.86">10927 9657 0,'14'-13'15,"-41"26"16,27 1-31,-40 25 16,1-12 0,12 12-1,14 1-15,0-27 16,26 0 0,27 14-1,-27-27-15,80 0 16,-41 0-1,41 0 1,-53-13-16,-27 13 16,0 0-1</inkml:trace>
  <inkml:trace contextRef="#ctx0" brushRef="#br0" timeOffset="-203383.56">11007 9657 0,'-14'331'125</inkml:trace>
  <inkml:trace contextRef="#ctx0" brushRef="#br0" timeOffset="-203091.43">11284 9710 0,'-224'13'203,"210"1"-203</inkml:trace>
  <inkml:trace contextRef="#ctx0" brushRef="#br0" timeOffset="-200735.79">6337 10134 0,'0'92'16,"0"-39"-1,-13-13 1,13-1-16,0-12 0,0-14 16,0 40-16,0-26 15,13-14 1,-13 0-16</inkml:trace>
  <inkml:trace contextRef="#ctx0" brushRef="#br0" timeOffset="-200454.73">6522 10253 0,'26'-14'16,"94"41"30,-94-1-46,-13 1 16,-13-1-16,0-13 16,0 1-16,0 39 15,-13-14 1,13-25-16,0-1 0,-172-251 0,331 489 16,-159-238-16,0 0 31</inkml:trace>
  <inkml:trace contextRef="#ctx0" brushRef="#br0" timeOffset="-200244.32">6588 10411 0,'13'-26'31,"1"26"-16,65-13 1,-53-1 0,14 14-16,-13 0 15,-1 0 1</inkml:trace>
  <inkml:trace contextRef="#ctx0" brushRef="#br0" timeOffset="-199943.79">7038 10226 0,'-13'13'16,"-106"40"-1,132-39 1,0 12-16,14-13 15,12 0-15,-12 1 16,26-1 0,-53 0-16,13-13 0,-13 13 15,-40 40 1,-13-13-16,-13 0 16,26-27-16,-26 27 15,-13-14 1,66-13-16</inkml:trace>
  <inkml:trace contextRef="#ctx0" brushRef="#br0" timeOffset="-198835.6">9287 10980 0,'66'-39'16,"-53"39"-16,0 0 15,54 0 1,-54 0-16,13 39 16,-39 1-1,13-27-15,-53 53 16,-13-13 0,53-40-16,-27 14 15,14-14 1,12 0-1,54 1 1,-27-14-16,14 0 16,12-14-16,14 14 15,40-26 1,-14-14 0,-65 27-1,12 0-15</inkml:trace>
  <inkml:trace contextRef="#ctx0" brushRef="#br0" timeOffset="-198568.56">9790 10941 0,'-133'105'47,"266"-52"-1,-107-53-30,-13 0-16,14-13 0,-1 0 16,-13 0-16,-13-14 15,-26-13 1,13 40-16,-53-26 16,39 26-16,14-13 0,-80 13 31,54 13-31</inkml:trace>
  <inkml:trace contextRef="#ctx0" brushRef="#br0" timeOffset="-197050.38">11298 9684 0,'-14'13'16,"1"0"-16,13 0 0,0 1 16,0 12-16,0 1 0,13 12 15,1-26-15,-1 14 0,13-1 16,14-12-1,0-1-15,-14-13 0,27-27 16,-40 14 0,27-27-16,-27 14 15,-26 0-15,13 12 16,-26-12-16,-1 13 16,-13 13-1,1 0-15,12 13 16,-12 13-16,-1-12 15</inkml:trace>
</inkml:ink>
</file>

<file path=ppt/ink/ink20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5:33:17.580"/>
    </inkml:context>
    <inkml:brush xml:id="br0">
      <inkml:brushProperty name="width" value="0.05292" units="cm"/>
      <inkml:brushProperty name="height" value="0.05292" units="cm"/>
      <inkml:brushProperty name="color" value="#0070C0"/>
    </inkml:brush>
  </inkml:definitions>
  <inkml:trace contextRef="#ctx0" brushRef="#br0">13666 3254 0,'13'14'16,"13"-1"0,1 0-16,-14-13 15,14 13-15,78 1 16,-52-1-1,0 0-15,-26-13 16,-1 13-16,1-13 0,52 13 16,-53-13-16,54 0 15,-54 0-15,1 0 16,-1 0-16,1 0 0,-1 0 0,40-13 16,-39 13-16,-1 0 15,14-13-15,13 13 16,-14-13-16,-12 13 0,-1-13 15,-12 13-15,39-14 16,-27 14 0,0 0-16,14-26 0,-13 26 15,-14 0-15,13-13 16,-13-1-16,1 14 0,25-26 16,1-1-1,-27 14 1,1 0-16,12-13 0,-13 12 15,-13-12-15,0-1 16,0 14 0,0 0-16,0 0 0,0-1 0,0-12 15,0 13-15,-13 0 0,13-14 16,-13 14-16,13-14 16,-13 1-1,-14-14-15,14 27 16,0-13-16,-1 26 15,-25-40 1,12 0-16,1 27 16,13 0-16,-14 0 0,14 13 15,0-14-15,-14 1 16,1 0 0,-1 0-16,-52-14 15,52 27-15,14-13 16,0 13-16,0 0 0,-14-13 15,14 13-15,-27 0 0,-13-14 16,14 14 0,12 0-1,1 0-15,-1 0 0,1 0 16,13 0-16,-27 0 16,-13 0-16,0 14 15,27-14 1,-1 0-16,-26 0 15,27 13-15,13-13 0,-27 0 16,0 13 0,1-13-16,12 13 15,14-13-15,-40 27 16,13-1 0,-13 1-1,40-14 1,0 0-16,0 0 15,-27 14-15,-13 13 16,40-27 0,-14 13-16,1 14 15,0 0 1,12-14-16,1 14 16,0-1-1,26 28 1,-13-28-16,13 1 15,1 13 17,-1-40-32,-13 0 15,13 14-15,0-27 16,0 13 0,27 0-1,-27-13-15,1 14 16,-1-14-16,13 0 15,-13 0-15,1 0 0</inkml:trace>
  <inkml:trace contextRef="#ctx0" brushRef="#br0" timeOffset="1258.1">13983 2421 0,'-13'-27'0,"-13"-39"16,12 40-16,1-14 15,13 14-15,-13-1 0,-14-39 16,14 13 0,0 27-16,0-14 15,13 14-15,-14 26 16,14-14-16,0 1 15,-13 0 1,40 39 0,-1-12-1,14 12-15,-14 1 16,54 25 0,-54-38-1,1-1-15,-27 0 16,13-13-16,13 27 15,-12-27-15,-28 13 47,-12-13-47,-1 13 16,1-13-16,-14 13 16,14 0-16,-27-13 15,40 14-15,-27-1 16,27-13-16,-40 13 15,13 0-15,40 1 16,-13-14 0,0 0-16,26-27 31,27 1-15,26-40-1,-40 52 1,27-65-16,-13 13 15,-14 0 1,-13 39 0,-13 14-1,14 0-15,-14 0 16,13 13-16,-13 26 31,0 27-15,0-40-16,0 0 0,-13 54 15,13-54-15,0 53 16,-14-40 0,14 14-16,-26 39 31,26-52-15,-13-14-16,13 0 0,-13-13 15,13 14-15,0-1 16,-14-13-1</inkml:trace>
  <inkml:trace contextRef="#ctx0" brushRef="#br0" timeOffset="3673.78">15994 3254 0,'13'27'15,"40"-1"1,-40-12-16,14-14 15,-14 13-15,0-13 0,14 0 0,12 13 16,-12-13-16,-1 13 16,27-13-16,-26 0 0,12 0 15,14-13-15,40 0 16,-40-14 0,13 1-16,-39 26 15,-1-27-15,27-12 16,-40 25-1,0 1-15,-13 0 0,14 13 16,-1-40-16,0 27 16,-13 0-16,13-14 0,-13 1 15,0 13-15,0-1 16,14-12 0,-14 13-16,0-14 0,-14 14 15,14 0-15,0 0 16,-13-1-16,13 1 15,-26-26-15,12 25 16,14 1 0,-13 0-16,0 13 0,13-13 0,-27-1 15,14 1-15,0 0 16,0 13-16,0-13 16,-1 13-16,-12-14 0,13 1 0,-14 0 15,14 13-15,-14-13 16,14 0-1,0 13-15,-13-14 0,12 14 0,-12 0 16,-14-13 0,27 13-16,-27 0 15,-13-13-15,27 13 16,13 0-16,-14 0 0,14 0 16,-14 0-16,14 0 0,-13 0 15,-14 0-15,-13 0 16,27 0-16,-14 13 0,-13-13 15,40 13 1,-80 1 0,80-1-16,0-13 0,-14 0 15,1 13-15,13 0 16,-27 14-16,27-27 16,0 13-16,-14 0 0,14 0 15,0 1-15,-1-1 16,1 0-16,0 0 0,0 1 15,0-1-15,13 0 16,-14 0-16,14 14 16,-13-1-16,0 14 15,13-14 1,0-13-16,0 1 16,0-1-16,0 13 0,0 1 15,0-1-15,13 1 16,-13-14-16,27 13 15,-27-12-15,26 12 16,0 1-16,1-27 16,-14 13-16,0 0 0,14 14 15,-1-27-15,1 13 0,26 0 16,-14 0 0,-25-13-16,-1 0 0,0 0 15,0 13-15,14-13 0,26 0 16,-40 0-1,0 0-15,0 0 0,1 0 16,12 0-16,-13-13 0,0 13 16,1 0-16,-1 0 15,0 0-15,0 0 16,1 0 0,-1 0-1,0 0 16,0 0 1,-26-13 61,13 0-77,-13 0 15</inkml:trace>
  <inkml:trace contextRef="#ctx0" brushRef="#br0" timeOffset="10264.01">6575 3969 0,'-13'0'15,"52"0"16,-12 0-31,-1 0 16,1 13-16,26-13 0,-14 0 16,94 0-16,25 0 15,1-13-15,-80 13 16,1 0-16,-1-13 0,14 13 16,79-14-16,-80 1 0,67 0 15,0 0 1,-93 13-16,119-14 15,-132 14-15,-13 0 0,0 0 0,-14 0 16,0 0-16,1-13 0,-14 13 16,27 0-16,-27 0 0,0 0 15,14 0 1,-14 0-16,-39 13 62,12-13-62,1 0 16,0 0-16</inkml:trace>
  <inkml:trace contextRef="#ctx0" brushRef="#br0" timeOffset="10772.65">6853 4167 0,'-14'0'16,"54"13"-16,-27-13 15,27 0-15,0-13 0,92 13 16,-66-13-16,14 0 0,-14 13 16,106-27-16,-14 1 15,-65 26-15,66-27 16,-27 14-16,-13 0 15,13 0 1,-79-1-16,-26 14 0,-1 0 16,-12 0-16,38 0 15,-25 0 1,-14 0 0,0 0-1,-39 14 1,13-1-1,-14-13 1,14 0-16</inkml:trace>
  <inkml:trace contextRef="#ctx0" brushRef="#br0" timeOffset="45247.2">13824 6668 0,'-13'13'0,"0"0"16,13 0-1,-13 14 1,13-14 0,0 0-16,0 0 0,0 14 15,0-14-15,-13 13 16,13-12-16,0 12 0,13 1 0,-13 12 15,0 41-15,0 52 16,0-92-16,0-1 16,13 54-16,13 39 15,-12 40 1,-1-119-16,-13-13 16,13 52-16,-13-39 15,13 93-15,1-93 16,-14-14-16,0 14 0,0 0 15,0-13-15,0 13 0,13-13 0,-13 145 16,0-146 0,13 1-16,-13 0 0,0 0 15,13 52-15,-13-52 0,14 39 16,-14-39-16,0-14 16,0 14-16,0 0 0,0-14 0,0 14 15,0 172 1,0-160-16,-14 28 15,14-27-15,0-14 16,-13 1-16,13 0 0,0 13 16,0-14-16,0 1 0,-13 53 15,13-67-15,0 14 16,0 0-16,0-27 16,0 0-16,0 0 0,0 0 0,0 1 15,0-1 1</inkml:trace>
  <inkml:trace contextRef="#ctx0" brushRef="#br0" timeOffset="46352.95">13242 9763 0,'14'0'31,"12"-13"-31,14 13 16,-1 0-16,-12 0 16,-1 0-16,120-13 15,-27-1-15,66 14 16,-105-13-16,131 13 16,-131-13-16,-14 13 15,92 0-15,1 0 16,-79 0-16,92 0 15,172-13 1,-67 0 0,-184 13-16,0 0 0,92-14 15,-93 14-15,424-26 16,-436 26 0,158-13-1,-66 13-15,-93-14 16,-13 14-16,93-13 15,-80 13-15,67-13 0,-1 0 16,1-1-16,-27 1 16,13 13-1,-79-13-15,66 13 0,0 0 16,0-13 0,-66 13-16,66 0 0,-66-13 15,66 13-15,-66 0 16,66 0-16,-66 0 0,53-14 15,-53 14-15,53 0 16,-80 0-16,14 0 0,-13-13 16,39 13-16,-27 0 0,67-13 15,-93 13 1,14 0-16,-14 0 0,14 0 16,25-13-1,-25 13 1,-14-14-16,0 14 15,1 0 1,-1 0 0,-40-13 46</inkml:trace>
  <inkml:trace contextRef="#ctx0" brushRef="#br0" timeOffset="46845.47">19738 9327 0,'0'26'31,"13"-26"-31,14 13 16,-14 0-16,13 1 15,-12-1-15,25 27 16,-26-27 0,-13 13-16,-13 1 15,-119 105 1,26-53 0,27-26-1,39-39-15</inkml:trace>
  <inkml:trace contextRef="#ctx0" brushRef="#br0" timeOffset="47651.04">13679 6694 0,'40'-40'16,"-40"27"-16,26 0 15,1-14 1,-14 14-16,0 13 16,0 0-16,-13 13 15,13 1-15,1 25 16,-1 1-1,-13-27-15,13 14 0,14 26 16,-1-40-16,-13 0 16</inkml:trace>
  <inkml:trace contextRef="#ctx0" brushRef="#br0" timeOffset="52142.81">13917 9499 0,'40'13'63,"-27"-13"-63,13 0 31,-12 0-31,-1-13 0,13 13 16,14-14-16,-27 1 15,27 0-15,0-14 16,-14 1 0,1 13-16,-1-1 15,-13 1-15,14 0 16,12-13-1,-12-1-15,-1 14 16,1-14-16,-14 14 16,0 0-16,14 0 15,-14 0-15,27-14 16,-14 14-16,1-14 16,-14 14-1,0 0-15,27-27 16,-27 27-16,40-27 15,-40 27 1,40-40 0,-40 40-16,0 0 15,14-14-15,-14 1 16,0 13-16,40-40 16,-13 0 15,-27 39-31,27-25 15,-27 12-15,0 14 0,14-27 16,-1 14 0,14-40-1,-14 39-15,1-12 16,-14 25-16,14-38 16,-1 25-16,-13 1 15,27-27 1,-27 13-1,0 27-15,1-14 0,12-26 16,1 0 0,-1 14-1,-13 26-15,0-14 16,-13 14-16,0 0 0,14-27 16,12-13-1,1 13 1,-14 14-16,0-1 15,0-12 1,1 26-16,12-40 16,-13 26-1,0 1-15,1 12 16,-1-38 0,0 38-16,0 1 0,1-13 15,-1-1 1,-13 14-16,26-27 15,-26 27-15,0 0 16,27-27 0,-14 14-16,-13-1 15,13 14-15,0-40 32,-13 27-32,14 12 15,-1-12 1,0-1-1,14-12 1,-27 26 0,13-1-16,0-12 15,13-1 1,-26 14-16,14 0 16,-1-14-1,0 14 1,-13 0-16,13 0 0,1 0 15,-1-1-15,0 1 16,0-27 0,1 40-1,-1-26-15,13-1 32,-26 14-32,13 13 15,1-26 1,-1 13-16,0-1 15,0 1 1,-13 0 0,14 13-16,-14-13 15,13 13-15,0-14 16,-13 1 0,26 0-1,-12 0 1,-1 13-1,0-13 1,0-1 0,1 14-1,-1-13 1,0 13 0,0-13-1,1 13 1,-1 0-16,-13-13 15,13 13 1,0 0-16,0-14 16,14 14-1,-14 0-15,14-13 16,-1 13 0,-13 0-16,40 0 31,-40 0-16,1 0 1,25 0 0,-12 13-1,-1-13 1,-12 0-16,-1 14 16,26-14-1,-25 13 1,-1-13-16,0 0 0,0 13 15,40 0 17,-39 1-32,-1-1 15,0-13-15,13 26 16,1-13 0,-14 1-1,0-14-15,1 26 16,12-13-1,-13 1 1,-13-1-16,13-13 16,-13 13-16,14-13 0,-14 13 15,13-13-15,-13 13 16,13 1-16,0-1 16,1 0-1,-1 0 1,-13 1-1,13-1 1,0 0 0,-13 0-16,14-13 15,-14 14 1,13-1-16,0 13 31,-13-13-31,13 1 16,0-1-16,-13 0 15,14 14 1,-1-14 0,-13 0-16,0 0 15,13 1 1,0 12 0,-13-13-16,14 0 15,-14 14 1,0-14-16,13 0 15,-13 1-15,13-14 16,-13 13-16,13 0 16,-13 0-16,27 27 31,-27-27-31,13 0 16,-13 1-16,13-1 0,-13 0 15,13 0-15,14 27 31,-27-27-31,13 0 16,0 14 0,1-14-1,-1-13-15,13 40 16,-26-27-16,13 0 16,-13 1-16,27 25 15,-14-39 1,0 27-16,-13-14 0,14-13 15,-14 13-15,26 27 16,-13-14 0,1-12-1,-1 12-15,0-26 16,-13 13-16,26 14 16,-26-14-16,14 0 15,12 14 1,1 12-1,-1-25 1,-13 12 0,1-13-16,-1 0 15,0 1-15,13 12 16,-12-13 0,-1-13-16,-13 14 0,26-1 15,-12 0 1,-1 0-16,0-13 15,0 13-15,1 1 16,-1-1-16,0 0 16,13 14-1,-12-14 1,-1 0-16,0 0 16,0 1-1,1-1-15,-1 0 16,0 0-1,0 0 1,1 1-16,-14-1 16,13 0-1,0-13-15,0 27 16,0-27-16,1 13 16,-14 0-16,26 0 15,-13 1-15,-13-1 16,14-13-16,12 26 31,-26-13-31,13-13 0,0 14 16,1-1-1,-1 0 1,0 0-16,0 1 16,1-1-16,-1-13 0,-13 13 15,13-13 1,0 13-16,1 0 15,-1-13-15,13 14 0,1-1 16,-14 0 0,0-13-16,27 27 15,0-14 1,-27 0 0,0-13-16,27 27 31,-27-27-31,27 26 15,-40-13 1,52 14 0,-38-14-16,39 13 31,-27 1 0,40-1 0,-39-12-15,52 12 15,-66-26-31,53 26 32,-66-12-32,93 12 31,-80-26-16,27 27 1,-27-27-16,67 26 16,-41-13-1,-25 1 1,78 12 0,-13-13-1,27-26 1,-66 0-1,92-27 1</inkml:trace>
  <inkml:trace contextRef="#ctx0" brushRef="#br0" timeOffset="53767.63">16550 6416 0,'13'80'0,"-13"-54"16,0 0-16</inkml:trace>
  <inkml:trace contextRef="#ctx0" brushRef="#br0" timeOffset="54835.02">16722 9551 0,'13'53'0,"-13"-39"15,13 78-15,-13-65 16,0 52-16,0-53 16,0 1-16</inkml:trace>
  <inkml:trace contextRef="#ctx0" brushRef="#br0" timeOffset="55762.1">15862 9604 0,'13'14'16,"-13"-1"-16,0 0 16,0 0-16,-13 80 15,0-53-15,13 12 16,0-38-16,13-1 15,-13 0-15</inkml:trace>
  <inkml:trace contextRef="#ctx0" brushRef="#br0" timeOffset="57728.34">17754 9459 0,'0'26'16,"0"-12"-16,0-1 15,13 0-15,-13 27 16,0-27-16,0 13 0,13-12 16,-13-1-1,0 0-15,13 14 0</inkml:trace>
  <inkml:trace contextRef="#ctx0" brushRef="#br0" timeOffset="59031.99">17833 9988 0,'0'53'15,"0"-27"1,0-12-16,0 12 16</inkml:trace>
  <inkml:trace contextRef="#ctx0" brushRef="#br0" timeOffset="59862.73">15729 10200 0,'40'-14'31,"-13"14"0,-14 0-31,0 0 16,-13-13-16</inkml:trace>
  <inkml:trace contextRef="#ctx0" brushRef="#br0" timeOffset="60091.76">15968 10081 0,'0'53'16,"0"-14"-16,0-26 0,0 1 16,0-1-16,-14 0 0,14 14 15</inkml:trace>
  <inkml:trace contextRef="#ctx0" brushRef="#br0" timeOffset="60959.61">18680 9472 0,'-14'27'0,"14"12"16,0-26-16,0 1 16,0-1-16,0 0 0,0 0 15,0 1-15,0-1 0,0 13 16,0-12 0,0-1-16,14 0 15</inkml:trace>
  <inkml:trace contextRef="#ctx0" brushRef="#br0" timeOffset="61451.44">18706 10014 0,'53'-26'16,"-40"26"0,0 13-16,1-13 0,-1 13 15,-26 1 1,-1 12-16,1-13 16,0 14-16,0-14 15,-1 0-15,1 1 16,13-1-16,0 0 15,0 0 1,13-13 0,14 0-16,13 0 15,-14-13 1,-13 13-16,14-13 16</inkml:trace>
  <inkml:trace contextRef="#ctx0" brushRef="#br0" timeOffset="62105.59">14975 9684 0,'14'26'15,"-14"1"1,0-14-16,0 0 16,0 0-16,0 1 0,0 12 15,0 14-15</inkml:trace>
  <inkml:trace contextRef="#ctx0" brushRef="#br0" timeOffset="62417.62">14909 10239 0,'27'0'0,"-14"-13"16,0 13-16,0 0 16,14 0-16</inkml:trace>
  <inkml:trace contextRef="#ctx0" brushRef="#br0" timeOffset="62720.93">15134 10120 0,'40'0'15,"-27"0"1,-66 0-16,119 0 0,-66 14 16,0 12-1,-13-26-15,-13 40 16,-1-1-16,27-25 15,-13-1 1,0 13 0,26-26-1,13 0 1,27 0-16,0-13 16,13-13-1,14-1-15,-41 14 0</inkml:trace>
  <inkml:trace contextRef="#ctx0" brushRef="#br0" timeOffset="63377.38">19632 9459 0,'0'66'31,"0"-40"-15,0-12-16,0 39 15,0-40 1,0 13-16,0 14 0,0-14 15</inkml:trace>
  <inkml:trace contextRef="#ctx0" brushRef="#br0" timeOffset="63948.69">19764 9975 0,'40'0'16,"-40"13"-1,-13 13 1,0-12 0,-1 12-1,14-13 1,14 1-16,39 12 31,-40-13-15,-13 1-16,-13-1 15,13 0-15,-40 13 16,27-12-16,-54 12 16,28-26-1</inkml:trace>
  <inkml:trace contextRef="#ctx0" brushRef="#br0" timeOffset="64681.02">14142 9697 0,'0'13'15,"0"14"-15,0-14 16,0 0-16,0 27 0,0-1 16,0-25-1,0-1-15,0 0 0,13 14 16</inkml:trace>
  <inkml:trace contextRef="#ctx0" brushRef="#br0" timeOffset="65164.93">13983 10292 0,'40'0'15,"-14"0"16,-12 0-31,-1-13 16,0 13-16,0 0 16</inkml:trace>
  <inkml:trace contextRef="#ctx0" brushRef="#br0" timeOffset="65517.46">14195 10213 0,'13'-13'0,"0"26"15,-13 0 1,0 0-1,0 1-15,-13-1 0,26 0 32,1 0-17,-1 1 1,0-14 0,-13 13-1,-13 0 1,0 0-16,13 0 0,-27 1 15,14-14-15,0 13 16,-1 0-16</inkml:trace>
  <inkml:trace contextRef="#ctx0" brushRef="#br0" timeOffset="67650.39">15571 7938 0,'0'26'15,"-13"-13"17,13 0-32,13 1 15,-26-1 1,26 0-16,-13 0 15,0 1-15,0-1 0,0 13 16,0 1 0</inkml:trace>
  <inkml:trace contextRef="#ctx0" brushRef="#br0" timeOffset="67844.84">15610 8334 0,'0'27'16,"0"-14"-16,0 0 15,0 1 1,0 12 0,0-13-16,0 14 15</inkml:trace>
  <inkml:trace contextRef="#ctx0" brushRef="#br0" timeOffset="68016.11">15637 8639 0,'-13'0'16,"26"13"0,-13-26-16,0 39 15,0-13-15,0 14 16,0-14-1,0 0 1,13 0-16</inkml:trace>
  <inkml:trace contextRef="#ctx0" brushRef="#br0" timeOffset="68300.69">15677 8837 0,'0'27'15,"-14"25"1,14-25 0,14-14-16,-14 0 15,0 1-15,0 12 0,0-13 16,13 1 0,-13 25-1,0-26-15,0 1 16,0 12-1,0-13-15,0 14 16,0-14 0,0 0-16,0 14 15</inkml:trace>
  <inkml:trace contextRef="#ctx0" brushRef="#br0" timeOffset="68435.33">15756 9327 0,'0'39'16,"0"-26"-16,-13 27 16,26-132-16,-26 197 0,13-91 0,0-1 15,0 0-15,-14 0 16</inkml:trace>
  <inkml:trace contextRef="#ctx0" brushRef="#br0" timeOffset="69441.45">17714 8017 0,'13'13'31,"-13"0"-15,0 27 0,0-14-16,0-12 0,0-1 15,0 13-15,0-12 0,0 12 16</inkml:trace>
  <inkml:trace contextRef="#ctx0" brushRef="#br0" timeOffset="69917.64">17727 8493 0,'0'13'16,"0"1"-1,-13-1 1,13 0 0,0 0-1,0 0-15,0 1 16,0 12-16,0-13 15,13 1-15,-13-1 16,0-172-16,0 331 16,0-159-16,0 1 15,0-1 1,0 0-16,0 0 16,0 0-1,0 1 1,0-1-1,-13 0-15,13 0 16,0 14-16,0-14 0,0 0 16,0 1-16,0-1 15,0 0-15,0 13 16,0 1-16,13-14 16,-13 0-1,0 1 1,0 12-16,0-13 15,0 1 1,0-1 0,0 0-16</inkml:trace>
  <inkml:trace contextRef="#ctx0" brushRef="#br0" timeOffset="70048.64">17740 9128 0,'14'13'15,"-14"1"1,0-1 31,0 0-47,0 0 15</inkml:trace>
  <inkml:trace contextRef="#ctx0" brushRef="#br0" timeOffset="70169.23">17754 9260 0,'0'14'15,"0"-1"1,-14 0 0</inkml:trace>
  <inkml:trace contextRef="#ctx0" brushRef="#br0" timeOffset="70308.66">17754 9406 0,'0'13'15</inkml:trace>
  <inkml:trace contextRef="#ctx0" brushRef="#br0" timeOffset="80030.75">15650 7911 0,'53'0'15,"-40"0"1,0 0-16,1 0 16</inkml:trace>
  <inkml:trace contextRef="#ctx0" brushRef="#br0" timeOffset="80216">15954 7924 0,'27'0'32,"-1"0"-17</inkml:trace>
  <inkml:trace contextRef="#ctx0" brushRef="#br0" timeOffset="80380.8">16259 7951 0,'13'-13'0,"0"13"31,0 0-16</inkml:trace>
  <inkml:trace contextRef="#ctx0" brushRef="#br0" timeOffset="80537.95">16642 7964 0,'14'0'15,"-1"0"1,0-13-16,0 13 31,14 0-15,-14 0-16</inkml:trace>
  <inkml:trace contextRef="#ctx0" brushRef="#br0" timeOffset="80673.78">16894 7964 0,'26'0'0,"-13"0"15,1 0 1,-1-13-16,-79 26 0,145-26 31,-66 13-15,0 0-1</inkml:trace>
  <inkml:trace contextRef="#ctx0" brushRef="#br0" timeOffset="80804.53">17119 7951 0,'52'0'31,"-38"0"-15,-80 0-16,145 0 16,-66 0-1</inkml:trace>
  <inkml:trace contextRef="#ctx0" brushRef="#br0" timeOffset="80936.83">17410 7964 0,'0'-13'0,"26"13"16,-13 0 0,0 0 15</inkml:trace>
  <inkml:trace contextRef="#ctx0" brushRef="#br0" timeOffset="81060.31">17568 7977 0,'0'0'0,"14"0"16,-1 0-16,0 0 16</inkml:trace>
  <inkml:trace contextRef="#ctx0" brushRef="#br0" timeOffset="81156.89">17714 7990 0,'0'0'0</inkml:trace>
  <inkml:trace contextRef="#ctx0" brushRef="#br0" timeOffset="95027.86">16510 7964 0,'66'0'47</inkml:trace>
  <inkml:trace contextRef="#ctx0" brushRef="#br0" timeOffset="95460.09">15968 7924 0,'13'14'16,"0"-14"-16,14 0 15,-14 0-15,0 0 16,0 0-16,53-14 16</inkml:trace>
  <inkml:trace contextRef="#ctx0" brushRef="#br0" timeOffset="103627.91">16417 8374 0,'0'-26'0,"14"26"16,-14-14 0,-27 28 30,1 39-46,-1-1 16,27-25-16,-13 13 16,0-27-16,13 93 109,0-93-109,66 27 16,-66-27-16,79-40 31,-79 14-15,-26-27-1,13 27-15,-27 13 31</inkml:trace>
  <inkml:trace contextRef="#ctx0" brushRef="#br0" timeOffset="104416.75">16616 8414 0,'-27'0'0,"-12"13"31,25 0-15,14 0-1,14-13-15,-1 27 16,0-14-16,0 14 16,1-14-16,12 13 15,-13-13-15,-13 1 16,0-1-16,0 13 15,-13-12 1,13-1-16,-26 0 16,12-13-16,1 0 15,0 13-15,0-26 16,13-13 15,13 12-31,0 1 16,0 13-1,1-13-15,12-27 0,-13 27 16,1 0-16,-1-14 16,0 14-16,-13-13 15,0 12-15,0 1 16,0 0-16,-13 0 16,0 0-1,-1 13-15,1-14 16,0 14-16,0 0 0,-14 14 31,27-1-31</inkml:trace>
  <inkml:trace contextRef="#ctx0" brushRef="#br0" timeOffset="104618.42">16814 8506 0,'0'14'15</inkml:trace>
  <inkml:trace contextRef="#ctx0" brushRef="#br0" timeOffset="105284.65">16947 8387 0,'66'-13'15,"-40"26"1,-13 1 0,-26 65-1,13-66 1,-13 0-16,0 14 0,-1-27 15,-12 26 1,13-13 0,13 1-16,13-1 31,0-13-15,14 0-16,-14 0 15,0 0-15,27 0 16,-14 0-16,-12 0 15,12-13 1,-13 13-16</inkml:trace>
  <inkml:trace contextRef="#ctx0" brushRef="#br0" timeOffset="106394.67">17158 8387 0,'0'-13'0,"13"13"31,1 0-15,12 0-16,-13 0 15,14 0 1,-1 13 0,-26 1-1,14-1-15,-1 13 16,-13 1 0,0-14-16,0 13 15,0-12 1,13-1-16,-13 0 15,0 0 1</inkml:trace>
  <inkml:trace contextRef="#ctx0" brushRef="#br0" timeOffset="106571.04">17211 8559 0,'-13'0'15,"26"-13"1,0 0 0,1 13-16,-1 0 0,0 0 15,0-13-15,14 13 16,-14-14-16,0 14 16</inkml:trace>
  <inkml:trace contextRef="#ctx0" brushRef="#br0" timeOffset="106768.75">17515 8374 0,'-26'27'47,"26"-14"-47,-13 0 15,-1 13-15,1 14 0,13-27 16,-13 1-16,0 12 15,105-198-15,-184 370 16,79-198 0</inkml:trace>
  <inkml:trace contextRef="#ctx0" brushRef="#br0" timeOffset="106956.19">17357 8453 0,'0'-13'16</inkml:trace>
  <inkml:trace contextRef="#ctx0" brushRef="#br0" timeOffset="107109.48">17608 8546 0</inkml:trace>
  <inkml:trace contextRef="#ctx0" brushRef="#br0" timeOffset="108385.63">16947 8480 0,'39'-13'15,"-26"13"-15,1 0 16,25 0-16,1 0 15,-27 0-15,1 13 0</inkml:trace>
  <inkml:trace contextRef="#ctx0" brushRef="#br0" timeOffset="108543.85">16999 8599 0,'27'0'16,"-14"0"-16,0 0 15,14-13-15</inkml:trace>
  <inkml:trace contextRef="#ctx0" brushRef="#br0" timeOffset="110421.68">15042 9882 0,'0'27'15,"0"-1"1,0-13-16,0 27 0,0 0 16,0-14-16,13 1 0,-13-1 15,0 27-15</inkml:trace>
  <inkml:trace contextRef="#ctx0" brushRef="#br0" timeOffset="110620.41">15108 10504 0,'0'13'15,"-14"0"1,14 1 0,0-1-1,0 0 1,14 0-1</inkml:trace>
  <inkml:trace contextRef="#ctx0" brushRef="#br0" timeOffset="110802.54">15161 10649 0,'0'0'16,"0"14"-1,13-28 1,0 14-1,0-13-15,1 13 16,25 0-16,14-13 16,-13 13-1,-14 0-15</inkml:trace>
  <inkml:trace contextRef="#ctx0" brushRef="#br0" timeOffset="110955.96">15690 10597 0,'13'0'31,"0"0"-31,0 0 16,14-14-1,-1 14-15,-12 0 16,52 0 0,-53 0-16</inkml:trace>
  <inkml:trace contextRef="#ctx0" brushRef="#br0" timeOffset="111103.46">16153 10570 0,'13'0'16,"0"0"0,0 0-1,1 0 1,-530 27-16,1045-67 0,-516 40 16,14 0-1,-14 0-15,0 0 0</inkml:trace>
  <inkml:trace contextRef="#ctx0" brushRef="#br0" timeOffset="111226.79">16444 10557 0,'53'0'15,"-40"0"-15,0-13 16,0 13 0,1 0-16,-1-14 0,0 14 15</inkml:trace>
  <inkml:trace contextRef="#ctx0" brushRef="#br0" timeOffset="111356.91">16788 10517 0,'13'0'0,"0"0"15,1 0 1,-1-13 0,0 13-1,0 0 1</inkml:trace>
  <inkml:trace contextRef="#ctx0" brushRef="#br0" timeOffset="111489.68">17079 10504 0,'53'0'62,"-27"0"-46</inkml:trace>
  <inkml:trace contextRef="#ctx0" brushRef="#br0" timeOffset="111636.72">17396 10517 0,'53'0'62</inkml:trace>
  <inkml:trace contextRef="#ctx0" brushRef="#br0" timeOffset="111769.5">17634 10517 0,'27'-13'47,"-1"13"-16</inkml:trace>
  <inkml:trace contextRef="#ctx0" brushRef="#br0" timeOffset="111913.68">17767 10491 0,'13'0'31,"-1653"79"-31</inkml:trace>
  <inkml:trace contextRef="#ctx0" brushRef="#br0" timeOffset="112052.76">17859 10464 0,'0'-13'0,"14"13"15,-14-13 1,-1720 145-16,3453-277 16,-1733 131-1,0 1-15</inkml:trace>
  <inkml:trace contextRef="#ctx0" brushRef="#br0" timeOffset="112183.74">17952 10319 0,'-13'-40'31</inkml:trace>
  <inkml:trace contextRef="#ctx0" brushRef="#br0" timeOffset="112316.75">18005 10134 0,'-13'-14'16,"13"1"-1,-14-13 1,14 12 0</inkml:trace>
  <inkml:trace contextRef="#ctx0" brushRef="#br0" timeOffset="112445.61">17978 9948 0,'-13'-26'16</inkml:trace>
  <inkml:trace contextRef="#ctx0" brushRef="#br0" timeOffset="112702.76">17899 9710 0</inkml:trace>
  <inkml:trace contextRef="#ctx0" brushRef="#br0" timeOffset="114550.45">16325 10914 0,'13'-40'31,"-39"14"-31,12 26 15,-52 0 1,53 13 0,-40 14-16,0-1 15,27-13 1,12 1-16,14-1 16,0 0-16,27-13 15,-1 0 1,14 0-16,-27-13 15,27 0-15,-14-14 16,14 14-16,-27 0 16,1-1-16,-1 14 15,0 27 1,-13-1 0,0 1-16,0-1 15,-13-13-15,13 27 16,0-27-16,0 27 0,0-27 15,0 14-15,0 12 16,0-25 0,13-1-16</inkml:trace>
  <inkml:trace contextRef="#ctx0" brushRef="#br0" timeOffset="115028.76">16775 10914 0,'-14'0'16,"-12"0"-16,-14 27 15,14-27-15,13 13 16,-14-13-16,27 13 16,27-13-1,-14 13 1,0-13-16,13 13 15,-12 1-15,12-14 16,-13 13-16,14 13 16,-14-12-1,-26 12 1,13-13 0,-13 0-16,-1 1 0,-12-1 15,13 0-15,-14-13 16,1 13-16,13 1 15,-1-14 1</inkml:trace>
  <inkml:trace contextRef="#ctx0" brushRef="#br0" timeOffset="115266.91">16920 11046 0</inkml:trace>
  <inkml:trace contextRef="#ctx0" brushRef="#br0" timeOffset="115911.9">17317 10835 0,'-26'26'15,"12"-13"-15,-25 14 16,25-14-16,1 0 15,-13 14-15,12-14 0,-12 13 16,13-12 0,13-1-16,0 13 31,13-26-31,0 0 16,27 14-16,-14-14 15,41 13 1,-28-13-16,-26 0 15,14 0-15,-1-13 16,-12 13 0,-1 0-16</inkml:trace>
  <inkml:trace contextRef="#ctx0" brushRef="#br0" timeOffset="116152.78">17330 10901 0,'-26'40'0,"52"-80"0,-65 106 16,39-40 0,-14 80-1,14-79 1,-13-14-16,13 27 15,0-14-15,0-13 16,0 1 0</inkml:trace>
  <inkml:trace contextRef="#ctx0" brushRef="#br0" timeOffset="116597.5">17595 10914 0,'-13'0'16,"-1"0"-16,41 0 16,-80 0-16,40 0 15,-1 0-15,14 13 16,-13-13-16,26 27 31,1-14-31,12 0 16,-13 0-16,14 14 15,-14-27 1,-13 13-16,0 0 16,0 1-16,-53-1 15,40 0 1,0-13-16,-14 13 16,14-13-16,-14 0 0,14 13 15,-26-13-15</inkml:trace>
  <inkml:trace contextRef="#ctx0" brushRef="#br0" timeOffset="117556.43">17833 10874 0,'-13'40'31,"-14"-13"-31,27-14 16,-13 0-16,-13 27 16,12-14-16,1 1 15,0-27-15</inkml:trace>
  <inkml:trace contextRef="#ctx0" brushRef="#br0" timeOffset="117750.52">17727 10914 0,'0'-13'16</inkml:trace>
  <inkml:trace contextRef="#ctx0" brushRef="#br0" timeOffset="117850.85">18045 11007 0,'0'0'32</inkml:trace>
  <inkml:trace contextRef="#ctx0" brushRef="#br0" timeOffset="119616.5">14221 10583 0,'0'53'16,"0"13"-1,0 53 1,0-79-16,0 106 16,0-93-16,0-1 0,-13 41 15,0 92 1,0-66 0,-1-52-1,-12 38 1,26-78-16,-13 26 15,0-27-15,13-13 16,-14 1 0,14 12-16,0-13 31,14-13-15,-1 14-1,0-14-15,27 13 16,-14-13-1,1 0-15,52 0 16,0-13-16,107-1 31,-134 14-31,120-13 16,-105 13-16,-15 0 0,94-13 16,-93 13-16,278-27 15,-252 27 1,146-13-1,-159 13-15,159-13 16,0 13 0,-159 0-16,13 0 0,265-13 31,-145 13-15,-133 0-16,53 0 15,132-13 1,-185 13-16,120 0 0,-120-14 15,-13 14-15,66 0 16,0 0-16,-53 0 16,159 0-16,-119 0 15,53-13 1,-1 13 0,54-13-1,-172 13-15,79-13 16,-53 13-16,0 0 15,-13-14 1,-27 14-16,27 0 16,13-13-16,-26 13 15,0-13 1,-1 13-16,14 0 16,-39 0-16,39-13 15,-14 13-15,-26 0 16,14 0-16,79-14 31,-67 14-31,1-13 16,-27 13-16,14 0 15,-14-13-15,13-13 16,-12 12 0,-1 1-16,-13 0 15,13 0-15,-13-1 0,13-39 16,1 27-1,-14-40-15,13-106 32,0 66-17,0 0 1,-13 67-16,14-107 16,-1 106-16,-13-79 15,26-13 16,-26 106-31,13-41 16,-26 1 15,13 53-31,-13-27 47</inkml:trace>
  <inkml:trace contextRef="#ctx0" brushRef="#br0" timeOffset="121037.12">16933 12634 0,'-53'-93'15,"40"80"1,-13 13-16,13 0 16,-14 13-16,14-13 0,-14 0 0,-26 27 15,40-14-15,0 13 16,0-26-16,13 14 0,0-1 16,0 0-1,26-13-15,-13-13 16,14 13-16,13-13 0,-1-1 15,-25 1 1,12 0-16,0 13 0,1 13 16,-14 0-1,-13 14 1,0-1-16,0 14 16,0 0-16,0-14 15,0 1-15,0-14 0,0 27 16,0-14-16,0 0 15,13-12-15,1-14 16,12 0 0</inkml:trace>
  <inkml:trace contextRef="#ctx0" brushRef="#br0" timeOffset="121391.63">17330 12581 0,'-66'0'16,"53"0"-16,-14 13 0,-12-13 15,-14 27-15,26-14 16,1 0-16,26 0 16,53-13 15,-40 0-31,13-13 0,14 13 15,-13-13 1,-1 26-16,-13-13 0,14 13 16,-14 1-16,0-1 15,-13 0-15,13 0 16,-13 0-16,0 40 16,0-26-16,0-14 15,0 0-15,0 14 0,0-14 16,0 0-16,0 0 15,14-13 1</inkml:trace>
  <inkml:trace contextRef="#ctx0" brushRef="#br0" timeOffset="121524.63">17555 12846 0,'-225'-265'16,"463"516"-1,-224-264 1</inkml:trace>
  <inkml:trace contextRef="#ctx0" brushRef="#br0" timeOffset="121965.11">17754 12515 0,'39'-27'16,"41"27"-1,-41 0 1,-12 14-16,-14-14 0,13 13 16,1 0-16,-14 0 0,0 0 15,1 14-15,-1-1 16,-13 27-1,0 27 1,0-54 0,0 1-1,0-14-15,0 0 0,13 0 16,0-13 0</inkml:trace>
  <inkml:trace contextRef="#ctx0" brushRef="#br0" timeOffset="122163.77">17912 12726 0,'93'-13'16,"-67"13"-16,27 0 15,-39-13-15,38 13 16,1 0-16,0-13 16</inkml:trace>
  <inkml:trace contextRef="#ctx0" brushRef="#br0" timeOffset="122579.65">18375 12502 0,'53'0'16,"-40"26"-1,1-13 1,-14 0 0,26 1-1,1-1-15,-14 0 0,27 14 16,-27-14-1,0 0-15,0 27 16,-26-14-16,-40 1 16,13-1-1,1-13-15,-67 27 16,79-40 0,-26 0-16</inkml:trace>
  <inkml:trace contextRef="#ctx0" brushRef="#br0" timeOffset="136540.62">16801 9671 0,'-13'26'79,"13"-13"-48</inkml:trace>
  <inkml:trace contextRef="#ctx0" brushRef="#br0" timeOffset="137603.49">16576 6562 0,'0'39'16,"0"-25"-16,0 12 0,0-13 0,0 27 16,0 0-16,0-27 15,0 27-15,13-14 16,-13 0-16,0 14 16,14 0-16,-14-14 0,0 1 15,0 12-15,0-25 16</inkml:trace>
  <inkml:trace contextRef="#ctx0" brushRef="#br0" timeOffset="138914.76">16642 7236 0,'0'27'16,"0"-1"15,0-13-31,0 1 16,0-1-16,0 27 15,0-27-15,0 0 16,0 0-16,0 14 15,0-14 1,0 13-16,0-12 16,0 12-16,0-13 15,0 14 1,0-14-16,0 0 16,0 1-16,0-1 15,0 13-15,0-423 16,0 807-16,0-396 15,0-1-15,0 0 0,0 14 16,0-14 0,0 0-1,0 14 1,0-14-16,0 13 16,0-13-16,0 14 15,0 13 1,0-27-1,0 0-15,0 0 16,0 14-16,14-1 16,-14 1-1,0-14-15,0 0 16,-14 14 0,28-1-1,-14-13-15,0 14 0,0-14 16,0 0-16,0 0 15,0 27 1,0-27 0,0 1-16,13-1 0,-13 13 15,0 1 1,0-14 0,0 0-16,0 0 0,0 14 15,0-14-15,0 14 16,0 12-1,0-26 1,0 14 0,0-1-1,0 1 1,0-14-16,13 13 16,-13-12-16,0-1 0,0 13 15,13 14 1,-13-27-16,0 27 15,0-27-15,13 0 0,-13 27 16,0 0 0,0-27-16,0 14 15,0 12 1,0-12 0,0-14-16,0 0 15,14 14-15,-14-14 16,0 27-1,0-14-15,0 14 16,0-14 0,0-13-1,0 14-15,0-14 16,0 14 0,0-1-1,0-13-15,0 14 16,0-14-1,0 0 1,0 14 0,0-14-16,0 13 15,0-13 1,0 27 15,0-27-31,0 27 31,13 26 1,-13-53-32,0 27 15,0-27 1,0 27 15,0-27-31,0 1 31,0-54-15,0 27-16,13-186 16</inkml:trace>
  <inkml:trace contextRef="#ctx0" brushRef="#br0" timeOffset="140163.79">16616 7078 0,'13'132'16,"0"-106"-16,-13-12 0,0 25 16,0-26-16</inkml:trace>
  <inkml:trace contextRef="#ctx0" brushRef="#br0" timeOffset="143164.37">16404 6350 0,'13'-13'16,"1"13"-1,-14-13 1,13-1-16,0-12 0,-13 13 0,0-1 0,13-78 31,-13 39-31,-13 13 16,13 14-16,0 12 16,0 1-16,0-40 0,-13 40 15,13 0-15,0 0 16,0 39 31,13 1-47,-13-14 15,0 0-15,13 0 16,14 14-16,-1-1 16,-13-26-16,1 0 15,-1 0 1,13-13-16,-12 0 15,-1-14-15,-13 14 16,13-53-16,-13 53 16,0-27-16,0 27 15,0 0-15,0-1 16,0 41 15,13-14-31,-13 13 0,14-12 16,-1-1-1,26 13-15,-25-26 16,12 14-16,1-14 16,-1 0-16</inkml:trace>
  <inkml:trace contextRef="#ctx0" brushRef="#br0" timeOffset="152635.92">17780 9578 0,'0'-13'16,"0"-1"-1,0 1 1,0 0-16,0-13 16,0-1-1,0 14-15,0 0 16,0-1-16,0 1 0,-13 0 0,13 0 16,0-1-16,0 1 0,0 0 15,0-13 1,0 12-16,-13 1 15,13 0-15,0 0 16,0-1 0,0 1-1,0 0 32</inkml:trace>
  <inkml:trace contextRef="#ctx0" brushRef="#br0" timeOffset="-26118.48">5437 8083 0,'-26'-13'32,"52"0"-17,14 13-15,0 0 16,-1 0-16,-12 0 15,-1 13-15,40 0 16,-39 0-16,-14 14 31,-13-14-31,-26 27 16,-27 26-16,26-40 16,-65 27-1,78-40-15,-39 27 16,40-27-16,13 14 15,0-14 1,13 0-16,27 14 16,-27-27-16,27 13 15,39-13 1,-52 0-16,-14 0 0,53-13 31,-53 13-31,14-14 16</inkml:trace>
  <inkml:trace contextRef="#ctx0" brushRef="#br0" timeOffset="-25875.92">5265 8348 0,'66'-27'47,"-39"27"-31,132-13 15,-133 13-31,67 0 16,26 0 15</inkml:trace>
  <inkml:trace contextRef="#ctx0" brushRef="#br0" timeOffset="-25670.66">6165 8255 0,'53'-13'16,"-40"13"-1,40 0 1</inkml:trace>
  <inkml:trace contextRef="#ctx0" brushRef="#br0" timeOffset="-5670.7">21947 1601 0,'27'0'62,"-1"-13"-62,14 13 16,-27 0 0,27-14-16,-27 28 15,0-14-15,14 0 16,-27 13-16,0 13 16,-14 1-1,1-14-15,-13 13 16,-1 14-16,1-14 15,-1 1 1,14-1-16,0-12 16,0-1-16,13 0 15,0 14 1,0-14 0,39 0-1,-12-13-15,12 0 16,1 0-1,-27 0-15,14-13 0,-14 13 16,0 0-16,1 0 0,-1 0 16,0-13-16,13 13 15,-26-14 1</inkml:trace>
  <inkml:trace contextRef="#ctx0" brushRef="#br0" timeOffset="-5322.67">21868 1759 0,'40'0'16,"-80"0"-16,93 0 0,-40 0 16,0 0-1,0 0-15,14-13 0,-14 13 16,14 0-16,-14 0 0,0 0 15,13 0 1,1-13-16,-14 13 16,0 0-16,1 0 0,-1 0 15</inkml:trace>
  <inkml:trace contextRef="#ctx0" brushRef="#br0" timeOffset="-4934.56">22542 1640 0,'27'0'47,"13"0"-32,-27 0-15,0 0 0,-13-13 16,53 13 0,-40 0-1,0 0-15</inkml:trace>
  <inkml:trace contextRef="#ctx0" brushRef="#br0" timeOffset="-4537.11">22701 1468 0,'80'27'32,"-67"-14"-17,27 14 1,-27-14-16,0 0 15,0 0 1,-13 1-16,0-1 0,0 0 0,-13 0 16,0 14-1,13-14 1,-13 0-16,-1 14 16</inkml:trace>
  <inkml:trace contextRef="#ctx0" brushRef="#br0" timeOffset="-4122.74">23297 1363 0,'0'53'31,"0"-40"-31,-14 26 0,14 14 16,-13-26-1,13 39-15,0-40 16,0 27-16,13-39 16,1 12-1,-1-26-15,0 13 16,40-13 0,-40-13-16,27 0 15,-14 0 1,-26-1-16</inkml:trace>
  <inkml:trace contextRef="#ctx0" brushRef="#br0" timeOffset="-3919.45">23098 1601 0,'93'-13'31,"-14"-1"-15,-39 14-16,-1-13 15,-25 13-15,39 0 16</inkml:trace>
  <inkml:trace contextRef="#ctx0" brushRef="#br0" timeOffset="-3418.38">23667 1561 0,'-26'0'0,"12"13"16,1 1-16,0-1 15,0 13 1,13-13-1,0 1-15,13-14 16,0 0-16,0 0 16,1-14-16,-1 14 15,0-13-15,0 0 16,0 0-16,1 0 31,-54-14-31,80 80 31,-40-40-15,0 0-16,0 14 16,13-14-16,-13 0 31,13 1-31,0-14 16</inkml:trace>
  <inkml:trace contextRef="#ctx0" brushRef="#br0" timeOffset="-2904.48">23826 1363 0,'0'-14'15,"-14"41"1,14-14 0,0 0-16,0 1 0,0-1 0,0 13 15,-13 14 1,13-27 0,0 0-16,0 1 15,13-1-15,14-13 31,-14 0-15,0 0-16,14 0 16,-27 13-1,13-13-15,0 0 0,1 27 16,12 12 0,-26-26-1,-13 14 1,-14-1-16,14-12 15,0-1 1,0-13-16,-1 0 16,1 0-16,-13-27 15,26 14 1,0 0 0</inkml:trace>
  <inkml:trace contextRef="#ctx0" brushRef="#br0" timeOffset="-2455.39">24156 1270 0,'0'0'31,"0"13"-31,-13 0 0,13 1 15,-13 52-15,0-40 16,13 1-16,0-1 0,0 1 16,13-1-1,-13-13-15,26 1 16,1-14 0,-14 0-1,14 0-15,12-14 0,-25 1 16,25-13-16,-26 12 0,1-12 15,-14 13-15,13 0 16,-26-1 0,-1 28-1,-158-160-15,331 305 16,-172-146-16,0 0 16,13 14-16,0-14 0,0 0 15,0 0 1,13 1-16,0-14 15,0 13-15,1-13 0,-14 13 16,13-13-16,0 0 16</inkml:trace>
  <inkml:trace contextRef="#ctx0" brushRef="#br0" timeOffset="-1504.83">18587 714 0,'0'27'31,"13"-14"-31,-13 40 0,0-27 15,0 1-15,0 13 0,13-14 16,-13 14 0,0-27-16,0 66 15,14-52-15,-1-14 16,-13 0-16,26 0 31,14-13-31,0-13 16</inkml:trace>
  <inkml:trace contextRef="#ctx0" brushRef="#br0" timeOffset="-1171.53">18865 926 0,'0'-13'0,"-13"39"16,13-13-16,-14-13 15,28 53 1,-14-39 0,13-14-16,0 26 0,0-26 15,0 13-15,1-13 0,12 0 16,-13 0-16,1 0 16,-1 0-16,0-13 15,0 0-15,-13-14 16,-13-12-1,0 25-15,0 1 16,-1 0 0,-12 0-16,13 13 15,-1 0 1,1 0-16</inkml:trace>
  <inkml:trace contextRef="#ctx0" brushRef="#br0" timeOffset="-734.77">19301 820 0,'-66'13'15,"40"-13"-15,13 0 0,-1 14 16,133-41-16,-251 54 15,119-27 1,53 26 0,-27-26-16,40 13 15,-14 27 1,-25-27-16,-1 0 16,0 1-16,-13-1 15,13 13-15,-26 14 16,-13 13-16,12-40 15,1 14 1,0-27-16,-27 13 16,27-13-16,13-13 31,0-14-31,26 14 16,-26 0-16,27-14 15,-1 14-15,-12-13 16,39-27-1,-40 39-15,0 14 16</inkml:trace>
  <inkml:trace contextRef="#ctx0" brushRef="#br0" timeOffset="-474.9">19751 556 0,'0'-27'0,"0"67"16,0-27-16,27 80 15,-27-54 1,13-12-16,0 13 16,-13-14-16,27 27 15,-14-40 1,13 14-16,-26-14 15,27-13 1</inkml:trace>
  <inkml:trace contextRef="#ctx0" brushRef="#br0" timeOffset="-250.69">19645 860 0,'146'-79'32,"-186"-146"-32,133 436 15,-80-211-15,40-13 16,-40 13-16</inkml:trace>
  <inkml:trace contextRef="#ctx0" brushRef="#br0" timeOffset="214.57">20122 714 0,'-53'27'16,"39"-14"-16,1 0 15,-27 27 1,27-14-16,26-12 31,-370-1-31,714-13 0,-317-13 16,-27-1-1,1 1-15,12-26 16,-13 39 0,1-14-1,-1 1-15,0 26 31,-13 1-31,13-1 16,0 13 0,-13-13-16,40 14 31,-40-14-31,13-13 16</inkml:trace>
  <inkml:trace contextRef="#ctx0" brushRef="#br0" timeOffset="684.01">20280 529 0,'-26'66'15,"13"-26"1,13-14-16,0-12 16,0-1-16,0 0 31,13-13-16,0-13 1,14 13-16,-14-13 16,0 13-16,13 0 15,-12 13-15,-1-13 0,-106-159 16,199 331-16,-93-159 16,-13 1-1,0-1-15,0 0 0,-13-13 16,0 27-1,-14-27 1,14 13-16,0-26 31,0 13-15</inkml:trace>
  <inkml:trace contextRef="#ctx0" brushRef="#br0" timeOffset="1152.62">20532 423 0,'0'27'16,"-14"-1"-1,1 1 1,13-1-16,0 27 16,0-40-16,0 1 15,0 12-15,13-13 16,14 0-16,-1-13 16,1-13-1,26-13 1,-27-1-1,-26 14-15,27 0 16,-27 0-16,-172-120 31,330 292-15,-158-146 0,0 14-16,27-14 15,-27 0 1,13-13-16,14 13 15,-14-13 1</inkml:trace>
  <inkml:trace contextRef="#ctx0" brushRef="#br0" timeOffset="1547.41">19434 1270 0,'410'-146'16,"-357"133"-1,185-66-15,-185 66 16,-14 13-16,1-14 0,13 1 15,0 0 1</inkml:trace>
  <inkml:trace contextRef="#ctx0" brushRef="#br0" timeOffset="1806.53">19420 1442 0,'119'-26'0,"27"-14"16,-80 13 0,40 1-16,-53 13 0,39-14 15,-39 14-15,-13 13 0,0-13 16,-1 13-16,-12-13 0,-1 13 15,27-14-15,-39 14 16,-1-13-16,0 13 16,0 0-16</inkml:trace>
  <inkml:trace contextRef="#ctx0" brushRef="#br0" timeOffset="4672.67">18574 2064 0,'-13'0'16,"39"13"15,-13-13-31,0-13 16,80 0-1,-80-1-15,40 1 16,-26 0-16,-1 0 0,-13 13 16,40-40-16,-40 13 15,1 14 1,-1-13-16,-26 26 0,13-13 15,-14-1 1,1 1-16,0 26 16,0 1-16,0 12 15,-1-13-15,14 0 16,-26 80-16,26-66 16,0-14-16,-13 13 15,13 1-15,0 52 16,0-66-16,0 0 15,0 1-15,0-1 0,13-13 16,-13 13-16,13 0 16,0-26-16</inkml:trace>
  <inkml:trace contextRef="#ctx0" brushRef="#br0" timeOffset="4973.54">19010 2117 0,'-13'0'16,"40"0"0,-14-14-1,0 14-15,0 0 0,0 0 0,1 0 0,12-13 16,-13 13-16,1 0 16,12-13-16,-13 13 15,1 0-15</inkml:trace>
  <inkml:trace contextRef="#ctx0" brushRef="#br0" timeOffset="5435.7">19196 1945 0,'39'-14'0,"14"-12"16,-13 13-16,0-14 16,-14 1-1,-13 13-15,14-1 16,-14-12-16,-13-1 15,0 14-15,0-13 32,-13 26-17,-1 26-15,14-13 16,0 1-16,-13 25 16,0 54-1,13-53-15,0 39 16,0-39-1,0-27 1,13 0-16,-13 0 0,0 1 16,13-14-16,1 13 15</inkml:trace>
  <inkml:trace contextRef="#ctx0" brushRef="#br0" timeOffset="5907.65">19606 1984 0,'-53'14'15,"39"-14"-15,-12 53 32,39-53-17,0 0-15,1-14 16,-1 14-16,13-26 15,-12 13 1,-1 13-16,-13-14 16,13 28 15,-13-1-31,0 0 16,13 0-16,-13 1 0,0-1 15,0 0 1,0 0-16,14 0 15,-1-13 1</inkml:trace>
  <inkml:trace contextRef="#ctx0" brushRef="#br0" timeOffset="6374.68">19711 1773 0,'-13'-14'15,"13"28"-15,-13 25 16,13-12-16,0 13 16,-13-27-16,13 13 0,0-13 15,0 1-15,0 25 16,0-12-16,0-1 15,0-12-15,0-1 16,13 0 0,0-13-1,0-13-15,1 13 16,12-13-16,-13-1 0,1 14 16,12 0-16,1 0 15,-1 0 1,-13 14-16,0-1 15,-26 13 1,13-13 0,-26 1-16,26-1 0,-13-13 0,-1 13 15,-12-13 1,-27 13 0,26-13-16,14 0 31,13-13-31</inkml:trace>
  <inkml:trace contextRef="#ctx0" brushRef="#br0" timeOffset="6845.5">19976 1667 0,'0'53'16,"0"-27"-16,-13 54 16,26-1-1,-13-53-15,13-12 0,0 12 16,1 1-1,12-14-15,-13-13 16,1 0-16,-1 0 0,0 0 16,0-13-16,1 13 0,12-40 15,-13 0 1,-13 27-16,0 0 16,-13 0-16,-13 39 31,12-13-31,1 14 15,13-14-15,0 0 0,-13 0 16,13 14 0,13-1-1,0-26-15,1 0 16,-1 14-16,0-14 16,13 0-1</inkml:trace>
  <inkml:trace contextRef="#ctx0" brushRef="#br0" timeOffset="7217.11">18812 2487 0,'278'-66'15,"-212"53"-15,119-27 16,-119 27-16,106-27 15,-79 27 1,-14 0-16,-52-1 0,-1 14 16,-52 14 31,12-14-47</inkml:trace>
  <inkml:trace contextRef="#ctx0" brushRef="#br0" timeOffset="7437.66">18891 2619 0,'278'-53'16,"-27"1"15,-184 38-31,-1 1 0,66-27 15,-66 27-15,0 0 16,-39 13 0,-14-13-16,0 13 15,-992 211-15,1971-422 0,-992 197 16</inkml:trace>
  <inkml:trace contextRef="#ctx0" brushRef="#br0" timeOffset="15572.12">9234 7170 0,'-13'27'31,"13"-14"-15,0 0-16,0 0 15,0 1-15,-13 38 16,13-25-16,0-14 16,0 0-16,0 1 15,-14-1 1,28-40 15,-14 14-31,13-13 16,0 12-16,-13 1 15,13 0-15,0 0 16,1 13-16,-1-13 0,0 13 0,14-14 16,-1 14-1,-13 14-15,0 12 16,14 0 0,-27-12-16,0 25 15,0-25-15,13-1 16,-13 27 31,27-27-16</inkml:trace>
  <inkml:trace contextRef="#ctx0" brushRef="#br0" timeOffset="15977.58">9750 7210 0,'40'0'15,"-27"0"-15,53 0 16,-53 13-16,27-13 16,-27 0-16,0 13 15,1-13-15,-14 27 16,0-1-1,-14-13-15,14 1 16,-26 12-16,13 1 16,-14-1-1,14-26-15,0 13 16,13 1-16,-14-14 16</inkml:trace>
  <inkml:trace contextRef="#ctx0" brushRef="#br0" timeOffset="16385.86">10345 7144 0,'-26'39'16,"-27"14"15,40-39-15,-1-1-16,14 0 0,-13 0 15,0 0 1,13 1-1,13-1 1,0-13-16,14 0 16,-14 0-16,14 0 15,-14 0-15,0 0 0,53 0 16,-53-13 0,27 13-1,-27-14 1,1 14-16</inkml:trace>
  <inkml:trace contextRef="#ctx0" brushRef="#br0" timeOffset="18080.82">10385 7183 0,'0'27'15,"-13"-14"-15,13 27 16,0-14 0,-14 1-16,14-14 0,0 0 0,0 0 15,-13 1-15,13 25 16,0-25 0</inkml:trace>
  <inkml:trace contextRef="#ctx0" brushRef="#br0" timeOffset="18417.76">10570 7104 0,'-40'27'15,"40"-14"1,0 13-16,0-13 15,0 27-15,14-27 16,-1 14-16,0-186 0,40 344 16,-40-185-1,14-13-15,-14 13 16,40-26 0,-53-1-16,0 1 15,-27-14 1,-26 14-1,14 12-15,26 14 16,-67 27 0</inkml:trace>
  <inkml:trace contextRef="#ctx0" brushRef="#br0" timeOffset="22040.47">9538 8096 0,'-13'40'16,"0"-27"-16,0 0 0,-14 1 16,14-1-1,-27 0-15,27-13 16,0 0 0,-1 13-16,1-26 15,0 13-15,13-13 0,0 0 16,0-1-16,13 1 15,0 0-15,1 13 16,25-27 0,1 27-16,-13-13 15,12 0-15,1 13 16,-14 0-16,-12-13 16,12 13-16,-13 0 0,14-13 15,-1 13-15,-13 0 0,1 0 16,-1 0-16,13-14 31,-12 14-15,-1 0-16</inkml:trace>
  <inkml:trace contextRef="#ctx0" brushRef="#br0" timeOffset="23917.61">10120 8070 0,'66'-27'15,"-52"27"1,-1 0-16,0 0 0,0 0 16</inkml:trace>
  <inkml:trace contextRef="#ctx0" brushRef="#br0" timeOffset="24110.44">10160 8176 0,'26'0'31,"-12"0"-15,-1 0-16,0 0 0,0-14 16,1 14-16,-1 0 15,0 0-15,0 0 0</inkml:trace>
  <inkml:trace contextRef="#ctx0" brushRef="#br0" timeOffset="25114.51">10742 6853 0,'132'-14'16,"-105"14"-16,13 0 15,-1 27 1,-26-14-16,1 27 15,-1-27-15,-13 14 0,0-1 16,13 0-16,-13 14 0,13 0 16,-13-14-16,14 14 0,-1 39 15,0-39-15,0 0 0,0-1 16,1 1-16,-1 0 0,40 66 16,-40-80-16,27 40 15,-27-26-15,0-14 0,0 1 16,14 13-16,-14-14 15,0 27-15,1-40 16,-14 0-16,0 14 0,0 26 31,-14-40-31,-12 13 0,-1-12 16,14-1-16,-13 0 16,-1-13-16,1 13 0,-1 1 15,-39-14-15,0 0 16,40 0-16,-14 0 0</inkml:trace>
  <inkml:trace contextRef="#ctx0" brushRef="#br0" timeOffset="25796.5">9327 6800 0,'-93'13'16,"80"-13"-16,-80 40 16,53-14-16,27-13 15,-13 1-15,-1 25 0,1 1 16,13-27-16,13 27 16,-14-14-16,14 1 15,0-1-15,0 1 0,14 52 16,12 40-16,-26-66 15,13-13-15,-13-1 0,14 14 16,-1 14-16,0-15 0,0 54 16,0-53-16,27 106 15,-27-106-15,1 0 16,-1 0-16,0 0 0,0-14 0,14 41 16,-14-41-16,0-12 15,0 13-15,27 12 0,-13-25 16,12 13-16,-12-27 0,39 13 15,-53-26 1,14 0-16,-1 0 0,-13 0 16,14 0-16,-1 0 0,-13 0 0</inkml:trace>
  <inkml:trace contextRef="#ctx0" brushRef="#br0" timeOffset="29633.09">10649 5212 0,'53'-26'0,"-39"26"16,-1 0-16,0 0 16,-13-13-1,13 26 1,-26 0-16,0 14 16,-14-1-1,1 0-15,13-12 0,-1-1 16,-12 13-16,13-12 15,0-1-15,13 0 16,0 0-16,0 1 16,13-1-16,0-13 15,0 13-15,27-13 16,-14 0 0,-12 0-16,12 0 0,-13 0 15,1 0-15,-1 0 0,0 0 16,0-13-1,0 13-15</inkml:trace>
  <inkml:trace contextRef="#ctx0" brushRef="#br0" timeOffset="29852.7">10504 5398 0,'40'0'15,"-14"-14"1,1 14-16,-1-13 16,-13 13-1,0-13-15</inkml:trace>
  <inkml:trace contextRef="#ctx0" brushRef="#br0" timeOffset="30120.58">11086 5265 0,'13'0'31,"-26"0"-31,39 0 16,-12 0-16,12-13 15,1 13-15,-27-13 16</inkml:trace>
  <inkml:trace contextRef="#ctx0" brushRef="#br0" timeOffset="30633.48">11602 5120 0,'40'-14'16,"-14"14"-16,93-52 31,-106 52-31,1-27 16,-1 14-16,-40 26 46,27 0-46,0 1 16,-13-1-16,13 13 16,0 27-16,0-26 15,0 12 1,13 1-16,-13-27 16,14-13-16,-14 13 0,13 14 31,0-14-16</inkml:trace>
  <inkml:trace contextRef="#ctx0" brushRef="#br0" timeOffset="31457.53">11007 5662 0,'145'13'15,"-92"-13"-15,106-13 16,-106 13-16,13-13 16,106-27-1,-106 27-15,159-53 16,-119 13 0,66-53-1,-146 80-15,54-93 16,-67 92-16,0 1 15,0-1-15,14-79 16,-27 53-16,0 27 16,-40-80-1,0 53-15,-92-39 16,26 52-16,0 0 16,40 27-16,-66-27 15,-53-13 1,119 40-16,-199-27 15,212 40-15,-66 0 16,53 0-16,-146 27 16,1 39-1,144-39-15,-105 65 16,120-65-16,-147 118 31,159-105-31,-92 132 16,106-133-16,-1 41 15,14-54-15,13 14 0,-13 0 0,26 26 16,66 79 0,1-79-1,78 1-15,186-28 32,-145-39-17,-27 0 1,-132-13-16,12 13 0,41-13 15,-40 13 1,-40 0-16,0 0 0,1-13 16,-1 13-16,13 0 15,-12-14 1,-1 14 0,0 0-16</inkml:trace>
  <inkml:trace contextRef="#ctx0" brushRef="#br0" timeOffset="43001.1">2011 7144 0,'40'0'0,"-1"-13"16,-12 13-16,145-27 16,-119 14-1,-1 13-15,-12-13 0,0 13 0,13-14 0,39 1 16,-39 0 0,-26 0-16,-14 13 15,13 0-15</inkml:trace>
  <inkml:trace contextRef="#ctx0" brushRef="#br0" timeOffset="43244.26">2103 7316 0,'-13'0'15,"119"-40"1,-13 14-1,-40 12-15,-1 1 16,94-13-16,-27-1 16,-53 14-16,-39 13 15,26-13 1,-40 13 0,0 0-16,0 13 15,-13 0 1,-13 0-16</inkml:trace>
  <inkml:trace contextRef="#ctx0" brushRef="#br0" timeOffset="49421.02">23098 8784 0,'13'0'16,"1"0"15,25 0-15,-25 0-1,-1 0-15,13 0 16,-13 0-16,27 0 0,26 0 16,-39 0-16,12 0 15,14 0-15,-26 0 16,-1 0-16,-13 0 15,14 0-15,-1 13 0,14-13 16,-13 0-16,-14 0 16,0 0-16,0 0 0,14 0 15,-14 0 1,0 0 0,0 0-1,1-13 1</inkml:trace>
  <inkml:trace contextRef="#ctx0" brushRef="#br0" timeOffset="49861.18">23641 8678 0,'13'14'47,"-13"-1"-32,13-13-15,0 13 16,0-13-16,1 13 16,-1-13-16,13 13 15,-12-13 1,-14 14-16,13-14 0,0 0 15,-13 13-15,13-13 16,-13 13-16,0 0 16,-13 14-1,0-14 1,-14 14-16,14-14 16,0-13-16,0 13 0,-27 13 15,14 1 1</inkml:trace>
  <inkml:trace contextRef="#ctx0" brushRef="#br0" timeOffset="55638.34">15134 10213 0,'0'0'15,"-13"0"-15</inkml:trace>
  <inkml:trace contextRef="#ctx0" brushRef="#br0" timeOffset="55960.59">15068 10517 0,'-13'0'16</inkml:trace>
  <inkml:trace contextRef="#ctx0" brushRef="#br0" timeOffset="56913.71">15108 9988 0,'26'53'16,"-13"-13"-16,1-1 15,-1 27-15,-13-13 16,0 14 0,0-54-16</inkml:trace>
  <inkml:trace contextRef="#ctx0" brushRef="#br0" timeOffset="57090.16">15121 10623 0,'26'0'16,"54"0"0,-27 0-1,0 0-15,26-13 16,67 13 0,-107 0-16</inkml:trace>
  <inkml:trace contextRef="#ctx0" brushRef="#br0" timeOffset="57440.63">16563 10544 0,'13'0'16,"53"-14"-1,-52 14-15</inkml:trace>
  <inkml:trace contextRef="#ctx0" brushRef="#br0" timeOffset="57633.7">17529 10544 0,'39'0'16,"-12"0"15,-14-14-15,0 14-1</inkml:trace>
  <inkml:trace contextRef="#ctx0" brushRef="#br0" timeOffset="58346.34">17820 10517 0,'79'-26'47,"-66"26"-47,80-13 31,-80 13-31,14 0 16,-14 0-16,27-14 16,-609 94-16,1151-160 15,-569 80 1,0 0-16,0 0 15,1 0 1,12-13-16,1 0 16,25 13-1,-38 0-15,-1 0 16,0 0-16,27 0 16,0 0-16,-27 0 0,0 0 15,-608 79-15,1216-158 16,-607 79-16,-1-13 15,0 13 1,14-14 0,-14 1-1,0 13-15,0 0 16,1 0 0,-1 0-1,0 0-15,0 0 16,-13-13 15,13 0 47,-13-1-15,0 1-63,-13 13 15,13-13 1,0 0 0,0 0-1</inkml:trace>
  <inkml:trace contextRef="#ctx0" brushRef="#br0" timeOffset="58501.66">18627 10213 0,'-14'-53'31,"1"13"0,13 27-31,0 0 31</inkml:trace>
  <inkml:trace contextRef="#ctx0" brushRef="#br0" timeOffset="58640.62">18653 9975 0,'0'-66'47,"0"39"-32</inkml:trace>
  <inkml:trace contextRef="#ctx0" brushRef="#br0" timeOffset="58792.02">18680 9803 0,'-14'-53'62,"14"40"-46</inkml:trace>
  <inkml:trace contextRef="#ctx0" brushRef="#br0" timeOffset="58943.31">18719 9671 0,'0'-27'16</inkml:trace>
  <inkml:trace contextRef="#ctx0" brushRef="#br0" timeOffset="59101.45">18746 9657 0</inkml:trace>
  <inkml:trace contextRef="#ctx0" brushRef="#br0" timeOffset="61529.03">18732 10980 0,'40'-39'15,"13"25"1,-40 14-16,14 0 16,-14 0-16,0 14 0,0-1 15,-26 13 1,0-13-16,13 14 15,-26-1-15,12-26 0,1 27 16,0-14-16,13 0 16,-13 0-16,13 1 15,0-1 1,13-13-16,0 0 16,0 0-16,1 0 0,12 0 15,14-13 1,-14-1-16,1 1 15,-14 0-15,-13 0 16,13 0-16</inkml:trace>
  <inkml:trace contextRef="#ctx0" brushRef="#br0" timeOffset="61967.22">18852 10729 0,'-212'119'31,"185"-93"-31,-25 265 16,91-238-1,-12-26-15,65 12 16,-65-25-16,-14-1 15,27-13-15,26-13 16,93-53 0,-133 39-1,67-132 1,-93 146 0,0-13-16,0-27 0,0 26 15,-14 1-15,-12-27 16,13 26-16,-93-39 15,93 66 1,-27-13-16,13 0 16,-39 0-16,40 13 15,13-14 1,-1 14-16,14-13 16</inkml:trace>
  <inkml:trace contextRef="#ctx0" brushRef="#br0" timeOffset="63382.45">23667 8811 0,'40'0'47,"-14"13"-32,-13-13 1,14 0-16,-14 0 15</inkml:trace>
  <inkml:trace contextRef="#ctx0" brushRef="#br0" timeOffset="63905.06">23680 8718 0,'27'13'16,"-14"-13"-1,0 0-15,0 13 16,14 1-16,-14-14 16,0 13-1,14 0-15,-14-13 16,0 13-1,0 1 1,1-1 0,-28 0 15,1 0-15,13 1-16,-26-1 0,-1 13 15,14-13 1,0 1-16,0-14 15,-1 13 1</inkml:trace>
  <inkml:trace contextRef="#ctx0" brushRef="#br0" timeOffset="67663.52">22185 11205 0,'66'27'16,"-13"-27"-16,-39 0 15,-1 0-15,13 13 0,27-13 16,0 0-1,-13 0-15,-14 0 16,-13 0-16,14 0 0,13-13 16,-14 13-16,27-14 15,-40 14 1,0 0-16,14-13 0,-14 13 16,14-26-1,-14 12-15,-13 1 16,13 0-16,-13 0 0,0-1 15,0 1-15,0 0 0,0 0 16,0-14-16,-13 1 16,0-14-1,13 27-15,-27-13 0,14-1 16,0 1-16,-1 12 16,-38-25-16,12-1 15,13 27-15,1 0 0,13 13 16,-40-14-16,26 1 15,1 13-15,-1 0 0,-92 13 16,80 1-16,-1-14 16</inkml:trace>
  <inkml:trace contextRef="#ctx0" brushRef="#br0" timeOffset="69956.61">24527 11298 0,'92'-14'16,"-65"1"-16,-1 13 15,-26-13-15,14 13 16,-1-26-16,0 12 0,0-12 16,1-1-1,-14 1-15,0 13 0,0-14 16,0 1-16,-14-40 0,14 39 16,-79-105-1,52 105-15,-12-12 0,-1 12 16,0 1-16,1 13 0,-41-27 15,1 13-15,-14 1 16,54 26-16,-80 0 16,66 13-16,-27 14 15,41-14-15,-94 80 16,80-27 0,14 0-16</inkml:trace>
  <inkml:trace contextRef="#ctx0" brushRef="#br0" timeOffset="72831.46">6231 8440 0,'26'0'0,"1"0"15,-1 0-15,-12 0 0,-1 0 16,0 0-16,0 0 16,14-13-16,-14 13 15,0 0 1</inkml:trace>
  <inkml:trace contextRef="#ctx0" brushRef="#br0" timeOffset="73952.71">6641 8123 0,'13'39'16,"1"-12"-1,-14-1-15,13 54 16,-13-67 0,0 13-16,0 1 0,0-1 15,0-12-15,0 12 16,0-13 0</inkml:trace>
  <inkml:trace contextRef="#ctx0" brushRef="#br0" timeOffset="74125.43">6800 8281 0</inkml:trace>
  <inkml:trace contextRef="#ctx0" brushRef="#br0" timeOffset="74573.2">7078 8123 0,'-27'-14'0,"1"14"15,12 0-15,14 14 16,-13-14-16,-13 13 0,13 0 16,-14 14-16,27-14 15,0 0 1,13 0-1,14-13 1,-1-13-16,-13 13 16,1-13-16,12 0 15,-13 13-15,1-14 16,-1 14 0,-13 14-1,13-1-15,-13 27 16,0-14-1,0 0-15,0 27 16,0-39 0,0-1-16,0 13 15,13-12-15</inkml:trace>
  <inkml:trace contextRef="#ctx0" brushRef="#br0" timeOffset="74949.95">7382 8057 0,'-40'13'15,"40"0"1,-13 13-16,0 27 15,13-39-15,0 39 16,26-27 0,-13-13-1,27-13-15,0-13 32,-40 0-32,0-14 15,0 14 1,-13 13-16,-1-13 15,1-14-15,-13 14 16,39-79-16,-40 184 16,1-92-1,13 13-15,-14 1 16,14-1 0</inkml:trace>
  <inkml:trace contextRef="#ctx0" brushRef="#br0" timeOffset="75352.56">5927 8744 0,'92'-13'16,"-52"0"-16,13 13 0,-238 26 15,476-65-15,-225 26 0,79-1 16,-12 14-1,-67-13-15,132 0 0,-145 13 16,0-13-16,53 13 0,-66-14 16,26 14-1,0 0-15,-40-13 16,-12 13-16,-1 0 16</inkml:trace>
  <inkml:trace contextRef="#ctx0" brushRef="#br0" timeOffset="75651.39">5900 8943 0,'119'-13'16,"-79"-1"-16,172-12 16,-146 26-16,79-13 15,41 0-15,-41-1 16,-92 14 0,13-13-16,-39 13 0,-1-13 15,0 13-15,-12-13 0,25-1 16,-12 1-16,26-27 15,-53 27 1</inkml:trace>
  <inkml:trace contextRef="#ctx0" brushRef="#br0" timeOffset="76161.63">7289 8096 0,'27'-39'15,"-14"25"-15,0 1 16,0 0-16,1 13 16,-1-13-16,-13-1 15,13 1-15,0 13 0,1-13 16,-1 13-1,-13-13 1</inkml:trace>
  <inkml:trace contextRef="#ctx0" brushRef="#br0" timeOffset="79612.59">6681 4008 0,'13'-13'16,"-13"40"0,0-14-16,0 13 0,0-12 15,0-1-15,0 0 0,0 14 16,0-14-16,0 0 0,0 13 16,0-12-16,0-1 15,0 0 1,13 0-16,0-13 15,14-13 1,-14 13-16,40 0 0,-27-13 16,27 0-16,133-14 31,-147 14-31,67 13 0,-66-13 16,13 13-16,39-13 0,-39 13 15,40-14-15,-53 14 16,52-13-16,-12 13 15,-41-13-15,27 13 0,-39 0 16,13-13-16,39 13 16,-26-14-16,-14 14 0,-12 0 15,39 0-15,-39-13 16,25 13-16,28 0 16,-40 0-1,-14 0-15,-13 0 0,0-13 16,1 13-16,-1 0 0,13 0 15,1 0-15,-14 0 16,0 0 0,0 0-1,1-13 1,-14-1 15,0 1-15,0 0-1,0 0-15,-14 0 16,14-1 0,-13 1-1,13 0-15,-13 0 16,0 13 0,0-14-1,13 1 1</inkml:trace>
  <inkml:trace contextRef="#ctx0" brushRef="#br0" timeOffset="80613.49">14089 2646 0,'13'-13'15,"1"13"32,-1-14-31</inkml:trace>
  <inkml:trace contextRef="#ctx0" brushRef="#br0" timeOffset="85810.49">23058 4128 0,'14'0'0,"25"0"16,-25 0 0,12 0-16,-13 0 15,14 0-15,-1 0 0,1 0 16,12 0-1,41 13 1,-54-13-16,-13 0 0,1 0 16,25 0-1,-25 0 1,-1 0 0,0 13-1,0-13 1,0 0 31,-13-13 218</inkml:trace>
  <inkml:trace contextRef="#ctx0" brushRef="#br0" timeOffset="87120.98">23455 3969 0,'14'13'16,"-1"-13"-1,0 13-15,0 0 16,0 1-16,14-1 15,13 13 1,-40-12-16,26-1 16,-13 0-16,1 0 15,12 14 1,-13-14 0,-13 0-1,0 0-15,-13 1 16,13-1-16,-13-13 15,13 13 1,-27-13-16,27 13 0,-13-13 16,0 14-16,-14-1 15,14-13-15,-13 13 16,12-13-16,1 13 16,0-13-1,0 13-15</inkml:trace>
  <inkml:trace contextRef="#ctx0" brushRef="#br0" timeOffset="89465.55">22953 6443 0,'26'13'0,"-13"-13"0,1 0 15,-1 0-15,0 0 0,13 13 0,1-13 16,26 0-16,-27 0 16,14 13-16,-14-13 0,41 0 15,-15 14-15,-25-14 16,13 0-16,-1 0 0,-25 0 15,-1 13 1,13-13-16,-13 0 31,1-13-15</inkml:trace>
  <inkml:trace contextRef="#ctx0" brushRef="#br0" timeOffset="89817.74">23389 6337 0,'0'-13'16,"40"39"-1,-27-13-15,14 0 16,-1 14-16,0-27 16,1 26-16,-14-26 0,0 14 15,1-1-15,12 0 0,-13 14 16,-13-14-16,0 0 15,-13-13-15,13 13 0,-13 0 16,0-13-16,-1 14 0,1-1 0,0 0 16,-14-13-16,14 13 0,-13 1 15,13-14-15,-1 13 0,1-13 16</inkml:trace>
  <inkml:trace contextRef="#ctx0" brushRef="#br0" timeOffset="90400.32">24104 6615 0,'52'0'0,"-38"0"15,39 0 1,-27-14-16,14 14 0,-27 0 15,0 0-15,14 0 0,-14 0 16</inkml:trace>
  <inkml:trace contextRef="#ctx0" brushRef="#br0" timeOffset="90565.44">24262 6654 0,'-13'0'0,"40"14"31,-14-14-15</inkml:trace>
</inkml:ink>
</file>

<file path=ppt/ink/ink20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5:42:12.155"/>
    </inkml:context>
    <inkml:brush xml:id="br0">
      <inkml:brushProperty name="width" value="0.05292" units="cm"/>
      <inkml:brushProperty name="height" value="0.05292" units="cm"/>
      <inkml:brushProperty name="color" value="#0070C0"/>
    </inkml:brush>
  </inkml:definitions>
  <inkml:trace contextRef="#ctx0" brushRef="#br0">8387 1468 0,'159'-13'15,"-106"0"-15,13 13 0,0-13 0,106 0 16,-79-1-16,39 1 0,-39 0 16,26 13-16,13-13 0,0-1 0,345 1 31,-372 13-31,1 0 0,0 13 0,0-13 16,0 0-16,-14 0 0,1 0 0,0 14 15,-14-14-15,0 0 0,1 0 16,-27 0-16,0 0 0,26 13 15,-26-13-15,-40 0 0,0 0 16,1 0-16,-1 0 0,0 0 16,-39 0 15,12 0-31,-12 13 0</inkml:trace>
  <inkml:trace contextRef="#ctx0" brushRef="#br0" timeOffset="395.06">9141 1693 0,'133'0'0,"-67"-13"16,13 0-16,1 13 0,25-13 16,14-1-16,14 14 0,131-26 15,1 13-15,-40 13 16,-133-13-16,1 13 16,92 0-16,-26 0 0,-106 13 15,53-13-15,-27 0 16,-52 0-16,39 0 15,-40 13 1,1-13-16,-14 0 0,0 0 16,0 0-1,1 0-15,-54-13 32,27 13-17</inkml:trace>
  <inkml:trace contextRef="#ctx0" brushRef="#br0" timeOffset="4955.64">7104 4326 0,'-79'40'15,"26"26"-15,26-40 16,1 27-16,-1-13 16,27-14-16,-13 40 15,13-39 1,0-14-16,0 0 0,13 14 0,-13-14 16,14-13-16,-1 13 0,13 0 15,-12 1-15,12-14 0,-13 0 16,27 0-16,-14 0 0,1-14 15,105-12 1,-92 0-16</inkml:trace>
  <inkml:trace contextRef="#ctx0" brushRef="#br0" timeOffset="5243.04">7527 4419 0,'-26'0'15,"66"0"16,-27 0-31,13 0 16,-12 0-16,12-14 0,-13 14 16,0 0-16,1 0 0,-1 0 0,0 0 15,0 0-15,1 0 16,-14-13-16,13 13 0</inkml:trace>
  <inkml:trace contextRef="#ctx0" brushRef="#br0" timeOffset="5446.44">7686 4392 0,'-26'27'16,"26"-1"-1,-14 27 1,14-40-16,0 14 16,0-14-16,14 40 15,-14-40-15,0 0 0,0 0 16,0 1-16,0-1 15,0 0-15,0 0 0,0 1 16,0-1-16</inkml:trace>
  <inkml:trace contextRef="#ctx0" brushRef="#br0" timeOffset="5654.63">7461 4789 0,'-13'0'0,"39"0"31,-12-13-15,-1 13-16,0 0 15,14 0-15,-14 0 0,0-14 16,14 14-16,-14 0 0,0-13 16,0 13-16,27-13 15,-27 13-15,14-13 0</inkml:trace>
  <inkml:trace contextRef="#ctx0" brushRef="#br0" timeOffset="5943.23">8004 4471 0,'79'-26'31,"-53"26"-31,-12-13 16,25 13-16,1 0 15,-13 0 1</inkml:trace>
  <inkml:trace contextRef="#ctx0" brushRef="#br0" timeOffset="6148.23">8004 4617 0,'39'0'16,"1"-13"0,0 13-16,-14 0 15,1-13-15,39-1 16,-13 1 0,-14 13-16,-25-13 15,-1 13-15</inkml:trace>
  <inkml:trace contextRef="#ctx0" brushRef="#br0" timeOffset="7158.95">9856 4882 0,'13'26'15,"-13"0"-15,0-12 0,0 12 16,0 1-16,13 39 0,-13-40 16,0 1-16,0-1 0,0 1 15,13 65 1,-13-79-16,0 14 16,0-1-16,0-12 0,0-1 15,0 0-15</inkml:trace>
  <inkml:trace contextRef="#ctx0" brushRef="#br0" timeOffset="7471.39">9763 5265 0,'-13'0'15,"26"40"1,0 0-16,1-27 16,-14 0-16,26 14 15,14-1 1,-27-13-16,13-13 0,-12 0 16,12 0-16,1 0 15,-14-13-15,13-13 16,-13 12-16,1 1 15,-14-13-15,13 12 16,0 1 0,-13 0-16</inkml:trace>
  <inkml:trace contextRef="#ctx0" brushRef="#br0" timeOffset="9199.06">9485 6059 0,'14'26'15,"-14"-12"1,0-1-16,13 0 16,-13 14-16,0-1 15,0-13 1,13 0 0,0-52 15,0-1-16,-13 27-15,27-14 16,-14 27 0,0 0-1,1 0-15,-1 14 16,0-1-16,-13 0 16,0 0-1,13 1-15,-13-28 47,14-12-31,-1 13-16,0-1 0,0 14 15,-13-13-15,27 13 16,-14 0 0,13 0-16,1 0 15,-14 0-15,0 13 16,0-13-1,1 14-15,-14-1 16</inkml:trace>
  <inkml:trace contextRef="#ctx0" brushRef="#br0" timeOffset="9501.51">9948 6152 0,'27'-67'15,"-27"41"1,0 13-16,0-1 16,-13 14 15,-1 14-31,14 12 15,27 27 17,-14-40-32,13-13 15,27 0 1,-39 0 0</inkml:trace>
  <inkml:trace contextRef="#ctx0" brushRef="#br0" timeOffset="10018.62">10239 5966 0,'-53'14'31,"40"-1"-31,0 0 15,13 13-15,-13 1 16,26-1 0,-13-12-1,13-14 1,-13 13-16,13-13 16,1-13-1,-1-1 1,0 1-16,0 0 15,14 0 17,-27-1-32,13 28 31,0-14-31,-13 13 16,0 0-1,14-13 1,-1 0-1,0 0 1,0 0 0,0 0-1,1-13 1,-1 13 0,27-13-16</inkml:trace>
  <inkml:trace contextRef="#ctx0" brushRef="#br0" timeOffset="10603.38">12330 4908 0,'-14'13'15,"14"40"1,0-40-16,0 14 16,0-1-16,0 1 0,0-14 15,0 13-15,0 1 0,0 26 0,14 13 16,-14-53-1,0 0-15,0 1 0,13-1 16,-13 13-16,0-12 16</inkml:trace>
  <inkml:trace contextRef="#ctx0" brushRef="#br0" timeOffset="10957.01">12211 5199 0,'-27'27'16,"27"12"-1,0-12-15,13-14 0,-13 13 16,53 41-1,-53-54 1,27 0-16,-14 0 0,0-13 16,0 0-16,14 0 15,-14 0 1,13-13-16,-12 13 0,-1-13 16,0 0-16,0-14 15,1 14-15,-1-27 16,0 27-16,-13 0 15,13-1 1</inkml:trace>
  <inkml:trace contextRef="#ctx0" brushRef="#br0" timeOffset="12598.25">13719 3810 0,'26'0'0,"-13"0"16,1 0-16,38-13 15,15 13-15,-41-13 0,93-1 16,-53 14 0,-39-13-16,12 13 0,-12 0 15,39 0-15,-53 0 16,14-13-16,-1 13 15,1 0 1,-14 0-16,0 0 31,0 0-31,1 0 16,-14-13 15</inkml:trace>
  <inkml:trace contextRef="#ctx0" brushRef="#br0" timeOffset="14940.82">13626 5159 0,'79'-13'0,"-65"0"16,-1 13-16,13-13 0,-12-1 16,-1 1-16,0 0 0,27-13 15,-14-1-15,14-13 16,-27 14 0,0-1-16,-13 14 15,27-40 1,-27 27-16,0 13 0,-13-1 15,13-25 1,-14 25-16,14 1 0,-13 0 0,0-13 16,0 12-16,-1 1 15,-12 0-15,13-14 16,-14 1-16,14 26 0,-13-26 16,-27-1-1,39 14 1,1 13-16,-13-13 15,12 13-15,1 0 0,0 0 16,-40 0-16,40 0 16,-14 0-16,-12 0 0,-14 0 15,40 0-15,-40 13 16,0 0-16,26 0 16,-26 14-1,40-27-15,0 13 0,0 0 16,-1 0-16,1 14 15,0 26-15,13-27 16,0 1 0,-13 12-16,13-25 0,13 25 15,-13-12-15,13 12 16,0-25-16,14 39 16,-1-27-1,1-13-15,13 14 16,-14-14-16,0 0 15,-12-13-15,12 13 16,-13-13-16,1 0 16,-1 14-1,0-14 1,0 0-16,1 13 47</inkml:trace>
  <inkml:trace contextRef="#ctx0" brushRef="#br0" timeOffset="15918.3">16179 4392 0,'27'0'15,"-14"0"-15,27 13 16,-1-13-16,-12 0 16,-14 0-16,0 0 0,27 0 15,26 14 1</inkml:trace>
  <inkml:trace contextRef="#ctx0" brushRef="#br0" timeOffset="16130.08">16179 4551 0,'66'0'31,"-52"0"-15,12 0-16,-13 0 15,1 0-15,12-13 16,-13 13-16,27 0 0</inkml:trace>
  <inkml:trace contextRef="#ctx0" brushRef="#br0" timeOffset="22330.94">16576 6231 0,'0'-13'0,"13"39"16,-13-13 0,0 1-16,0-1 0,0 13 15,0 14-15,0 13 16,0-40-16,0 0 0,0 14 0,0-14 16,-13 27-16,13-27 31,0 0-31,0 14 0,0-14 15,13-13 17</inkml:trace>
  <inkml:trace contextRef="#ctx0" brushRef="#br0" timeOffset="22772.03">16775 6310 0,'26'-13'31,"14"26"-15,-27-13-16,0 0 16,14 0-16,-14 0 0,0 0 15,0 0 1,1 14-16,-1-14 16,0 13-1,-13 0-15,0 0 0,0 0 16,13 1-16,-26-1 15,13 27-15,0-14 16,0 1-16,0-14 16,0 0-16,0 0 15,0 0 1,0 1-16,0-1 16</inkml:trace>
  <inkml:trace contextRef="#ctx0" brushRef="#br0" timeOffset="23019.81">16841 6469 0,'0'-13'15,"39"26"1,-25-13 0,12 0-16,1 0 15,-1 0 1,-13 0-16,0 0 0,27 0 31,-27 0-31</inkml:trace>
  <inkml:trace contextRef="#ctx0" brushRef="#br0" timeOffset="23475.25">17410 6376 0,'-14'0'0,"-12"0"15,-1 14-15,-12-14 16,12 13 0,14-13-16,0 13 0,0-13 15,-1 13-15,1 1 16,26-1-1,1-13 1,25 26-16,-12-26 16,-27 14-16,26-1 15,1 0 1,-14 0-16,0 14 16,-13-1-1,-13-13 1,0 1-16,-14-1 15,14-13 1,0 13-16,0-26 31</inkml:trace>
  <inkml:trace contextRef="#ctx0" brushRef="#br0" timeOffset="23971.22">17873 6310 0,'13'27'31,"-13"-14"-31,0 0 16,0 27-1,13-27-15,-13 0 0,0 1 16,0-1-16,0 0 15,13 0 1,1 1 0</inkml:trace>
  <inkml:trace contextRef="#ctx0" brushRef="#br0" timeOffset="24211.31">17833 6443 0,'40'-14'47,"-1"14"-32,-25-13 1,12 13-16,14 0 31</inkml:trace>
  <inkml:trace contextRef="#ctx0" brushRef="#br0" timeOffset="24531.68">17780 6681 0,'66'0'15,"-53"0"-15,27 0 16,-27 0-16,40 0 16,-26 0-1,-14 0 1,13 0 15</inkml:trace>
  <inkml:trace contextRef="#ctx0" brushRef="#br0" timeOffset="25547.32">18441 6376 0,'14'14'15,"-14"-1"-15,0 13 16,0-12-16,0-1 16,0 0-16,0 14 0,0 12 15,0-26 1,0 1-16,0-1 0,0 0 16,0 0-16,0 1 0,0-1 15,0 0 1</inkml:trace>
  <inkml:trace contextRef="#ctx0" brushRef="#br0" timeOffset="25711.39">18627 6548 0,'13'0'16,"-13"-13"-1</inkml:trace>
  <inkml:trace contextRef="#ctx0" brushRef="#br0" timeOffset="26207.46">18957 6363 0,'-26'-13'15,"13"13"-15,52 13 0,-92-26 0,27 13 16,-14 13-1,27-13-15,0 13 16,0 1-16,-1-1 0,1 0 16,13 0-16,-13-13 15,13 14-15,13 12 16,14-26 0,-14 0-16,0-13 15,0 13-15,1 0 0,-1-13 16,0 13-16,0-14 15,0 14-15,14-13 32,-27 26-32,13 1 0,-13-1 15,0 0 1,0 0-16,0 1 0,0 12 16,0-13-16,0 27 15,0-27-15,0 0 0,0 1 16,13-1-16,-13 0 15,14 0-15,-1-13 16</inkml:trace>
  <inkml:trace contextRef="#ctx0" brushRef="#br0" timeOffset="26643.5">19341 6337 0,'-13'-13'16,"0"-1"-1,-27 54 1,27-14-1,-1 1-15,14-14 0,-13 14 16,13-14-16,-13 27 16,13-14-16,0-13 0,13 0 15,-13 1-15,40 12 16,-14-26-16,-12 0 16,12 0-16,-13 0 0,1 0 15,12-13-15,-26 0 16,13 13-1,-13-14-15,-13 1 16,0 13-16,-14 0 16,14 0-16,0 0 15,0 0-15,-1 0 0,1 13 16,0-13-16,0 0 0,-1 14 16</inkml:trace>
  <inkml:trace contextRef="#ctx0" brushRef="#br0" timeOffset="28931.17">19870 6231 0,'-26'40'15,"-1"-1"-15,27-25 0,-13 12 16,13 0-16,-13-12 0,13 12 0,0 1 16,0-14-16,0 13 0,0-12 15,13 25-15,0 1 16,1-27-16,-14 0 0,26 1 16,-13-1-16,0-13 0,1 13 15,-1-13-15,0 0 0,0 0 0,1 0 16,25 0-1,-26 0-15</inkml:trace>
  <inkml:trace contextRef="#ctx0" brushRef="#br0" timeOffset="29748.37">20135 6350 0,'26'-13'31,"-13"13"-31,1 0 16,-1 0-16,0 13 0,0-13 15,14 13-15,-27 0 16,13 1-16,-13-1 15,-13 13 1,13-12-16,-13-1 0,-1 0 16,1 0-16,0 1 15,13-1-15,-13-13 16,-1 13-16,28 0 47,12-26-32,1 13-15,-1 0 0,1 0 16,-14 0 0,0 0-16,13-13 0,-12 13 15,-1 0-15,0 0 0,0 0 0,1-13 16</inkml:trace>
  <inkml:trace contextRef="#ctx0" brushRef="#br0" timeOffset="30103.32">20545 6376 0,'-13'0'0,"-1"0"15,-12 0 1,13 14-16,13-1 16,-13 0-1,13 0-15,13 1 0,0-1 16,-13 0-16,13-13 15,0 13-15,1-13 0,-1 0 16,27 14-16,-27-14 0,0 0 16,0 0-16,14-14 15,-14 1-15,-13 0 16,13 0-16,-26-14 16,13 14-1,-13 0-15,-14-14 16,14 27-1,0-13-15,0 13 16,-1 0 15</inkml:trace>
  <inkml:trace contextRef="#ctx0" brushRef="#br0" timeOffset="30436.35">20664 6072 0,'40'0'16,"-27"13"-16,27 14 15,26 39-15,-27-26 16,1 13 0,-40-40-16,13 13 0,1-12 15,-14-1-15,0 53 16,-27-13-16,14-27 16,0-12-1,-27 12-15,0 0 16,27-26-16,-13 14 15,12-14-15</inkml:trace>
  <inkml:trace contextRef="#ctx0" brushRef="#br0" timeOffset="31133.54">19831 6879 0,'52'0'15,"147"-13"1,-146 13-16,26 0 16,1 0-16,-14 0 0,13 0 15,146 0-15,26 13 16,-198-13 0,53 0-16,-40 0 15,-39 0-15,26 0 16,-27 0-16,14 0 15,-27 0-15,0 0 0,0 0 16,1 0 0,-14-13-1,-27 0 1,14-1-16,0 1 0</inkml:trace>
  <inkml:trace contextRef="#ctx0" brushRef="#br0" timeOffset="32570.71">20201 7342 0,'13'27'15,"0"-14"1,-13 0-16,14 14 16,-1-1-16,0 27 15,14-27-15,-1 1 16,-13-14 0,0-13-16,1 0 15,-1-13-15,-13 0 16,13-1-16,-13 1 15,13-13-15,-13-27 0,0 0 16,-13-40 0,0 14-1,0 26-15,-1 27 16,14-1 0,0 14-1,14 0-15,-1 13 16,0 0-16,0 0 0,40 0 15,80 0 1,-54-14 0,0 14-16,-13-13 15,14 13-15,-40-13 16,-1 13 0,-26-13-16,14 13 15,-14 0-15,0 0 16,-13 13 15</inkml:trace>
  <inkml:trace contextRef="#ctx0" brushRef="#br0" timeOffset="42047.47">20836 7355 0,'-13'14'32,"13"-1"-32,-14-13 0,-65 79 31,66-79-31,-27 40 31,27-27-31,13 0 16,-13 1-16,26-14 15,0 13-15,0-13 16,14 0-16,26 13 16,-27-26-1,27 13-15,-40 0 16,1 0-16,-1 0 0,27 0 16,-14 0-1,-26-13-15,13 13 0,0 0 16,-13-14-16</inkml:trace>
  <inkml:trace contextRef="#ctx0" brushRef="#br0" timeOffset="42314.3">20876 7382 0,'-27'13'16,"1"93"-1,26-80 1,-14 1-16,14-1 0,0 1 16,-13-27-1,13 13-15,0 13 16,0-12-16</inkml:trace>
  <inkml:trace contextRef="#ctx0" brushRef="#br0" timeOffset="42630.87">21008 7448 0,'0'0'0,"-27"13"15,27 0-15,-13 1 16,13-1-16,0 0 16,13 14-16,1-27 0,-1 26 15,13-13-15,-12-13 16,25 14 0,-25-14-16,25 0 15,-26-14-15,1 14 0,-1-13 0,-13 0 16,0-40-1,-13 40-15,13-14 0,-14 14 16,1-13-16,0 12 16,0 14-16,-14-13 15,1 0-15,-40 26 32</inkml:trace>
  <inkml:trace contextRef="#ctx0" brushRef="#br0" timeOffset="43271.97">15584 6800 0,'106'-27'16,"-93"27"-16,40 0 16,-27-13-16,1 26 15,-14-13-15</inkml:trace>
  <inkml:trace contextRef="#ctx0" brushRef="#br0" timeOffset="43483.14">15624 6959 0,'13'13'0,"13"-13"15,-12 0-15,-67-13 0,119 26 16,-53 0-16,40-13 15,-27 0-15,-12 0 16,12 0-16,-13 0 16,1 0-1,-1-13-15</inkml:trace>
  <inkml:trace contextRef="#ctx0" brushRef="#br0" timeOffset="59319.53">20267 10782 0,'-13'119'16,"13"-79"-16,-13-1 16,13-26-16,0 1 15,0 25-15,-14-12 16,14-14-16,0 0 15</inkml:trace>
  <inkml:trace contextRef="#ctx0" brushRef="#br0" timeOffset="59947">20690 10821 0,'-39'0'16,"26"14"-16,26 25 31,-13-25-31,13 25 0,-13-25 15,13 12-15,0 0 16,-13 1-16,0-14 0,0 0 16,0 1-16,-13 12 15,0-13-15,0 0 16,0-13-16,-1 0 0,1 0 16,0 0-1,26-13 1,-13 0-16,27-27 15,-14 40-15,0-13 0,0 0 16,27-40 0,-40 40-16,0 0 0,13-27 15,-13 27 1,0-1-16,0 1 0,-13 0 16,0 0-16,-1-1 15,1 14 1,0 0-1,0 0-15,13 14 16,-13-14-16</inkml:trace>
  <inkml:trace contextRef="#ctx0" brushRef="#br0" timeOffset="60181.1">20955 10821 0,'13'27'16,"-13"13"-1,0-27-15,0 40 16,0-40-16,0 40 16,0-40-16,0 27 15,0-27-15,-13-278 0,26 556 31</inkml:trace>
  <inkml:trace contextRef="#ctx0" brushRef="#br0" timeOffset="60447.93">21365 11046 0,'-13'0'16</inkml:trace>
  <inkml:trace contextRef="#ctx0" brushRef="#br0" timeOffset="61221.94">21894 10769 0,'-26'-14'16,"13"14"-16,-1 0 15,1 0-15,-13 14 16,12-1-16,1 0 16,0 0-16,0-13 0,0 27 15,-1-14-15,1-13 0,13 13 16,-13 0-16,0 1 16,13-1-1,-14-13-15,14 13 16,27-26 31,-27 0-47,13 13 15,-13-14 1,13 1-16,-13 0 0,14-14 16,-14 14-1,13 0 1,-13 0-1,-13 39 17,13 1-32,-14-14 15,14 13-15,-13 14 0,0 0 16,-14 39 0,27-66-16,-13 14 0,13-14 15,-13 13-15,13 1 0,-13-14 16,13 14-16,-14-14 15,41-26 32</inkml:trace>
  <inkml:trace contextRef="#ctx0" brushRef="#br0" timeOffset="61644.71">22238 10808 0,'-39'0'0,"39"13"15,-14-13-15,-25 14 16,12 12-16,1-13 16,26 1-16,-14-1 15,1 0-15,13 0 16,13-13-16,14 0 16,-1 0-1,1-13-15,-14 0 0,14 13 16,-14 0-1,0 0-15,-13 13 16,0 0-16,-13 1 16,13-1-16,-13 13 0,13-13 15,0 1-15,-14 25 16,1-39-16,13 14 16,13-1-16</inkml:trace>
  <inkml:trace contextRef="#ctx0" brushRef="#br0" timeOffset="62379.92">17978 10835 0,'0'39'31,"0"-12"-31,0 13 16,0-14-16,0 27 15,-13-27-15,13 40 16,-13-39-16,13-1 16,0-12-16,0-1 0,-13 13 15,26-12 1</inkml:trace>
  <inkml:trace contextRef="#ctx0" brushRef="#br0" timeOffset="62758.5">18150 10941 0,'27'-14'0,"-14"14"15,0 0-15,14 0 16,-14 14-16,13 12 16,-26 0-1,14-12-15,-14-1 0,13 40 16,-26-27-1,13-13-15,0 1 16,0-1-16,0 0 0,0 0 16,13 14-1,-13-14 1,13-13-16</inkml:trace>
  <inkml:trace contextRef="#ctx0" brushRef="#br0" timeOffset="62993.8">18203 11139 0,'14'-27'15,"-1"27"-15,26 0 0,-25 0 16,-1 0-16,0 0 16,14 0-1,-1-13-15,-13 13 16</inkml:trace>
  <inkml:trace contextRef="#ctx0" brushRef="#br0" timeOffset="63380.52">18719 10980 0,'-79'13'0,"66"-13"16,-27 14-16,27-1 0,0-13 16,-1 13-16,54 27 47,-27-14-47,0-26 0,1 13 15,-1 1-15,13 12 16,-26-13-1,-13 1 1,13-1-16,-13-13 0,0 13 0,-14-13 16,14 13-16,-27 1 0,1-14 15,12 13-15,1-13 16,-14 0-16,14 0 16</inkml:trace>
  <inkml:trace contextRef="#ctx0" brushRef="#br0" timeOffset="65783.2">15214 10941 0,'-27'52'16,"27"-12"-1,0-27-15,-13 67 16,13-54-16,-13 14 16,13-14-16,0 1 0,-14-1 15,14 1 1,0-14-16,0 13 16,0-12-16</inkml:trace>
  <inkml:trace contextRef="#ctx0" brushRef="#br0" timeOffset="66993.84">15531 10967 0,'-26'0'0,"12"40"16,1-14-1,0 1-15,0-14 0,13 13 16,-14 1-16,14-1 0,-13 14 15,26 13 1,-13-40-16,14 0 0,-14 14 16,26-14-16,1 13 15,-14-26-15,13 14 16,-12-14-16,-1 0 16,0-14-16,0 1 15,-13 0 1,-13 0-16,0-14 15,0 14-15,-1 13 0,14-13 16,-13 13-16,0 0 0,0-13 16,-1 13-16,1 0 15,0 0 1</inkml:trace>
  <inkml:trace contextRef="#ctx0" brushRef="#br0" timeOffset="67639.2">15954 10993 0,'-13'-13'0,"-13"-13"16,65 65-16,-92-91 0,40 52 16,-13 0-1,-27 13 1,13 13-16,0 1 16,27-14-16,0 13 15,13 1 1,0-14-16,13-13 15,0 0-15,27 0 16,-27 0-16,14-26 16,-14 26-16,14-27 15,-1 14-15,0 0 32,-12-1-32,-1 41 15,-13-1 1,0 14-1,0-27-15,0 27 16,-13-14-16,13 1 16,0 26-1,0-40-15,-14 0 16,28 0-16,-1 1 16</inkml:trace>
  <inkml:trace contextRef="#ctx0" brushRef="#br0" timeOffset="67878.67">16206 11192 0,'0'13'16,"0"-26"-16</inkml:trace>
  <inkml:trace contextRef="#ctx0" brushRef="#br0" timeOffset="69293.94">21722 10927 0,'14'-26'47,"-1"13"-32,-13-1 1,13 14-16,-13-13 15,13 0 1,0 0 0,-26 39 46,13-13-62,-13 14 16,13-14 15,13-39 0,0 12-15,-13 1-16,0-13 31,14-1-31,-14 14 16,-14 0-16</inkml:trace>
</inkml:ink>
</file>

<file path=ppt/ink/ink20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5:43:28.188"/>
    </inkml:context>
    <inkml:brush xml:id="br0">
      <inkml:brushProperty name="width" value="0.05292" units="cm"/>
      <inkml:brushProperty name="height" value="0.05292" units="cm"/>
      <inkml:brushProperty name="color" value="#0070C0"/>
    </inkml:brush>
  </inkml:definitions>
  <inkml:trace contextRef="#ctx0" brushRef="#br0">7620 6800 0,'0'92'15,"0"-78"-15,0 52 16,-13-40-16,13 1 0,0-1 16,0-13-16,-13 14 0,13-14 0,0 14 15,-14 25 1,14-38-16,0-1 16,0 0-16</inkml:trace>
  <inkml:trace contextRef="#ctx0" brushRef="#br0" timeOffset="458.5">7898 6813 0,'13'0'16,"0"0"-16,1 0 15,-1 0-15,13 13 16,1 0-16,-14 1 16,0-14-16,-13 13 15,13 13-15,1-12 16,-14 25-16,-14 1 16,14-14-1,0 1-15,-13 13 16,0-14-16,13 1 15,0-14-15,0 13 32,13-26-17,0 0-15</inkml:trace>
  <inkml:trace contextRef="#ctx0" brushRef="#br0" timeOffset="686.3">7898 7091 0,'-13'0'16,"39"0"-16,1 0 15,-1 0-15,-13 0 16,0 0-16,1 0 0,12 0 15,-13 0 1,1 0-16,-1 0 0,0 0 16,0-13-16</inkml:trace>
  <inkml:trace contextRef="#ctx0" brushRef="#br0" timeOffset="1149.98">8533 6919 0,'-40'-13'16,"0"26"-16,27-13 15,-26 13-15,25-13 16,1 0-16,0 13 0,0-13 0,-1 14 16,1-14-1,13 13-15,0 0 16,13-13-16,27 26 16,-27-26-1,27 14-15,-14 12 16,14-13-16,-27 1 15,1-1-15,-1 0 0,0 14 16,-26-1 0,0-13-16,-1 0 15,-25 14-15,12-14 16,14 0 0,0-13-16,-27 14 0,14-28 15,26 1 16</inkml:trace>
  <inkml:trace contextRef="#ctx0" brushRef="#br0" timeOffset="1437.47">9260 6866 0,'-13'13'15,"0"0"-15,0 93 16,13-93-16,0 1 15,0-1-15,0 0 0,0 0 16,0 1 0,13-14-16</inkml:trace>
  <inkml:trace contextRef="#ctx0" brushRef="#br0" timeOffset="1702.59">9128 6959 0,'13'0'15,"1"0"-15,39 0 16,-40 0-1,0 0-15,27 0 16,-27 0-16,0 0 16,14 0-16,-14 13 15</inkml:trace>
  <inkml:trace contextRef="#ctx0" brushRef="#br0" timeOffset="1983.01">9102 7210 0,'39'0'15,"-12"0"1,-14 0-16,66 0 16,-65 0-1,25 0-15,1 0 16,-27 0 0</inkml:trace>
  <inkml:trace contextRef="#ctx0" brushRef="#br0" timeOffset="2787.05">9882 6747 0,'-13'40'31,"0"-27"-31,-14 40 16,14-14-16,0 28 15,13-41 1,-13 14 0,39 13-16,-13-40 15,27 13 1,13-12-1,-27-14-15,1 0 16,-1-14 0,-13 1-16,-13 0 15,-13 0 1,13-1-16,-13 1 0,-13 0 16,12 0-1,-12-1-15,-1 14 16,14 0-1,0 0 1</inkml:trace>
  <inkml:trace contextRef="#ctx0" brushRef="#br0" timeOffset="2940.83">10134 7011 0,'13'0'31</inkml:trace>
  <inkml:trace contextRef="#ctx0" brushRef="#br0" timeOffset="3592.73">10292 6919 0,'80'-13'15,"-67"13"-15,80 53 31,-120 13-15,14-40-16,-14 1 16,1-1-16,13-13 15,-14 1 1,27-1 0,13 0-1,14-13 1,-1 0-1,1-13-15,-1 13 16,1 0-16,12-13 16,-25 13-1,12 0 1</inkml:trace>
  <inkml:trace contextRef="#ctx0" brushRef="#br0" timeOffset="3934.52">10742 6959 0,'-40'13'16,"40"0"-16,-26 27 15,26-14 1,0-13-1,13-13-15,0 27 0,27-159 0,-40 277 16,13-132-16,27-13 16,-14 0-1,27-13-15,-39 13 16,12-26-16,-26-27 31,-26 13-15,12 27-16,-25-14 15,39 14-15,-27 13 16,1 0 0</inkml:trace>
  <inkml:trace contextRef="#ctx0" brushRef="#br0" timeOffset="4286.89">11271 6892 0,'-66'27'15,"53"-27"-15,-27 40 16,14-1 0,26-12-1,0-14-15,0 0 16,13 0-16,13 1 16,-26-1-16,40 0 15,-27-13-15,27 0 16,-14-13-1,1 13 1,-27-13-16</inkml:trace>
  <inkml:trace contextRef="#ctx0" brushRef="#br0" timeOffset="4834.22">11404 6959 0,'0'26'47,"0"-13"-47,0 0 0,0 1 31,0-1-15,0 0-16,26-26 47,0 13-31,-12-13-1,-1 26 1,0-13-1,0 26-15,-13-12 16,14-1 15,-1-26-15,0 13 0,0-14-16,14 14 15,-1 0 1,-13 0-1,1 0-15,-1 0 16,0 0-16,0 0 31</inkml:trace>
  <inkml:trace contextRef="#ctx0" brushRef="#br0" timeOffset="5810.4">9049 3426 0,'13'40'16,"-13"-14"-16,13 67 15,-13-80 1,-13 53-16,13-39 15,0-14-15,0 0 0,0 1 0,13 12 16,-13 1 0,13-27-16</inkml:trace>
  <inkml:trace contextRef="#ctx0" brushRef="#br0" timeOffset="6261.13">9512 3400 0,'-13'0'16,"79"13"-16,-53-13 15,27 27-15,-1 12 16,-39-26-1,14 1-15,-14-1 0,13 40 16,-13-40 0,0 14-16,0-14 0,0 0 0,0 0 15,0 0-15,0 14 16,0-1-16,0-12 16,0-1-1,13-13 1</inkml:trace>
  <inkml:trace contextRef="#ctx0" brushRef="#br0" timeOffset="6469.97">9578 3651 0,'13'0'16,"0"0"0,1-13-16,-1 13 15,27 0 1,-14-13 0</inkml:trace>
  <inkml:trace contextRef="#ctx0" brushRef="#br0" timeOffset="6849.86">10094 3492 0,'-66'14'16,"52"-14"-16,-25 13 15,39 0-15,-27-13 0,27 13 16,-13-13 0,26 14-16,1-14 15,-1 13-15,0 0 16,13 0-16,41 14 31,-54-14-31,0 0 16,0 0-16,-13 1 15,-26 25 1,13-25 0,-1-1-16,1-13 0,-13 26 15,-1-12 1,14-14-16</inkml:trace>
  <inkml:trace contextRef="#ctx0" brushRef="#br0" timeOffset="7130.55">10716 3413 0,'0'40'31,"0"-27"-31,0 13 16,-14 14-16,14-13 15,0-1 1,0 1-16,0-14 0,0 0 16,0 13-1,0-12-15</inkml:trace>
  <inkml:trace contextRef="#ctx0" brushRef="#br0" timeOffset="7345.76">10583 3585 0,'14'-13'15,"-1"0"-15,0 13 16,13 0-16,27-14 16,0 14-1,-39 0 1,12 14-16</inkml:trace>
  <inkml:trace contextRef="#ctx0" brushRef="#br0" timeOffset="7574.02">10530 3784 0,'53'0'16,"-39"0"-16,105-14 16,-106 14-1,27-13-15</inkml:trace>
  <inkml:trace contextRef="#ctx0" brushRef="#br0" timeOffset="8030.26">11404 3400 0,'13'13'0,"-13"14"16,13-14-16,-13 13 15,13 1-15,-13 12 16,0-12-16,0 13 0,13 26 31,-13-53-31,0 13 0,0-12 16,0-1-16,14 0 15</inkml:trace>
  <inkml:trace contextRef="#ctx0" brushRef="#br0" timeOffset="8179.92">11655 3612 0,'0'-14'16</inkml:trace>
  <inkml:trace contextRef="#ctx0" brushRef="#br0" timeOffset="8569.67">11959 3440 0,'-40'0'0,"14"13"15,92-26-15,-145 26 0,26 0 16,-13 27 0,66-27-1,0 0 1,13-13-16,13 13 15,-26-26-15,27 13 16,-14 0-16,0 0 16,14 0-16,-14 0 15,0 0 1,0 0-16,1 13 16,-1 14-16,-13-14 15,0 0-15,0 1 0,0-1 16,0 0-16,0 27 15,0-27-15,0 0 0,0 0 0,0 1 16,13-1 0,-13 0-16</inkml:trace>
  <inkml:trace contextRef="#ctx0" brushRef="#br0" timeOffset="8898.78">12316 3440 0,'-26'13'16,"-1"26"0,14 1-16,13-13 15,27 26 1,-1-40-1,1 0-15,-14-13 16,0 13-16,0-13 16,0-13-16,1 13 15,-28-26 17,1 26-32,0 0 15,0 0-15,-14 0 0,14 0 16,0 0-16,13 13 15,-13-13-15</inkml:trace>
  <inkml:trace contextRef="#ctx0" brushRef="#br0" timeOffset="9326.04">13189 3413 0,'-13'53'16,"0"-13"-16,0-27 15,0 13-15,-27 54 16,27-41-16,-1-25 16,14 12-16,-13 14 15,0-40-15</inkml:trace>
  <inkml:trace contextRef="#ctx0" brushRef="#br0" timeOffset="9531.39">13031 3545 0,'13'40'0,"0"-40"16,-13 13-16,13 1 0,1-1 15,-1 13-15,0-13 0,0-13 16,-13 14-16,27-1 15,-14 0-15,13-13 16</inkml:trace>
  <inkml:trace contextRef="#ctx0" brushRef="#br0" timeOffset="10011.14">13679 3347 0,'79'0'31,"-65"0"-31,-1 0 0,0 13 0,0 0 16,-13 14-16,0-14 0,-13 27 16,0-14-16,-14 1 15,14-1-15,0-13 16,0 1-16,-14 12 15,14-13 1,0 1 0,26-1-1,13-13 1,1 0-16,-1-13 16,1 13-16,-14 0 0,13 0 15,1-14-15,39-12 16,-26 13-16</inkml:trace>
  <inkml:trace contextRef="#ctx0" brushRef="#br0" timeOffset="10311.46">14142 3426 0,'0'-13'15,"-13"13"1,-14 13 0,1 14-1,26-14-15,0 0 16,0 0-16,0 1 0,13-1 15,0 0-15,27 0 16,-27-13-16,0 0 16,14 0-16,-27-13 15,13 0 1,-13 0-16,0-27 16,-13 0-1,0 27-15,-1 0 0,1 0 31,-13 26-31,26 13 16,13-26-16,-53-13 0,27 40 16,13-14-16,-13 0 15</inkml:trace>
  <inkml:trace contextRef="#ctx0" brushRef="#br0" timeOffset="10618.58">13441 3810 0,'225'0'31,"-106"-13"-31,-13 13 16,-40 0-16,79-13 16,-26-1-16,-92 14 15,-1 0-15,1-13 0,12 13 16,1 0 0,-27 13-16</inkml:trace>
  <inkml:trace contextRef="#ctx0" brushRef="#br0" timeOffset="11273.6">13639 4180 0,'13'14'16,"-13"-1"-16,14 0 0,-14 0 16,0 1-16,26 52 15,-13-53-15,14 13 16,-14 1-16,0-1 15,1-26-15,-1 14 16,0-14-16,0-27 31,-13 14-31,0-14 16,-13 1-16,0-14 16,0-26-16,-1 26 15,1 14 1,13 13-16,0 0 0,0-1 0,0-12 15,79 13 1,-52-1 0,-1 14-16,1-13 0,26 13 15,-14-13-15,67 0 16,-26-1-16,-41 14 16,1 0-1,-27 14 16,-13-1-31</inkml:trace>
  <inkml:trace contextRef="#ctx0" brushRef="#br0" timeOffset="11622.97">14142 4207 0,'-26'26'15,"-1"1"-15,1-14 16,-1 0-16,14 14 16,0-14-16,13 0 15,-14-13-15,14 13 16,14 1-1,-14-1-15,39 0 16,-12 0-16,-14-13 16,0 14-16,14-14 0,-1 0 15,-13 0-15,40 0 16,-39 0 0,-1 0-16,0-14 15</inkml:trace>
  <inkml:trace contextRef="#ctx0" brushRef="#br0" timeOffset="11826.78">14235 4286 0,'-14'-13'0,"1"26"16,0 0-16,13 1 15,0-1-15,0 40 31,0-27-15,0-12-16,0-1 16,13-13-1,0 0-15,1-146 0</inkml:trace>
  <inkml:trace contextRef="#ctx0" brushRef="#br0" timeOffset="12100.77">14327 4339 0,'-13'27'32,"26"-1"-17,14-26 1,-1 13-16,-13-13 0,14 0 16,-120-66-16,199 132 0,-66-92 31,-27-1-31,-26 27 15,13-13-15,-27 0 16,-12 13 0,12-13-16,-13 26 15,27-13 1,-40 0 0</inkml:trace>
  <inkml:trace contextRef="#ctx0" brushRef="#br0" timeOffset="15919.21">5887 9406 0,'93'13'15,"-67"-13"1,27 0-16,53 0 0,-40 0 15,-13 0-15,13 13 0,0-13 16,66 0-16,-65 0 0,-1 0 16,-13 0-16,66 14 0,-53-14 15,-13 0-15,53 0 16,-67 0-16,-12 0 0,26 0 16,-14 0-16,-25 0 15,-1 0-15,0 0 16,-39 0-1,-27 13 17</inkml:trace>
  <inkml:trace contextRef="#ctx0" brushRef="#br0" timeOffset="16312.04">5741 9684 0,'27'13'15,"26"-13"-15,53 0 0,-53 0 16,26 0-16,0 13 16,1-13-16,145 0 15,-146 13-15,0-13 0,54 0 16,-54 0-16,-13 0 0,53 0 15,-13 0 1,13 0-16,-92 0 16,12 0-16,-26 0 0,14 0 15,-14 0-15,0 0 0,1 0 16,-1 0 0,0 0-16,0 0 15,1 0 1</inkml:trace>
  <inkml:trace contextRef="#ctx0" brushRef="#br0" timeOffset="17538.68">8586 9379 0,'-14'0'16,"54"0"-1,13 0-15,0 0 16,53 0-16,39-13 15,80 13 1,-106 0-16,0 0 16,-66-13-16,53 13 15,-66 0-15,66-13 16,-80 13-16,27 0 16,-40 0-16,0 0 0,1 0 15,-54 13 16,27-13-31,0 0 16,-14 13-16,14-13 0</inkml:trace>
  <inkml:trace contextRef="#ctx0" brushRef="#br0" timeOffset="17881.41">8467 9631 0,'79'13'16,"27"-13"-16,26-13 15,-52 13-15,158 0 16,-80-13 0,-105 13-16,66 0 0,-52 0 15,-15 0-15,-12 0 0,53-14 16,13 14-1,-93 0-15,0 0 16,0 0-16,27 0 16,-27 0-16,0 0 15</inkml:trace>
  <inkml:trace contextRef="#ctx0" brushRef="#br0" timeOffset="23057.31">14922 2540 0,'-13'0'172,"66"159"-156,-13-27-16,39 199 31,-26-93-31,-26-13 16,52 251-1,-66-211-15,40 12 16,-13 1-16,13 27 16,-27-107-16,14 27 15,39 383 1,-52-436-1,-14 53-15,40 27 16,-13 52-16,-1-66 16,-12-40-1,-14-12-15,53 118 16,-26 40 0,-14-185-16,40 158 15,-66-171 1,27-1-16,-27-13 15,26 1 1,-26-27-16,14-27 0,-1-13 16,-13-39-16,0 25 31,0-38-31,0 12 16,0 14 77,13-14-93,0 54 32,-13-67-32,13 0 15,-26 14 32,-40-1-31,-66 14-16,-53-14 0,-53 27 15,-79-13-15,-80 26 16,-92-26-16,53 26 16,13-26-16,-172 65 15,423-65 1,-66-14-1,172 1 1</inkml:trace>
  <inkml:trace contextRef="#ctx0" brushRef="#br0" timeOffset="24344.7">14936 2580 0,'-27'0'47,"-26"0"-31,27 0-16,-27 0 16,-26 26-16,26-13 15,-172 1 1,40-14-16,-80 0 15,-26 0-15,40 0 16,-40 0-16,-225 0 16,383 0-1,41 0 1,78 0-16</inkml:trace>
  <inkml:trace contextRef="#ctx0" brushRef="#br0" timeOffset="31738.88">6390 8665 0,'26'0'109,"212"0"-77,-79 0-32,185 0 15,-199 0 1,14 0-16,-79 0 15,-54 0-15</inkml:trace>
  <inkml:trace contextRef="#ctx0" brushRef="#br0" timeOffset="33349.5">9128 3109 0,'-26'0'16,"-1"0"0,1 0-16,-54 0 0,14 40 15,-106-1 1,133-12 0,-41 12-16,40-12 15,-26-1-15,27 14 16,-27 13-16,-1 13 15,41-40-15,-1 14 16,1 26-16,26-39 16,-26 26-1,26 39-15,0-39 16,0 27-16,0-41 0,13 14 16,13 13-1,1-39-15,-1 26 0,14-27 16,-27-13-16,27 14 15,13-1 1,-27 1-16,14-1 0,-14-13 16,27 14-16,-26-1 15,26 14-15,52 0 16,-65-14 0,106 54-1,-93-54-15,-27-13 0,14 14 16,-27-14-1,0-13-15,-13 13 16</inkml:trace>
  <inkml:trace contextRef="#ctx0" brushRef="#br0" timeOffset="34545.46">14367 3056 0,'-13'0'16,"13"13"-1,26 0 1,-13 40-16,40-13 16,-26 13-1,12-13-15,14 13 0,-26-14 16,26 14 0,13 13-16,-26-26 15,-1 13-15,-26-27 0,40 27 16,-26 27-1,-1-54-15,-13 27 16,1 0-16,-1 0 16,0 13-1,-13 0-15,13 14 0,14 25 16,-14 14 0,-13-26-1,0-40-15,0 0 0,0 0 16,0-14-1,-13 14-15,13-13 16,0-14-16,-13 1 16,-27 39-1,27-26-15,-27 13 16,27-40 0,0 27-16,-1-40 0,-25 26 15</inkml:trace>
</inkml:ink>
</file>

<file path=ppt/ink/ink20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5:44:13.538"/>
    </inkml:context>
    <inkml:brush xml:id="br0">
      <inkml:brushProperty name="width" value="0.05292" units="cm"/>
      <inkml:brushProperty name="height" value="0.05292" units="cm"/>
      <inkml:brushProperty name="color" value="#0070C0"/>
    </inkml:brush>
  </inkml:definitions>
  <inkml:trace contextRef="#ctx0" brushRef="#br0">7183 4749 0,'53'-13'0,"-13"13"0,26-13 16,-13 13-16,0-13 16,0 13-16,92-14 0,-78 14 15,-1-13-15,53 13 16,-13 0-16,-53-13 0,39 13 16,-26 13-1,-39-13-15,52 0 16,-66 0-16,1 0 0,-1 0 0,0 0 15,14 0-15,-14 0 16,0 0-16,-39 13 47,12-13-31</inkml:trace>
  <inkml:trace contextRef="#ctx0" brushRef="#br0" timeOffset="635.84">7316 4855 0,'106'0'32,"-80"0"-32,27 0 15,0 0-15,79 0 0,14-13 16,-27 13 0,0 0-16,-13 0 15,52 0-15,-105 0 16,-26 0-16,92 0 15,-93 0 1,14 0 0,-27 0-16,0 0 15,14 0 1,-14 0-16,0 0 16,1 0 15,-1 0 16,-53 0 109,27 0-140,0 0-1</inkml:trace>
  <inkml:trace contextRef="#ctx0" brushRef="#br0" timeOffset="3208.54">7541 5834 0,'-14'0'16,"41"-13"31,-14 13-31,40 0-16,-13 0 15,13 0-15,66 13 16,66-13-16,27 0 15,-80 13-15,-79-13 16,13 14-16,146-14 31,-146 13-31,-53-13 0,13 0 16,-12 0-16,-1 0 0,13 0 16,-12 0-1,12 0-15</inkml:trace>
  <inkml:trace contextRef="#ctx0" brushRef="#br0" timeOffset="6448.69">8784 5847 0,'0'-13'15,"-13"13"17,39 13 46,-26 1-63,14-14-15,-1 0 0,0 0 16,27 0 0,-14 0-16,1 13 15,12-13 1,-12 0 0,-14 0-1,0 0 32,1 0 187,-41 13-93,14-13-125</inkml:trace>
  <inkml:trace contextRef="#ctx0" brushRef="#br0" timeOffset="7087.11">7924 5464 0,'0'26'32,"0"-13"-32,27 265 31,-27-265-31,0 93 15,0-93 1,13 14-16</inkml:trace>
  <inkml:trace contextRef="#ctx0" brushRef="#br0" timeOffset="7759.11">7938 5450 0,'171'-39'16,"-131"26"-16,159-1 16,-120 1-1,-13 13-15,0 0 0,53-13 16,-53 13-16,239-27 16,-252 14-1,39 13-15,-52 0 16,53-13-16,-41 13 15,-38 0 1,12 0-16,-13-13 16,1 13-16,-1 0 15,0 0 1,0 13-16,1 13 31,-1 1-15,0 39-1,13 0-15,-26-13 16,14-40-16,-14 14 16,26 52-1,-13-52-15,-13-14 16,0 0-16,0 13 0,14 14 16,-28-13-1,-12-1 1,13-13-16,-27 14 15,-39-14 1,-54 13-16,94-12 16,-41-14-16,14 0 15,26 0-15,-52-27 16,26-26 0</inkml:trace>
  <inkml:trace contextRef="#ctx0" brushRef="#br0" timeOffset="8188.64">8744 5278 0,'27'-39'16,"-1"39"-16,146-119 16,-119 92-1,159-92-15,-40 40 16,93-54-1,-199 107-15,132-67 16,-145 80-16,40-26 16,12-1-1,-38 13-15,-54 14 16,27 13-16,-27-13 16,13 0-1,1 13-15,-27-14 47,-14 1-47</inkml:trace>
  <inkml:trace contextRef="#ctx0" brushRef="#br0" timeOffset="8464.59">10107 4299 0,'79'0'0,"-52"0"0,39 27 15,0-1 1,-26-12-16,-14-1 0,41 27 16,-15 12-16,15 81 31,-81-107-31,14 14 15,-26 26-15,-1-13 16,-118 106-16,79-106 16,26-40-16,14 0 15,-1 0-15</inkml:trace>
  <inkml:trace contextRef="#ctx0" brushRef="#br0" timeOffset="10084.46">11033 4260 0,'66'-27'16,"-53"14"-16,67-66 15,-67 52-15,14-12 16,-14 12-16,0-13 16,-13 27-16,0 0 15,-13 0-15,0-40 16,-1 26-1,14 14-15,-13 13 16,0 0 0,0 13-1,13 1-15,0-1 0,0 0 16,13 27 0,0-1-1,0-25-15,1 12 0,-1-13 16,13 1-16,1-1 15,-14-13 1,13 0-16,-12 0 16,-1-13-1,0-1-15,0 1 16,-13 0-16,14-14 16,-14 1-1,0 13-15,13 0 16,-13-1-16,0 1 15,13 0 1,0 13 0,0 0-16,1 13 15,-14 0 1,13-13-16,0 14 16,-13-1-16,13-13 0,-13 26 31,14-26-16,-1-13 1,-13 0 0,0 0-16,13-14 15,0 14 1,1 13-16,12-13 16,0 13-1,1 13 1,-14-13-16,0 13 15,1 0 1,-1 1 0</inkml:trace>
  <inkml:trace contextRef="#ctx0" brushRef="#br0" timeOffset="10414.54">11800 3559 0,'0'53'62,"0"-40"-62,53 132 47,-39-131-47,25 52 47,-39-53-47,13-13 31</inkml:trace>
  <inkml:trace contextRef="#ctx0" brushRef="#br0" timeOffset="10687.86">11615 3850 0,'-13'0'15,"106"-53"48,118-27-16,-198 80-47,54-53 31</inkml:trace>
  <inkml:trace contextRef="#ctx0" brushRef="#br0" timeOffset="10824.5">12039 3612 0,'0'-14'0,"26"28"47,-26-1-47,53 53 31,-27-40-15,-26-12-16</inkml:trace>
  <inkml:trace contextRef="#ctx0" brushRef="#br0" timeOffset="11049.52">12065 3506 0,'0'-14'16,"-265"81"46</inkml:trace>
  <inkml:trace contextRef="#ctx0" brushRef="#br0" timeOffset="11708.24">12171 3545 0,'26'0'15,"-12"0"-15,12 14 16,-13-1-16,0 0 16,1 14-16,-1-14 15,0 0 1,-13 13-1,0-12 1,0-54 15,0 14-15,0 12-16,13-12 16,-13-1-1,14 1-15,-1-1 16,13 14-1,-13-13-15,14 13 16,-14 13 0</inkml:trace>
  <inkml:trace contextRef="#ctx0" brushRef="#br0" timeOffset="12099.81">12475 3559 0,'53'-27'16,"-40"14"-16,27-40 31,-40 40-31,13-27 16,-13 27-16,13-14 15,-26 14 1,0 0 0,0 39-1,-1-12-15,1-14 16,13 26-16,0 1 16,27-1 15,-1-13-31,-13-13 15,1 0-15,39-13 16,-27 13 0,-13 0-1</inkml:trace>
  <inkml:trace contextRef="#ctx0" brushRef="#br0" timeOffset="12740">12012 4233 0,'27'27'0,"-1"12"15,-26-25-15,13-1 16,0 13-16,14 41 15,-14-54-15,0 26 16,14-12-16,-27-1 16,13-12-1,0-14 1</inkml:trace>
  <inkml:trace contextRef="#ctx0" brushRef="#br0" timeOffset="13127.04">11972 4233 0,'0'-13'0,"40"-27"31,-80 93-31,93-106 0,13 67 16,-52-14-1,25 26-15,-12-13 16,-27 1-16,13 12 15,-13-13-15,-40 27 16,27-27 0,13 0-16,-40 14 15,27-27 1,0 0-16,13 13 16</inkml:trace>
  <inkml:trace contextRef="#ctx0" brushRef="#br0" timeOffset="13446.53">12303 4233 0,'-26'53'15,"65"27"16,-25-80-15,12 0 0,-13 0-16,40-40 15,-40 27 1,-13-14-16,-13 1 16,0-1-1,0 27-15,13-13 16,-27 0-16,1 13 15,13 13-15,-1-13 16,1 0 0</inkml:trace>
  <inkml:trace contextRef="#ctx0" brushRef="#br0" timeOffset="13940.48">12449 4061 0,'53'40'31,"-40"0"-31,13-14 16,14 54-16,13 12 31,-53-65-31,40 39 16,-27-40-1,-13-13-15,13-13 16,-26-26 15,13 13-15,-13-40 0,-1-53-1,14 93-15,0-40 16,14 13-1,-1 27-15,0 0 16,13 13 0,-26 13-16,14-13 0,-1 13 15,-13 14 1,-27 12 0,27-25-16,-26-1 15,-14 13 1,14-26-16</inkml:trace>
  <inkml:trace contextRef="#ctx0" brushRef="#br0" timeOffset="15333.79">12872 4048 0,'0'-13'15,"-13"26"1,13 0-16,0 14 16,0-14-1,13 0 1,27-13 0,-14-26 15,-26 13-31,13 13 15,-13-27-15,14 14 32,-1 26-17,0 0-15,0 1 16,1-14 0,-1 13-16,13-26 15,1-1 1,-14 1-16,-13 0 15,26-40 1,-26 27-16,0-14 0,-13-13 16,13 13-1,-13-13-15,0 27 16,13 13 0,-14 26-1,14 13 1,0 14-1,0-14-15,0-12 0,27 39 16,-14-27 0,0-13-16,27 1 15,-14-14 1,41-14 0,-54 14-16,27-26 15,-40 13 1,13 13-1,-13-14-15,-13 1 16,-14 26 15,14-13-15,13 27 0,-13-27-1,39 13 1,-13-13-1,1-13-15,12 0 16,-13 13 0,0 0-1,14-14 1,-1 1 0,-12-13-1,-1-1-15,0 1 16,0-27-1,1 0 1,-14 26-16,0 1 16,0 13-16,0 0 15,0-1 1,39 54 15,-26 0-31,1-14 16,-1-13-1,-13 1-15,13 12 16,-13-13-16,-13 1 16,-14-14-1,14 13-15,-26-13 16,25 0 0,1 13-16,13-26 15,13 0 1,27-14-1,-27 14 1,0 0 0,54-14-1,-41 14-15,-13 13 32,0 13-32,1-13 0,-1 13 31,-13 1-31,0-1 31</inkml:trace>
  <inkml:trace contextRef="#ctx0" brushRef="#br0" timeOffset="15480.73">13692 3585 0,'-13'-13'16</inkml:trace>
  <inkml:trace contextRef="#ctx0" brushRef="#br0" timeOffset="15869.69">13798 3559 0,'0'53'16,"0"-27"-1,13-13 1,0-13-16,14 0 16,26-26 15,-27 13-31,-26-1 15,-13-52 17,0 53-17,-27 26 17,14 27-1,52-14 0,-13-26-15,54-26 15</inkml:trace>
  <inkml:trace contextRef="#ctx0" brushRef="#br0" timeOffset="16288.33">14023 3466 0,'-13'40'32,"13"-27"-32,0 13 15,0-12-15,0-1 16,13-13-1,13 0 1,1 0 15,-1-13-15,-12 13 0,38-14-1,-38 14 1,-14-13-16</inkml:trace>
  <inkml:trace contextRef="#ctx0" brushRef="#br0" timeOffset="22103.49">8678 5966 0,'40'0'16,"0"27"-1,-27-1-15,53 40 16,-53-26-16,40 79 31,-40-53-31,-13-39 16,-26 79-16,-27-14 15,13-52-15,27-27 16,-53 40 0,40-53-1,-14 13-15</inkml:trace>
  <inkml:trace contextRef="#ctx0" brushRef="#br0" timeOffset="24391.92">4895 7091 0,'-27'0'16,"41"26"-1,-1-26-15,0 0 16,40 0-16,0 14 16,-27-14-16,27 0 0,53 0 15,93 0 1,-147 0-16,94 0 15,-106 0-15,52 0 16,-26 0 0,-13 0-16,27-14 15,-54 14-15,1 0 16,12 0 0,-26 0-1,1 0-15,-1 0 16,0 0-1</inkml:trace>
  <inkml:trace contextRef="#ctx0" brushRef="#br0" timeOffset="25677.89">7858 7117 0,'-13'0'16,"39"0"15,14 0-31,-27 0 15,14 0-15,12 0 0,-12 0 16,132 0-16,-106 0 0,171-13 16,-144 13-1,52 0-15,-53-13 16,1 13-16,145 0 16,-106 0-16,-66 0 0,0 0 15,52 0-15,-65 0 16,13 13-16,26-13 15,-39 0 1,-27 0-16,1 0 0,12 0 16,14 0-1,-27 13 17,-26-26 108,13 0-124,-13 13-1,-1 0-15</inkml:trace>
  <inkml:trace contextRef="#ctx0" brushRef="#br0" timeOffset="28059.47">3678 8506 0,'53'14'16,"-27"-1"-16,80-13 0,39 13 16,133 13-1,79-12-15,-224-1 16,131 0-16,54 14 15,-27-14 1,-199 0-16,-12-13 16,105 13-1,-145-13-15,92 14 16,-92-1 0,-27-13-16,0 0 15,0 0-15,1 0 16</inkml:trace>
  <inkml:trace contextRef="#ctx0" brushRef="#br0" timeOffset="28474.02">4405 8784 0,'238'53'31,"-171"-53"-31,568 40 15,-450-27 1,-106-13-16,1 0 16,-1 0-16,93 0 15,-66 0 1,-93 0-16,27 13 0,-27-13 16,0 0-16,40 0 15,-40 0 1,0 0-1,-13-13-15,14 13 16,-1 0 0,-13-13-16,13 13 0,0 0 15,1-13-15</inkml:trace>
  <inkml:trace contextRef="#ctx0" brushRef="#br0" timeOffset="29312.3">8268 9644 0,'53'-13'15,"-40"0"-15,-79 39 0,199-66 16,-120 40-16,13-13 16,14 0-1,-93 39 17,-26 1-17,39-14-15,-39 14 16,65-27-16,-25 13 15,25 0-15,1-13 0,13 13 16,27 0 0,26 1-1,-40-14-15,66 13 16,-26 0 0,0 0-16,-40 1 15,40-1-15,-40 0 16,1 0-16,-14 0 15,-53 54 17,26-54-32,-132 53 15,80-26 17,66-40-32,26-27 31</inkml:trace>
  <inkml:trace contextRef="#ctx0" brushRef="#br0" timeOffset="29559.6">8983 9578 0,'-14'40'31,"14"-27"-31,-53 172 32,40-159-17,13-12-15,-26 92 32,13-93-17</inkml:trace>
  <inkml:trace contextRef="#ctx0" brushRef="#br0" timeOffset="29694.71">8718 9776 0,'-13'-13'16,"79"26"15,-66 1-31</inkml:trace>
  <inkml:trace contextRef="#ctx0" brushRef="#br0" timeOffset="29838.75">9088 9882 0,'14'0'15,"-1"-13"1,0 13 0</inkml:trace>
  <inkml:trace contextRef="#ctx0" brushRef="#br0" timeOffset="31481.04">8784 10954 0,'-13'-66'16,"-14"39"-1,1 14-15,0 0 16,12 13-16,-25 13 16,12-13-16,-52 40 15,66-27-15,-14 0 0,14 0 16,0 1-16,-14 25 16,27-26-16,0 27 15,27-40 1,-14 0-16,0 0 0,14-13 0,65-27 15,-26 1 1,-52 25-16,25-12 16,-26 13-16,1-1 15,-1-12-15,0 26 16,0 13 0,1 27-16,-14-14 15,13 27-15,-26 27 16,13-54-1,0 53-15,0-65 16,0 12-16,-14 27 16,28-53-16,-14 13 15</inkml:trace>
  <inkml:trace contextRef="#ctx0" brushRef="#br0" timeOffset="31928.18">9208 10901 0,'13'0'15,"-53"0"1,0 13-16,27 0 16,0-13-16,0 0 15,13 14 1,0-1-16,13-13 16,13 13-1,1 0-15,13 0 16,-27-13-16,26 14 15,-12-1-15,-14 13 16,-13-12-16,0-1 16,-13 0-16,-14 40 15,1-40 1,13 0-16,-14 14 0,1-14 16,13 0-16,-1 1 0,-25 12 15,25-26 1,14-13-1,14 0-15</inkml:trace>
  <inkml:trace contextRef="#ctx0" brushRef="#br0" timeOffset="32151.98">9565 10808 0,'13'40'31,"-13"-27"-31,-27 106 16,1-53-1,13-26 1,13-27-16,0 0 0,-27 14 16</inkml:trace>
  <inkml:trace contextRef="#ctx0" brushRef="#br0" timeOffset="32303.45">9353 10941 0,'-40'-14'15,"67"28"16,-14-14-31,0 0 16</inkml:trace>
  <inkml:trace contextRef="#ctx0" brushRef="#br0" timeOffset="32449.73">9776 10993 0,'-26'27'31</inkml:trace>
  <inkml:trace contextRef="#ctx0" brushRef="#br0" timeOffset="34264.8">10266 10808 0,'106'-26'15,"-67"13"1,14 13 0,-26 0-16,-14 0 0,0 0 15</inkml:trace>
  <inkml:trace contextRef="#ctx0" brushRef="#br0" timeOffset="34476.44">10332 10941 0,'13'0'31,"27"0"-16,0-14 1,-14 14-16,1 0 16,25-13-1,-25 0-15,-14 13 0</inkml:trace>
  <inkml:trace contextRef="#ctx0" brushRef="#br0" timeOffset="37699.76">17132 8308 0,'-13'-13'15,"-1"39"1,14 1 0,0 12-16,14-12 15,-1 12-15,0 1 16,40 26 0,-13-26-1,-14-27-15,14 14 0,-1-14 16,-12-13-16,-1 13 0,14-13 15,13 0 1,13 0-16,-13-13 16,0 0-16,-40 13 15,106-80 1,-66 41 0,-40 25-1,27-12-15,13-14 16,-27 27-1,54-40-15,26 27 16,-67 12-16,1 1 16,26 13-16,40-13 15,53 26 1,-67 0 0,1-13-16,66 40 31,-1 0-31,-78-14 15,-14-13 1,-53 1-16,133 39 31,-120-40-15,-13 0-16,54 13 31,-54-12-15,0-1-16,0-13 15,-13 13 1,13-13 0,14 0 15,-27-13-31,13 13 0,0-13 16,1-1-16,12 1 15,80-53 1,-80 53-16,54-27 0,-27 27 15,-27 13-15,40-13 16,0 13 0,14 13-1,-1 13 1,-39-12-16,52 25 16,1-12-1,-66-14-15,78 13 16,-65-26-16,13 14 15,106-28 1,-67 1 0,-26 0-16,1-13 15,-1-14 1,-53 40-16,53-40 16,-53 40-1,1-13-15,-14 0 16,-27-14-1,14 14 1,13 0 0</inkml:trace>
</inkml:ink>
</file>

<file path=ppt/ink/ink20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5:45:34.855"/>
    </inkml:context>
    <inkml:brush xml:id="br0">
      <inkml:brushProperty name="width" value="0.05292" units="cm"/>
      <inkml:brushProperty name="height" value="0.05292" units="cm"/>
      <inkml:brushProperty name="color" value="#0070C0"/>
    </inkml:brush>
  </inkml:definitions>
  <inkml:trace contextRef="#ctx0" brushRef="#br0">2408 1693 0,'13'0'78,"278"14"-62,-26-1-16,118 26 15,689-39 1,-490 27-16,66-27 16,27 0-16,-67 0 15,41 0-15,-41 0 16,-39 0-16,-132 0 15,-186 0 1,-79 0-16,-27 0 0,-92 0 16,-40 0-16</inkml:trace>
  <inkml:trace contextRef="#ctx0" brushRef="#br0" timeOffset="3046.57">3413 3638 0,'-13'0'16,"39"-13"0,1 13-16,26 0 15,66-13-15,-40 13 0,93-14 16,-66 1-16,-13 13 0,39-13 16,-40 0-16,14 13 0,106-14 15,-106 14-15,79 0 16,-92-13-16,79 13 0,-40 0 15,-79 0-15,0-13 16,13 26-16,-40-13 0,1 0 16,26 0-1,-67 13 1</inkml:trace>
  <inkml:trace contextRef="#ctx0" brushRef="#br0" timeOffset="3387.23">3691 3836 0,'40'0'0,"145"-26"16,-13 13-1,-40 0-15,119-14 16,-26 14-16,-26 0 16,-107 13-16,1 0 0,79 0 15,-53 0-15,-66-14 16,-13 14-16,26 0 16,-40 0-16,27 0 15,-40 0-15,14 14 16,-14-14-16,0 0 15</inkml:trace>
  <inkml:trace contextRef="#ctx0" brushRef="#br0" timeOffset="6504.45">6376 4498 0,'-26'0'15,"66"0"17,-27 0-32,27 13 0,52-13 15,-26 0-15,278 0 16,-251 0 0,13 0-16,79 0 0,0 0 15,-92 0-15,-14 0 16,80-13-16,-40 13 15,66 0 1,-158 13-16,-1-13 0,-13 0 16,27 0-1,-14 0-15,1 0 16,-14 0 0,0 0-16,1 0 15,-14-13 1,13 13 15</inkml:trace>
  <inkml:trace contextRef="#ctx0" brushRef="#br0" timeOffset="8844.71">5781 3876 0,'-13'0'16,"66"-13"-16,198-27 16,-171 27-1,-1 0-15,14 0 0,-1-1 0,120-12 16,251-40-1,-371 52-15,1 14 16,13-13-16,-14 0 0,160 0 16,-186 0-16,40 13 15,-14 0-15,-65 0 16,-1 0-16,-12 0 0,-1 0 16,13 0-16,-13 0 15,-52 0 1</inkml:trace>
  <inkml:trace contextRef="#ctx0" brushRef="#br0" timeOffset="9206.18">6482 3810 0,'106'13'16,"0"-13"0,-27 0-16,14 0 0,92-13 15,14 13 1,-120-13-16,106 0 0,-105 13 16,-1 0-16,0 0 0,-26-14 15,0 14-15,40 0 0,-14-13 16,-39 13-16,-14 0 15,-13 0-15,14 0 0,-1 0 16,-12 0 0,-1 0-1,0 0 1,-13 13 15</inkml:trace>
  <inkml:trace contextRef="#ctx0" brushRef="#br0" timeOffset="10368.68">9776 4591 0,'40'-14'16,"26"14"-16,-13 0 16,0 0-16,13-13 0,93 13 15,39-13-15,-105 13 16,39-13-16,-13 13 0,159-14 16,119 1-16,-251 13 15,-1 0-15,-13 0 0,146 0 16,-146 0-16,212 0 15,-145 0-15,-107 13 16,1-13-16,0 0 0,-14 0 16,0 0-16,67 14 15,-106-14-15,-14 0 0,27 0 16,-40 0 0,14 0-16,-14 0 15,-40-14 16,14 14-31,0 0 0,0 0 16,0-13-16</inkml:trace>
  <inkml:trace contextRef="#ctx0" brushRef="#br0" timeOffset="10847.02">11205 4657 0,'450'13'16,"-344"-13"-16,198 13 15,-198-13-15,0 0 16,-1 0-16,-12 0 0,92 0 16,93 13-1,-172 1-15,-80-14 16,1 0-16,-1 0 0,14 0 16,-27 0-16,-52 0 31,12 0-16</inkml:trace>
  <inkml:trace contextRef="#ctx0" brushRef="#br0" timeOffset="11778.8">2090 5159 0,'40'0'31,"-14"0"-31,40 0 15,54 0-15,-54 0 16,26 0-16,-12 0 0,12 0 0,14 0 16,-13 14-16,118-14 15,-105 0-15,0 0 0,92 0 16,-92 13-16,0-13 0,-13 0 16,-14 0-16,14 0 0,66 0 15,-80 0-15,-26 0 0,13 0 0,-13 0 16,39 0-16,-65 0 15,-1 0-15,41 0 16,-54 0-16,0 0 16</inkml:trace>
  <inkml:trace contextRef="#ctx0" brushRef="#br0" timeOffset="12443.52">2818 5265 0,'264'0'16,"-184"0"-16,12 0 0,94 0 16,-81 0-16,1-13 0,27 13 15,-41 0-15,14 0 0,-13-13 0,-1 13 16,146 0 0,-185 0-16,13-13 0,-26 13 15,0 0-15,52 0 0,-78 0 16,12 0-16,-13 0 15,0 0-15,1 0 0,25 0 16,-25 0 0,-1 0-16,0 0 15,0 0 1,1 0 0,-1 0 15,-13 13 172,0 0-187</inkml:trace>
  <inkml:trace contextRef="#ctx0" brushRef="#br0" timeOffset="14287.07">15266 2209 0,'0'-13'0,"0"39"31,14 1-16,-14-14-15,13 14 16,-13-14-16,0 0 0,0 0 16,26 27-16,-26-27 15,14-13-15</inkml:trace>
  <inkml:trace contextRef="#ctx0" brushRef="#br0" timeOffset="14586.3">15518 2130 0,'0'-13'0,"0"-1"31,0 54-15,0-27-16,13 1 0,0-14 16,-13 13-16,14 0 0,-1-13 0,0 0 15,0 13-15,0-13 0,1 0 0,25 0 16,-25 0-1,-1-13-15,-13 0 16,0 0 0,0-1-16,-13 14 0,13-13 0,-14 0 15,-25-14 1,25 27-16,1-13 16,0 13-16,0 13 15</inkml:trace>
  <inkml:trace contextRef="#ctx0" brushRef="#br0" timeOffset="15418.52">15954 1945 0,'-13'0'0,"0"0"16,39 0-16,-65 13 0,25 0 0,1 0 16,0 1-16,13-1 15,-13 13-15,13-12 16,0-1-16,0 0 0,13-13 16,-13 13-16,13 0 0,0-13 15,1 0-15,-1 0 16,0 0-16,0 0 15,-13-13-15,14 0 0,-1 0 16,-13 0-16,13-1 16,-13 1-16,0 0 15,13-14 1,-13 54 15,14-14-15,-1 0-1,13-13 1,-13 0 0,14-13-16,-1 13 15,-12-13-15,-1 0 0,0 13 0,0-14 16,0 1-16,1 0 0,-1 13 16,0-13-16,14-14 15,-27 14-15,13 13 16,-13-13-16,13 0 15,-26 39 32,13-13-31,0 0-16,13 14 16,-13-14-1,13-13 1,1 0 15,-1 0-15,-13-13-16,13 13 15,-13-13 17,0-1-17,-13 1 16</inkml:trace>
  <inkml:trace contextRef="#ctx0" brushRef="#br0" timeOffset="16136.17">16272 1826 0,'-13'26'16,"-1"-13"-1,14 1-15,0-1 0,0 0 16,0 0-16,14 0 0,-14 1 0,0-1 16,13 0-16,-13 0 15,13-13-15,0 27 16,1-27-16,-1 0 0,0 0 16,0-13-1,0-1 1,-13 1-16,0 0 0,14 0 15,-14-1-15,0 1 16,13 26 31,13 1-31,-12-14-16,-1 0 15,27-14 1,-27 14-16,0-13 15,0 0-15,0 13 16,1-13 0,-1 13-1,0 0 1,0 13 0,14-13 15,-14 0-31,-13-13 15,13 26-15,1-13 16,-28 13 0</inkml:trace>
  <inkml:trace contextRef="#ctx0" brushRef="#br0" timeOffset="16647.37">15571 2381 0,'145'-13'16,"-79"0"-16,1 0 0,91-27 16,-78 13-16,224-52 15,-198 53-15,-14-14 0,14 0 16,66-39-16,-13-1 15,-106 54-15,0-14 0,39-52 16,-52 52-16,-13 0 0,-1 1 16,0-41-16,-26 1 15,0 39-15,-13 1 0,-13-14 16,-40-27-16,-40 14 16,-27 13-16,67 27 0,-26 12 15,-490 1 1,436 40-1,14-1-15,-133 54 0,133-28 16,13 1-16,0 14 0,13 12 16,0 0-16,14 1 0,-1-1 0,-92 159 15,145-172-15,14-13 16,26 0-16,-14-13 0,28 13 16,12-14-16,1 14 0,78 13 15,-39-39-15,80 13 16,-53-40-16,-1 13 0,-12-13 15,12 0-15,-12-13 0,-1 13 0,0-14 16,-13 14-16,1-13 0,-14 0 0,-1 13 16,54-27-1</inkml:trace>
  <inkml:trace contextRef="#ctx0" brushRef="#br0" timeOffset="19342.08">4762 5649 0,'27'0'47,"-14"0"-47,27 0 15,-14 0-15,-12-13 0,12 13 0,-13 0 16,14 0-16,-1 0 16,-13 0-16,1 0 0,-1 0 0,0 0 0,0 0 15,1 0-15,-1 0 0,0-14 16,0 14 0,0 0-16</inkml:trace>
  <inkml:trace contextRef="#ctx0" brushRef="#br0" timeOffset="19846.43">4961 5503 0,'40'14'31,"-27"-14"-31,0 0 0,27 13 16,-14 0-16,1-13 0,-14 13 15,27 0-15,-14-13 16,-13 0-16,1 0 0,25 14 16,-26-1-16,-13 0 15,0 0 1,-13 1-16,13-1 0,-13 0 0,0 0 16,0 1-16,-1-1 0,1 0 15,-27 27 1,27-40-16,0 13 0,0 0 15</inkml:trace>
  <inkml:trace contextRef="#ctx0" brushRef="#br0" timeOffset="21689">7514 6072 0,'13'-13'31,"40"13"-15,-26 0-16,-1 0 0,1 0 15,12-13-15,-12 13 0,52 0 16,-52 0-16,12 0 15,-25 0-15,-1 0 16,0 0-16,0 13 0,1-13 0,-1-13 16,13 13-1,-13 0 1,-13-14 0,-13 1-1</inkml:trace>
  <inkml:trace contextRef="#ctx0" brushRef="#br0" timeOffset="21975.42">7792 5900 0,'40'13'16,"-27"-13"-16,0 14 0,14-1 15,-14-13-15,27 26 16,-14-12-16,0-1 0,1 0 0,-14 13 16,0-12-16,14-1 0,-27 0 15,13 0-15,0 1 0,-13-1 0,0 13 16,0 1-16,-13-14 0,0 0 16,0 0-16,-1 14 0,-12-1 0,-1-12 15,1-1-15,13 0 16,-14 0-16,-26 27 15</inkml:trace>
  <inkml:trace contextRef="#ctx0" brushRef="#br0" timeOffset="27910.99">3109 7488 0,'-13'13'0,"26"-13"16,66 0 0,-39 0-16,13 0 15,13 0-15,-13 0 0,26 0 0,80-13 16,-93 13-16,14 0 15,-1-14-15,40 14 0,-66-13 16,0 13-16,0 0 0,-14-13 0,1 13 16,13 0-1,-40 0-15,0-13 0,1 13 0</inkml:trace>
  <inkml:trace contextRef="#ctx0" brushRef="#br0" timeOffset="28310.9">2963 7752 0,'93'0'0,"-53"0"0,26 0 0,13-13 16,172-13-1,-158 12-15,106 1 0,-107 0 16,-12 0-16,12 13 0,-12-14 16,-1 14-16,-13-13 0,-13 13 0,0-13 15,-13 13-15,-1 0 0,-12-13 16,12 13-16,-12 0 16,-14 0-16,0 0 0,1 0 15,-1 0-15,0 0 16,-13 13-1,-13-13 1,0 13 0,-1-13-1,1-13 1,0 13 0</inkml:trace>
  <inkml:trace contextRef="#ctx0" brushRef="#br0" timeOffset="31359.33">10186 7580 0,'27'-13'16,"-14"13"-16,14 0 0,-1 0 0,14 13 16,-1-13-16,14 0 0,40 0 15,-40 14-15,0-14 0,-14 0 0,120 0 32,-132 0-32,-1 0 15,-13 0-15,14 0 0,-14 0 16,0 0-16,-13-14 0,14 14 15</inkml:trace>
  <inkml:trace contextRef="#ctx0" brushRef="#br0" timeOffset="31599.32">10782 7474 0,'66'0'15,"-13"27"1,-27-14-16,14 14 0,-14-14 0,1 13 16,26 80-1,-53-93-15,0 14 16,0-1-16,-13 14 0,-27 13 0,27-27 16,-14 1-16,14-1 0,0-12 0,0-1 15,-14 13 1,1-13-16</inkml:trace>
  <inkml:trace contextRef="#ctx0" brushRef="#br0" timeOffset="32170.38">12554 7527 0,'14'-39'0,"-28"25"0,1 1 16,0 13-16,0 0 0,-40 0 31,0 27-31,40-27 0,-14 13 0,14 0 16,-27 27-16,27-27 16,0 0-16,0 1 0,13-1 15,-14-13-15,14 13 0,14 0 0,12-13 16,-13 0-1,14 0-15,12-26 16,-12 13-16,-1-1 0,-12 1 0,12 0 16,1 0-16,-14-1 0,0 1 0,13 0 15,-12 13 1,-1 13-16,-13 0 16,0 1-16,0 12 0,0-13 15,-13 14-15,13-1 0,0 1 16,-14 105-1,1-106-15,13 1 16,0-14-16,0 0 0,0 1 16,0-1-16,0 0 0,13-13 15,1 0-15,12-13 16,-13 13 0</inkml:trace>
  <inkml:trace contextRef="#ctx0" brushRef="#br0" timeOffset="32619.56">13070 7554 0,'40'-13'15,"-66"13"1,12 13-16,-25 0 16,26-13-16,-14 13 0,-13 14 15,27-27 1,13 13-16,-13-13 0,26 13 16,0-13-1,1 13-15,78 1 31,-65-1-31,-14-13 0,0 13 0,0-13 16,1 13-16,-1-13 0,-13 14 0,13-14 16,-13 13-16,0 0 0,0 0 0,-26 14 15,12-1 1,-12-13-16,13 1 0,-14 12 16,-12 1-16,12-14 0,14 0 0,0 0 15,-1 1-15,1-14 0,0 0 16,0 13-16,13-40 31</inkml:trace>
  <inkml:trace contextRef="#ctx0" brushRef="#br0" timeOffset="32866.31">13705 7488 0,'14'0'0,"-14"13"16,0 13 0,-14 1-16,14-14 0,-13 27 15,-13 26-15,12-40 16,14 1-16,-13-1 0,0 1 16,-13 26-16,12-40 0,14 0 15,-13 14-15,-13 26 16,12-53-16,14 13 15,-13-13-15</inkml:trace>
  <inkml:trace contextRef="#ctx0" brushRef="#br0" timeOffset="33037.33">13441 7713 0,'-13'-27'15,"26"40"17,0-13-17,0 0-15,14 14 16</inkml:trace>
  <inkml:trace contextRef="#ctx0" brushRef="#br0" timeOffset="33138.33">13838 7858 0,'13'13'0,"0"-13"0</inkml:trace>
</inkml:ink>
</file>

<file path=ppt/ink/ink20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5:46:15.134"/>
    </inkml:context>
    <inkml:brush xml:id="br0">
      <inkml:brushProperty name="width" value="0.05292" units="cm"/>
      <inkml:brushProperty name="height" value="0.05292" units="cm"/>
      <inkml:brushProperty name="color" value="#0070C0"/>
    </inkml:brush>
  </inkml:definitions>
  <inkml:trace contextRef="#ctx0" brushRef="#br0">5913 3268 0,'53'-14'31,"-26"14"-31,39 0 16,-13 0-16,39 0 0,-52 0 15,0-13-15,0 13 0,12 0 16,-12-13-16,-13 13 0,-14 0 0,13 0 16,-12 0-16,-1-13 15,0 13-15</inkml:trace>
  <inkml:trace contextRef="#ctx0" brushRef="#br0" timeOffset="246.93">5927 3373 0,'13'0'31,"0"0"-31,0 0 0,14 0 16,12 0-16,-12 0 0,13-13 0,-1 13 0,14 0 16,-13 0-16,13-13 15,13 13-15,-40 0 0,1 0 16,-1 0-16,-12 0 0,12-13 0,1 13 15,-14 0 1,0 13-16,0-13 16</inkml:trace>
  <inkml:trace contextRef="#ctx0" brushRef="#br0" timeOffset="2220.03">6376 3903 0,'186'0'16,"-147"0"-16,54 0 16,-40 0-16,-13 0 0,12 0 15,-12-14-15,0 14 0,-14 0 16,40 0-16,-39 0 0,-1 0 15,1 0-15,-14 0 0,14 0 0,-14 0 16,0-13-16</inkml:trace>
  <inkml:trace contextRef="#ctx0" brushRef="#br0" timeOffset="2546.79">6469 4022 0,'79'26'15,"-52"-26"1,-1 0-16,14 0 0,-13 0 0,39 0 16,-13 0-16,-14-13 0,14 13 15,-26 0-15,-1 0 0,1-13 0,-1 13 16,0 0-16,14 0 15,-13-14-15,-14 14 0,0 0 16,0 0-16,1 0 16,-1 0-16,-13-13 47,0 0-32</inkml:trace>
  <inkml:trace contextRef="#ctx0" brushRef="#br0" timeOffset="4544.72">7183 3373 0,'27'0'0,"-1"-13"16,-12 13-16,12-13 0,14 13 15,13-13-15,-14 0 0,14-1 0,80-25 16,12 12 0,-79 1-16,14 12 0,-1-12 0,66-14 15,-65 27-15,79-13 16,-14-1-16,-79 14 15,-13-14-15,106 1 16,-133 26-16,14-13 16,-13 0-16,-14 13 15,0 0-15,0-14 16,-13 1 0,0 0-1</inkml:trace>
  <inkml:trace contextRef="#ctx0" brushRef="#br0" timeOffset="4804.57">8731 2897 0,'66'13'15,"-39"-13"-15,-14 0 16,53 14-16,-26-1 0,0 0 16,-1 0-16,107 67 31,-120-27-31,-39-27 16,-27 27-1,14-27-15,-1 1 0,1-14 16,0 0-16</inkml:trace>
  <inkml:trace contextRef="#ctx0" brushRef="#br0" timeOffset="6691.37">10213 2183 0,'-13'0'15,"66"0"16,-27-13-31,-13 13 16,14 0-16,12-14 0,1 1 16,0 13-16,-27 0 15,0 0-15,1 0 16,-14 27 0,0-14-16,-14 13 15,1-13-15,0 14 16,-14 13-1,14-27-15,13 13 16,0 14 0,13-27-16,14 0 15,-14-13-15,0 0 0,27 0 16,-14 0-16,1 0 16,13-13-16,-14 13 0,-13-13 15,27 0-15,-14 13 16,-26-13-16</inkml:trace>
  <inkml:trace contextRef="#ctx0" brushRef="#br0" timeOffset="6882.33">10266 2302 0,'40'-13'15,"-27"-1"1,0 14-16,13-13 0,1 13 0,-1-13 16,1 13-16,52-27 15,-39 27-15,13-26 16</inkml:trace>
  <inkml:trace contextRef="#ctx0" brushRef="#br0" timeOffset="7212.44">11126 1905 0,'13'-13'0,"-13"52"31,0-25-16,0-1-15,0 0 16,0 14-16,0 12 16,0-12-16,13-14 0,-13 27 15,13-27-15,1 13 16,-1-12-16,0-1 0,-13 0 0,53 13 16,-27-26-1,-12 0 1,12-13-16,-13 13 15,1-13-15</inkml:trace>
  <inkml:trace contextRef="#ctx0" brushRef="#br0" timeOffset="7405.45">10914 2143 0,'40'-13'16,"-27"13"-16,13-13 16,1 13-16,52-27 15,-13 14 1,-39 0-16,-14 13 16</inkml:trace>
  <inkml:trace contextRef="#ctx0" brushRef="#br0" timeOffset="7915.78">11483 2024 0,'-40'40'16,"27"-27"-16,13 0 16,0 0-16,0 1 15,13-14 1,27-14 0,-27 14-1,0 0-15,-13-13 16,14 13-1,-1 0-15,-13 13 16,13 1 0,-13-1-16,27 0 15,-27 0-15,13-13 16,0 0-16,0 0 16,14 0-16</inkml:trace>
  <inkml:trace contextRef="#ctx0" brushRef="#br0" timeOffset="8339.79">11628 1826 0,'-13'13'16,"13"0"0,0 14-1,0-14 1,13 0 0,1-13-1,-1 0 1,13 0-1,-12 0-15,-1 0 16,0 0-16,0 0 16,1 13-16,-14 0 15,0 1-15,0-1 32,-14 0-32,14 0 15,-13-13-15,13 14 0,-13-14 16</inkml:trace>
  <inkml:trace contextRef="#ctx0" brushRef="#br0" timeOffset="8976.25">11867 1574 0,'26'66'16,"-26"-39"-16,26 65 16,-26-65-16,14 13 15,-1-27-15,0 0 0,-13 0 16,40 27-16,0-14 16,-27-26-1,0 0-15,0 0 0,14-13 16,-27 0-1,26-13-15,-13 26 16,-13-14-16,0 1 0,0-13 16,-13 52 31,0-13-47,13 14 15,13-14 1,-13 0-16,13-13 0,1 0 15,12 13 1,-13-13 0</inkml:trace>
  <inkml:trace contextRef="#ctx0" brushRef="#br0" timeOffset="9276.23">10941 2434 0,'476'-159'0,"-317"120"16,-80 12-16,80 1 16,-93-1-16,0 14 0,53 0 15,-26-14-15,-40 27 16,-14-13 0</inkml:trace>
  <inkml:trace contextRef="#ctx0" brushRef="#br0" timeOffset="9522.33">11284 2434 0,'225'-40'15,"-185"40"-15,172-39 16,-159 26-16,0 13 0,66-27 16,-66 27-1,-14-13-15,-26 13 0,1 0 16,25-13 0</inkml:trace>
  <inkml:trace contextRef="#ctx0" brushRef="#br0" timeOffset="13013.39">17965 1984 0,'0'14'16,"0"-1"-16,0 0 15,-13 14-15,13-1 16,-13 14-1,13 26-15,0-40 16,0-13-16,0 1 16,13 12-16,53 1 31,-13-27-31,-26 0 16,118 0-16,-92 0 15,66 0-15,-40 0 0,146 0 16,27 0-1,92 13 1,-172 0 0,-93 0-16,80 1 15,13-1 1,-106-13-16,172 26 16,-172-39 15,-53 13-31,80-13 15,-80 0 1,27-80 15,-14-39-15,-26 66 0,14-67-1,-14 120-15,13-66 31,-13 65-31,13-12 32</inkml:trace>
  <inkml:trace contextRef="#ctx0" brushRef="#br0" timeOffset="13604.51">19394 2619 0,'93'53'31,"-120"0"-16,14-26 1,-40 12-16,27-12 16,26-14-1,-14-13 1,80 0 0,-26-13-1,53 0 1,-67 13-16,40-14 15,0 1-15,1 13 16</inkml:trace>
  <inkml:trace contextRef="#ctx0" brushRef="#br0" timeOffset="29131.88">8493 4524 0,'53'-13'0,"-27"13"15,41 13-15,12-13 16,-13 0-16,27 0 15,-14 14-15,-39-14 16,-14 0-16,27 0 16,0-14-16,0 14 15,-40 0-15</inkml:trace>
  <inkml:trace contextRef="#ctx0" brushRef="#br0" timeOffset="29434.09">8625 4657 0,'53'13'0,"13"-13"16,-39 0-16,39 0 15,-26-13-15,79 13 16,-93 0-1,40 0-15,-26-14 16,0 14-16,-27 0 0,40 0 31,-40 0-15,0 0 0,-13-13-1</inkml:trace>
  <inkml:trace contextRef="#ctx0" brushRef="#br0" timeOffset="30703.56">9631 5146 0,'185'0'15,"-145"-13"-15,118 0 16,-118 13 0,13 0-16,40-14 15,-67 14-15,1 0 16,-1 14-1</inkml:trace>
  <inkml:trace contextRef="#ctx0" brushRef="#br0" timeOffset="30941.32">9446 5371 0,'53'-13'0,"-27"13"16,14 0-16,52-13 0,67-14 16,-40 14-1,27 0 1,-41-1-16,-52 1 16,-26 13-1,13 0 1</inkml:trace>
  <inkml:trace contextRef="#ctx0" brushRef="#br0" timeOffset="33764.75">9472 6853 0,'-26'-14'15,"-14"14"1,27 0-16,-40 14 0,40-14 16,-14 13-1,40 13 1,27 14-1,0-13-15,-14-1 16,14 14-16,0-14 16,-1 1-1,-39-14-15,0 40 16,-13-40 0,-13 0-16,-14 0 15,13-13 1,14-13-1,13 0 1,66-66 0,-39 52-1,-14 14-15,27-27 16,-14 1 0,-26-14-1,0 39-15,-13-12 16,-27 13-1,27 13-15,-40-14 16,27 14 0,12 0-1</inkml:trace>
  <inkml:trace contextRef="#ctx0" brushRef="#br0" timeOffset="34177.87">9922 6760 0,'-53'40'15,"106"-80"-15,-133 106 0,67-39 16,-13 26-16,13-14 16,-1-12-16,14-14 15,0 53-15,14-53 16,-1 14-16,13-14 16,-13 0-16,27-13 15,0 0 1,-27 0-16,14-13 15,-27 0-15,-14-14 32,-25 14-17,-1 0 1,27 13 0</inkml:trace>
  <inkml:trace contextRef="#ctx0" brushRef="#br0" timeOffset="34627.8">10557 6720 0,'0'14'32,"0"25"-17,0-25-15,-27 91 16,27-91-1,0-1-15,0 13 0,0-12 16,0-1 0,14 0-16,-14 13 15</inkml:trace>
  <inkml:trace contextRef="#ctx0" brushRef="#br0" timeOffset="34856.9">10438 6879 0,'0'-26'16,"13"26"-16,0-14 16,1 14-16,-1 0 15,13 0-15,27-13 0,0 13 16,0 0-1,-27 0 1,-12 0-16,-1 13 16</inkml:trace>
  <inkml:trace contextRef="#ctx0" brushRef="#br0" timeOffset="35097.19">10385 7144 0,'53'13'16,"-27"-13"-1,14 0-15,26 0 16,-26 13-1,-27-13-15,13 0 16</inkml:trace>
  <inkml:trace contextRef="#ctx0" brushRef="#br0" timeOffset="35869.4">11218 6681 0,'0'-13'16,"-13"39"-16,13 14 15,-13 13-15,13-27 16,-13 80 0,13-80-16,0 14 15,0 0-15,-14-27 16,14 13-16,0 1 15,0-14-15,0 0 16,0 1-16,14-14 16</inkml:trace>
  <inkml:trace contextRef="#ctx0" brushRef="#br0" timeOffset="36140.17">11470 6906 0</inkml:trace>
  <inkml:trace contextRef="#ctx0" brushRef="#br0" timeOffset="36671.67">11999 6720 0,'-40'-13'0,"-105"26"32,131 1-32,-52 12 15,53 1 1,13-14-16,13 0 15,14-13 1,-1-13-16,-13 13 16,14-13-16,-1 13 15,1-14-15,-14 1 16,0 13-16,0 0 16,1 40-1,-14-14-15,0-13 16,0 27-1,-14 40 1,14-54-16,-13 27 0,13-27 16,0-12-1,0 25-15,13-25 16</inkml:trace>
  <inkml:trace contextRef="#ctx0" brushRef="#br0" timeOffset="37597.36">12396 6707 0,'-27'13'15,"1"14"1,13-14-16,-14 40 0,1-13 16,12-27-16,1 80 15,26-67 1,-13-13-1,14 0-15,12 1 16,-13-1 0,14-13-1,-14-13 1,-13-1-16,0 1 16,-26-13-1,12 26-15,1 0 16,-13 0-16,-14 0 31</inkml:trace>
  <inkml:trace contextRef="#ctx0" brushRef="#br0" timeOffset="38051.97">13375 6787 0,'-14'13'16,"1"0"0,0 13-16,0-12 0,-27 52 15,14-26 1,-1-1-16,14-12 16,-27 26-1</inkml:trace>
  <inkml:trace contextRef="#ctx0" brushRef="#br0" timeOffset="38257.69">13137 6853 0,'66'53'16,"-53"-40"-16,40 27 15,-27-27-15,14 26 16,0-12-16,-14 13 16,27-1-1</inkml:trace>
  <inkml:trace contextRef="#ctx0" brushRef="#br0" timeOffset="39000.36">14486 6601 0,'-40'0'15,"1"27"1,25-14-16,-25 66 16,25-52-1,14-14-15,-13 93 16,13-93-16,13 0 15,1 27-15,25 0 16,-39-27 0,27 0-16,-1-26 15,-26-13 17,-13-14-17,0 27-15,0-1 16,13 1-16,-14 0 15,1 13 1,0 0-16,0 0 31</inkml:trace>
  <inkml:trace contextRef="#ctx0" brushRef="#br0" timeOffset="39144.39">14539 6906 0,'0'13'15</inkml:trace>
  <inkml:trace contextRef="#ctx0" brushRef="#br0" timeOffset="39605.12">14922 6654 0,'80'14'16,"-67"-1"-16,0 13 16,-39 27-1,13-26-15,-54 39 16,54-53-1,0 0-15,-13 14 16,26-14 0,13-13-1,26 13 1,1-26 0,-13 13-16,52 0 15,-39 0-15,-1 0 16,-39 13-16,27-13 15,-27 13-15,-13 1 32</inkml:trace>
  <inkml:trace contextRef="#ctx0" brushRef="#br0" timeOffset="39905.75">14195 7210 0,'476'26'16,"-172"1"-1,-158-14 1,39 13-1,-158-26-15,26 0 16,-1244-92-16,2408 198 16,-1164-106-1,-80 13 1,14 0 0</inkml:trace>
  <inkml:trace contextRef="#ctx0" brushRef="#br0" timeOffset="40740.61">14195 7779 0,'0'-13'16,"13"39"-16,0 14 0,-13-27 15,14 27-15,25 39 32,-39-66-32,27 27 15,-1-27-15,-13 0 16,14-26-1,-14-13 1,-13-27 0,0 13-16,-13-39 15,0-1 1,13 41-16,0-14 16,0 39-1,13-12-15,0 13 16,14 0-16,-14 13 15,13 0-15,93-14 16,-39 14 0,-41 0-16,14 0 0,27 0 15,-41 0-15,120 0 16,-119 0 0,-1-13-1,-12 13-15,-1 0 16,-12 0-16,-14 13 31,-27 14-15,14-14-16</inkml:trace>
  <inkml:trace contextRef="#ctx0" brushRef="#br0" timeOffset="41231.62">14790 7871 0,'-39'40'31,"12"-27"-31,14 1 16,-40 25-1,26-26 1,27 1 0,0-1-1,14-13-15,-1 0 16,-13 13-16,40-13 16,26 0-1,-13 0-15,-40 0 16,13 0-16,1 0 15,-14 0-15,13-13 16</inkml:trace>
  <inkml:trace contextRef="#ctx0" brushRef="#br0" timeOffset="41497.03">14843 7818 0,'-13'14'31,"0"12"-31,39-66 0,-66 120 16,27-14-1,0-53 1,13 0-16,-13 40 15,0-39-15,-1 12 16,14 0 0</inkml:trace>
  <inkml:trace contextRef="#ctx0" brushRef="#br0" timeOffset="41832.06">15108 7832 0,'-27'0'15,"14"0"-15,0 26 16,0-13-16,-1 14 0,1 13 16,13-1-1,13-12 1,14 12-16,-14-25 15,13-14-15,14 13 16,-27-13 0,1-13-16,-1-1 31,-26 1-31,13-13 0,-14 26 16,1 0-1,-27 0 1,27 13-16,0-13 15,0 0-15</inkml:trace>
  <inkml:trace contextRef="#ctx0" brushRef="#br0" timeOffset="43012.05">8162 7078 0,'80'0'16,"-27"0"-1,0-14-15,-27 14 16,27 0-16,-27 0 16,-12 14-16</inkml:trace>
  <inkml:trace contextRef="#ctx0" brushRef="#br0" timeOffset="43160.77">8176 7210 0,'-14'13'15,"28"0"1,-1-13-16,0 0 0,27-13 31,-14 13-31,133-13 16,-119 13 0,-27 0-16</inkml:trace>
  <inkml:trace contextRef="#ctx0" brushRef="#br0" timeOffset="43700.56">6152 7078 0,'-146'132'15,"106"-66"1,14 27 0,39-40-16,-13-40 15,13 13-15,1-13 0,25 40 16,-12-39-16,12-1 16,-12-13-16,-1 13 0,27-13 15,-26 0-15,26-13 16,26 0-16,-26-1 15</inkml:trace>
  <inkml:trace contextRef="#ctx0" brushRef="#br0" timeOffset="44027.42">6601 7144 0,'0'0'0,"40"0"15,13 0 1,-27-13-16,54-1 16,-54 14-1,40-13 1,-39 0-16,-14 13 0</inkml:trace>
  <inkml:trace contextRef="#ctx0" brushRef="#br0" timeOffset="44330.64">6945 7038 0,'-26'0'15,"13"0"-15,-1 13 16,1 27 0,0-14-16,13 1 15,0-1-15,0-13 16,0 14-16,-27 39 16,1 0-16,-14-26 15,27-14 1,-40 14-1,40-40-15,-13 26 16,12-26-16,28 14 31,12-14-31,225-450 0,-476 900 16,239-450-16,39 0 16,-27 0-16,53 0 15,-39 0-15,26-14 16,-26 14-1,-27 0-15</inkml:trace>
  <inkml:trace contextRef="#ctx0" brushRef="#br0" timeOffset="45030.14">15042 4643 0,'-199'159'15,"186"-132"-15,0 39 0,13 0 16,13-26-1,27 13-15,-14-40 16,27 0 0,40 0-1,-41-26-15,15 0 16,12-14 0</inkml:trace>
  <inkml:trace contextRef="#ctx0" brushRef="#br0" timeOffset="45311.98">15491 4643 0,'67'0'16,"-41"0"-16,146-13 16,-106 0-1,-53 13 1</inkml:trace>
  <inkml:trace contextRef="#ctx0" brushRef="#br0" timeOffset="45516.92">15849 4577 0,'-27'27'16,"14"-1"-1,0 14 1,13-27-16,-14 53 15,14-39 1,-13 26 0,13-40-16,0 0 0,-13 0 15,0 1 1,119-319-16,-212 623 0</inkml:trace>
  <inkml:trace contextRef="#ctx0" brushRef="#br0" timeOffset="45688.92">15597 4948 0,'-13'0'16,"53"0"15,13 0-15,-40 0-16,13 0 0,80-14 16,-79 14-1,-1-13-15,40 13 16,-53-13-16</inkml:trace>
  <inkml:trace contextRef="#ctx0" brushRef="#br0" timeOffset="45894.76">16523 4749 0,'133'-26'16,"-120"26"-16,0 0 16</inkml:trace>
  <inkml:trace contextRef="#ctx0" brushRef="#br0" timeOffset="46081.82">16484 4868 0,'26'14'0,"-13"-14"16,-13-133-16,27 266 0,65-133 31,-65 0-31,-14 0 15,0 0-15,0 0 0</inkml:trace>
  <inkml:trace contextRef="#ctx0" brushRef="#br0" timeOffset="47334.66">17727 4630 0,'-13'53'15,"13"-40"-15,0 1 16,0-1-16,0 0 16,0 0-16,26-26 47,-26 0-47,14 13 0,-1-27 15,0 14 1,0 0-16,0 13 15,1 0-15,-1 0 16,0 13 0,-13 0-16,0 1 15,0-1 1,0 0 0,27-26 15,-27 0-31,39-1 15,1 1 1,-27 13-16,14 0 16,26 13-1,-40-13-15,0 14 16,0-1 0,1 0-1,-1-13-15,0 13 16,0-13-1</inkml:trace>
  <inkml:trace contextRef="#ctx0" brushRef="#br0" timeOffset="47633.78">18283 4736 0,'26'-40'15,"-26"14"1,13 13-16,-13-1 16,0 1-1,0 0 1,-26 26 0,26 0-16,0 1 15,-13 65-15,13-145 16,13 79-16,-13 0 15,40 14 1,-14-27-16,14 0 16,26 13-1,-53-13-15</inkml:trace>
  <inkml:trace contextRef="#ctx0" brushRef="#br0" timeOffset="48321.46">18772 4604 0,'-40'-13'15,"27"26"1,-13 0-1,13 0-15,-1 14 16,1-14 0,13 0-1,0 0-15,13-13 16,-13 14 0,106-120-1,-198 212 1,118-120-1,-13 1 1,0 0 0,1 0-1,-1-1-15,0 14 32,0-13-32,14 26 31,-14 1-16,-13-1 1,13-13 0,-13 13-16,0 0 15,14 1 1,-1-28 31,0 14-47,0 0 15,0 0 1,1-13-16,12 26 31,-13-13-31,1 0 16,-1 14 0,0-14-16,0 0 15,1 0 1,-1 0-1</inkml:trace>
  <inkml:trace contextRef="#ctx0" brushRef="#br0" timeOffset="48617.09">19592 4458 0,'14'40'31,"-14"-27"-31,0 0 16,0 14-16,13 13 31,0-27-15,0 0-16,-13 0 0</inkml:trace>
  <inkml:trace contextRef="#ctx0" brushRef="#br0" timeOffset="48865.21">19553 4617 0,'26'-26'0,"-13"26"16,14-14-1,-1 14-15,1 0 16,-1 0-1,-13-13-15,1 26 16,-1-13-16,0 0 16</inkml:trace>
  <inkml:trace contextRef="#ctx0" brushRef="#br0" timeOffset="49159.18">19513 4802 0,'66'0'16,"-39"0"-16,65 0 16,-65 0-1,-14 0-15,13 0 16</inkml:trace>
  <inkml:trace contextRef="#ctx0" brushRef="#br0" timeOffset="49926">20651 4445 0,'-40'0'16,"27"0"-16,0 0 15,-40 13-15,39-13 16,-25 13-16,12 1 15,27-1 1,14 13 0,25 1-1,-26-27-15,27 26 0,0-12 16,0-1-16,-14 0 16,0 13-1,-12-26-15,-14 14 16,0-1-1,-14 0-15,1-13 0,-40 27 32,0-14-32,14 0 15,25-13 1,28-13 15</inkml:trace>
  <inkml:trace contextRef="#ctx0" brushRef="#br0" timeOffset="50191.71">20849 4524 0,'13'14'16,"-13"-1"-1,14-13-15,-14 13 16,0 14-16,13 12 16,-13-26-16,0 1 15,0 12 1,0-13-16,13 14 16</inkml:trace>
  <inkml:trace contextRef="#ctx0" brushRef="#br0" timeOffset="50508.81">20862 4498 0,'93'-27'31,"0"67"-15,-54-13-16,-12-1 16,-14-13-16,0 27 15,-291-159-15,556 251 16,-304-105-16,13-1 15,-1-13-15,-65 27 16,66-40 0,-1 0-16,-12 0 15,26-13-15</inkml:trace>
  <inkml:trace contextRef="#ctx0" brushRef="#br0" timeOffset="51232.15">21669 4498 0,'-13'26'32,"0"-12"-32,0 12 0,-14 14 15,14-14-15,0 1 16,-27 39-1,27-53 1,13 0 0</inkml:trace>
  <inkml:trace contextRef="#ctx0" brushRef="#br0" timeOffset="51481.08">21458 4511 0,'13'0'0,"80"66"32,-80-52-32,40 25 15,-27-26-15,-13 1 16,27 12-16,-13-13 15,39 40-15,-53-53 16,0 13-16</inkml:trace>
  <inkml:trace contextRef="#ctx0" brushRef="#br0" timeOffset="54300.58">19976 4538 0,'66'-14'15,"-53"14"-15,1 0 16,-1 0-16,0 14 15,0-14-15,-13 26 16,-13-26-16,13 13 16,0 1-16,-26 25 15,12-39-15,-12 53 16,13-53 0,13 13-16,-27 14 15,27-14-15,0 0 16,13 0-1,1 1-15,-1-14 16,0 0-16,0 0 16,1 13-1,-1-13-15,0 0 0,14 0 16,-27-13-16,13 13 16,13 0-1</inkml:trace>
  <inkml:trace contextRef="#ctx0" brushRef="#br0" timeOffset="54512.76">20002 4696 0,'-13'0'15,"53"0"1,-27 0 0,14 0-1,-14-13-15,0 13 16,0 0-16</inkml:trace>
  <inkml:trace contextRef="#ctx0" brushRef="#br0" timeOffset="54827.05">20386 4577 0,'-26'27'31,"12"-1"-15,14 1 0,-26-1-16,26 1 15,-13-14-15,13 0 16,-13 13-1</inkml:trace>
  <inkml:trace contextRef="#ctx0" brushRef="#br0" timeOffset="55052.92">20214 4683 0,'27'13'31,"-14"1"-31,13-1 16,1 0-16,12 0 16,-12-13-1,-14 13-15,27-13 0</inkml:trace>
  <inkml:trace contextRef="#ctx0" brushRef="#br0" timeOffset="56160.06">21550 4630 0,'27'-13'15,"-1"-13"1,-26 12 0,0 1-16,0-13 15,0 12 1,-26-12-16,13 26 15,-1 0 1,1 13-16,-13 0 0,-14 14 16,27-14-1,-1 27 1,28-14-16,12 1 16,1-27-1,-14 0-15,53 0 16,-40-27-16,1 14 15,-14 0-15,0 0 16,1-14 0,-41 54 15,27-14-15,0 0-1,0 0-15,13 0 16,1-13-1,12 0-15,-13 0 0,-13-13 16,27 13 0,-1 0-1,-13 13 1,-13 1-16,0-1 31,0 0-31,14-13 16,-1-13-1,-13 0 1,-13-1 0,-14 28-1,1 12 1,13 1-16,-1-14 16,28 0-1,38-13 1,-25-13-1,-1 0-15,1-1 16,-14 1-16,0 0 16,-13 0-16,0-1 15,-13 1-15,0 13 16,-53 0 0,26 0-16</inkml:trace>
  <inkml:trace contextRef="#ctx0" brushRef="#br0" timeOffset="56628.84">20532 4908 0,'79'0'16,"-13"-13"0,27 13-16,66-13 15,13 13 1,-40-14-1,-53 14 1,-52 0-16,-14 0 16,0 0-1</inkml:trace>
  <inkml:trace contextRef="#ctx0" brushRef="#br0" timeOffset="58135.88">20823 5331 0,'0'40'31,"0"-27"-31,13 1 16,-13-1-16,13 13 0,-13-13 15,13-13-15,1 27 0,-1-14 16,0-13-16,0 0 16,1 0-1,-1-26 1,-13 12-16,13-12 16,-26-14-16,13 1 15,-13 12-15,13 14 0,-14-14 16,14 1-16,-13 13 15,13-14 1,0 14-16,0 0 16,27 0-1,-14 13-15,66-14 16,-52 14 0,12 0-16,14-13 15,-13 13-15,26-13 16,-26 13-1,-27 0-15,0 0 16,0 0 0,-26 13-1,13 0-15</inkml:trace>
  <inkml:trace contextRef="#ctx0" brushRef="#br0" timeOffset="58899.01">21299 5384 0,'-13'27'15,"-14"-14"1,-12 27 0,12-27-1,14 13-15,0-12 16,13-1 0,-14-13-16,28 13 15,-1-13-15,13 0 16,-12 0-1,12 0-15,-13 0 16,14 0-16,-1 0 16,-13 0-16,1-13 15,-1 13 1</inkml:trace>
  <inkml:trace contextRef="#ctx0" brushRef="#br0" timeOffset="59133.36">21259 5411 0,'0'-13'16,"-13"39"0,13-13-16,0 0 15,0 80 1,-13-53-1,13-14 1,0-13-16,-13 1 16,13-1-16,0 0 15,13 0-15</inkml:trace>
  <inkml:trace contextRef="#ctx0" brushRef="#br0" timeOffset="59780.14">21590 5371 0,'-40'53'15,"27"-40"-15,0 40 16,0-40-16,13 1 16,0-1-16,26 26 15,-13-12-15,14-27 16,-14 13-16,0-26 16,27 13-1,-27-13 1,0-1-16,-13 1 15,-13 0 1,-13-13-16,-14 12 16,27 14-16,0 0 15,-1 0-15,-12 0 16,13 0-16,-14 14 0</inkml:trace>
  <inkml:trace contextRef="#ctx0" brushRef="#br0" timeOffset="61668.97">20413 5212 0,'-516'238'16,"436"-198"-16,-12 0 0,-80 52 16,13 1-16,40-27 15,13 0 1,66-26-16,14-27 0,-53 40 16,52-26-1,14-27-15</inkml:trace>
  <inkml:trace contextRef="#ctx0" brushRef="#br0" timeOffset="61907.24">18931 5741 0,'-238'318'15,"225"-292"-15,13 1 16,52 52 0,41-39-16,-27-27 0,93 0 15,-66 1-15,-1-14 0,1-14 16,105 14 0,-105-13-16,-14 13 0</inkml:trace>
  <inkml:trace contextRef="#ctx0" brushRef="#br0" timeOffset="65815.3">16894 7567 0,'13'0'0,"0"0"15,66-13 1,-52 13-16,13 0 0,39 13 16,-66-13-1,0 0-15,14 13 16</inkml:trace>
  <inkml:trace contextRef="#ctx0" brushRef="#br0" timeOffset="65967.72">16933 7766 0,'0'13'15,"27"-26"1,26 13-16,-14 0 15,1 0-15,13-14 16</inkml:trace>
  <inkml:trace contextRef="#ctx0" brushRef="#br0" timeOffset="66911.63">18838 7435 0,'27'-13'0,"-40"13"16,-1-14-1,-25 14-15,25 0 16,1 0-16,0 0 0,0 0 16,-1 0-16,-12 14 0,13-14 15,0 13-15,13 0 16,0 0-16,0 0 15,13 1-15,13 12 0,-13-13 16,27 40-16,-13-26 16,-14-14-16,0 27 15,-13-27-15,0 0 16,0 0-16,-40 27 16,27-27-1,-13 1-15,12-14 16,1 0-16,0 0 0,0 0 15,0-14-15,26 1 16,-13 0 0,13 0-16,13-14 15,1 14-15,13-27 0,-1 14 16,-25 13-16,-1-1 0,0 1 16,13-13-16,-26 12 15,14-12 1,-28 13-16,14-1 0,0 1 15,-13 13-15,0-13 0,0 0 16,0 13-16,-1 0 0,1-13 0,0 13 16,-14 0-1,1 13-15,-1 0 16,14 0 0</inkml:trace>
  <inkml:trace contextRef="#ctx0" brushRef="#br0" timeOffset="67261.11">19169 7408 0,'-79'80'16,"65"-41"-1,1-12-15,0-1 0,0 14 16,13-14-16,0-12 0,13-1 16,-13 0-16,13 0 0,14 14 15,-14-14-15,0-13 0,14 13 16,-14-13-16,13 0 16,1-13-16,-14 0 15,-13 0 1,-26-14-1,12 27 1,-12-13-16,13 13 16,-1 0-1,1 0-15,0-13 16</inkml:trace>
  <inkml:trace contextRef="#ctx0" brushRef="#br0" timeOffset="67495.92">19500 7395 0,'0'27'32,"0"-1"-32,-13-13 15,13 14-15,0-14 0,0 27 16,-14-27-16,14 27 15,27-239-15,-67 424 0,40-199 16,0-12-16,13 25 16</inkml:trace>
  <inkml:trace contextRef="#ctx0" brushRef="#br0" timeOffset="67695.91">19381 7567 0,'-13'0'0,"26"0"15,13-13 1,-13 13-16,27-13 16,-27 13-16,40 0 15,-40 0-15,1 0 16,-1 13-16,13-13 15</inkml:trace>
  <inkml:trace contextRef="#ctx0" brushRef="#br0" timeOffset="67935.64">19262 7792 0,'79'13'16,"-26"0"-1,-27-13-15,14 0 16,-13 0-16,-1 0 16,0 0-16,-12 0 0,39-13 15,-40 13-15</inkml:trace>
  <inkml:trace contextRef="#ctx0" brushRef="#br0" timeOffset="68495.12">20002 7395 0,'14'13'15,"-14"1"-15,0-1 16,0 26-16,0 28 16,-14-28-16,14-25 15,0 12-15,-13 27 16,13-13-16,0-27 15,0 13 1,0-12-16,13-14 16</inkml:trace>
  <inkml:trace contextRef="#ctx0" brushRef="#br0" timeOffset="68657.06">20227 7673 0,'0'-13'31,"0"-1"-31,0 1 16</inkml:trace>
  <inkml:trace contextRef="#ctx0" brushRef="#br0" timeOffset="69088">20466 7395 0,'39'-13'16,"-26"13"-16,1 0 16,12 0-16,14 0 15,-14 0-15,-12 0 0,-1 13 16,0-13-16,0 0 15,0 13-15,-13 1 16,14-1-16,-14 0 0,0 0 16,0 53-1,0-13-15,-14-39 16,14 25-16,0-12 16,14-1-1,-14-13-15,0 14 0,26-14 16,-26 0-1,13-13-15</inkml:trace>
  <inkml:trace contextRef="#ctx0" brushRef="#br0" timeOffset="69291.85">20532 7673 0,'13'-13'0,"-26"26"0,52-40 16,-12 27-16,-14 0 15,0-13-15,1 13 16,12 0-16,40-13 16,-26 0-16,-27 13 15,0 0-15</inkml:trace>
  <inkml:trace contextRef="#ctx0" brushRef="#br0" timeOffset="69763.78">21325 7395 0,'-53'0'16,"27"0"0,-27 27-16,13-1 15,14 0 1,13-26-1,13 14-15,13-1 16,0-13-16,14 0 16,-1-13-16,1 13 15,-1-14-15,-13 14 16,0 0-16,-13-13 16,14 13-16,12 13 15,-26 1-15,0-1 16,0 0-16,0 27 15,0 0-15,0-14 16,0 27 0,0-27-16,0-12 15,0 12-15,0-13 16</inkml:trace>
  <inkml:trace contextRef="#ctx0" brushRef="#br0" timeOffset="70126.86">19288 8096 0,'278'-13'0,"-212"0"0,13 13 16,67-13-16,-67 13 15,159-14-15,-158 14 16,-1 0-16,54 0 15,-81 0-15,120 0 16,-132 0-16,-13 0 16,-14 0-16</inkml:trace>
  <inkml:trace contextRef="#ctx0" brushRef="#br0" timeOffset="70444.33">19381 8215 0,'172'14'0,"-27"-14"16,-65 13-16,-1-13 15,93 0-15,-93 0 0,14 0 0,52 0 16,-78 0-1,-14 0-15,52 0 0,-65 0 16,26 0-16,-13 0 0,-40 0 16,14 0-16,12 0 15,-25 0 1,12 0 0,-13 0-16,-13-13 15,14 13 1,-14-14-1</inkml:trace>
  <inkml:trace contextRef="#ctx0" brushRef="#br0" timeOffset="78999.59">15227 9287 0,'-13'13'31,"-1"0"-31,14 1 0,0-1 16,-13 0-16,13 0 15,0 0-15,0 1 0,13-1 16,-13 0-16,0 0 16,0 1-16,14-1 0,-14 0 0,0 0 15,13 1-15,0-1 16,0 13-16,0-26 15,1 0-15,-14 13 0,13-13 0,0 0 32,0 0-32,1 0 15,-1-13-15,0 0 16,14-13 0,-14 26-16,-13-14 15,13 14-15,0-13 0,0 0 16,1 13-16,12-13 15,1-1-15,-14 14 0,0-13 16,0 13-16,1 0 0,-1 0 0,0-13 16,0 13-16,0 0 0,1 0 15,-1 0-15,0 13 0,0-13 16,1 0-16,-1 0 0,0 13 0,0-13 16,0 14-16,27 25 31,-27-39-31,1 14 0,-1-1 15,0-13-15,0 13 0,1-13 16,-1 13-16,13-13 16,-13 0-16,1 0 15,-1 0-15,0 0 0,14 0 16,-14 0-16,0-13 16,0 13-16,1 0 0,-1-13 15,0 13-15,0-13 16,0-1-1,1 14-15,-14-13 0,13 13 16,0-13 0,0 13-16,1-13 0,12 13 0,-13-14 15,14 14-15,-1-13 0</inkml:trace>
  <inkml:trace contextRef="#ctx0" brushRef="#br0" timeOffset="81334.89">17304 9260 0,'13'14'31,"-13"12"-15,13-13-16,-13 1 15,13 12 1,1-13-16,-1 0 0,-13 1 15,13-14-15,0 13 16,1-13 0,12 0-1,-13 0 1,0-13-16,1 13 16,-14-14-16,13 14 0,0-13 15,0 13 1,1-13-16,-1 0 0,0 13 15,0 0-15,14-13 0,-14 13 16,0 0-16,27-14 16,-27 14-16,0 0 15,1 0-15,-1 14 0,0-14 0,0 0 0,1 0 16,-1 13-16,0-13 16,0 0-16,0 13 0,1-13 0,-14 13 15,13-13-15,0 13 0,0 1 16,1-1-1,-1 0-15,0-13 16,-13 13 0,13-13-1,14 0 17,-14-13-17,0 13-15,0 0 0,1-13 16,-1 13-16,0 0 0,0 0 0,1 0 15,12 0-15,-13 0 0,1 0 16,-1 0-16,26 0 0,-25 0 16,-1 0-16,27 0 0,-1 13 15,-26-13 1,14 0-16,-14 0 16,0 0-16,1-13 0,-1 13 15,0-13-15,0 13 16,1-14-16,-1 1 15,0 0 1,0 0-16</inkml:trace>
  <inkml:trace contextRef="#ctx0" brushRef="#br0" timeOffset="89130.81">11099 12091 0,'133'14'16,"-54"-1"-16,27 0 16,26 0-16,27-13 15,-67 14-15,1-14 16,0 0-16,39 13 0,0-13 0,146 13 15,-132-13-15,-1 0 0,14 13 16,158 1-16,-158-14 16,185 13-16,-172 0 0,13-13 0,371 26 31,-186-26-31,-171 14 0,-14-1 0,0-13 16,0 13-16,14 0 0,-14-13 15,-13 14-15,0-1 0,317 13 16,-198 1-1,-158-14-15,-27-13 0,-14 13 0,1-13 16,-14 13-16,106 1 16,-132-14-16,-26 0 0,-14 13 15,13-13-15</inkml:trace>
  <inkml:trace contextRef="#ctx0" brushRef="#br0" timeOffset="89744.26">14579 12039 0,'0'66'16,"-14"-53"-16,14 13 0,0 1 15,0-1-15,-13 1 16,13-1-16,0 1 0,-13-1 0,13 27 15,0-40-15,0 27 16,0-27-16,-13 14 0,13-14 16,0 0-16,13 0 0,-13 1 15</inkml:trace>
  <inkml:trace contextRef="#ctx0" brushRef="#br0" timeOffset="90469.05">14539 12806 0,'-27'0'16,"14"0"-16,13 53 15,0-27-15,27 1 16,-27-1-16,13-13 0,0 14 0,0-14 15,-13 0-15,14 27 16,-14-14-16,0-12 0,0-1 16,-14 0-16,1 0 15,0-13 1,0 0-16,-1-13 0,14 0 16,-13 13-16,13-13 15,13-1-15,-13 1 0,0 0 16,27-13-16,-14-1 0,-13 14 15,13 0-15,14-27 16,-14 27-16,0-14 16,-13 14-16,0 0 0,0 0 0,13-1 0,-13 1 15,-13 0-15,13 0 16,0-1-16,-13 1 0,0 0 16,0 0-16,-1 13 15,1-14-15,0 14 16,0 0-16,-1 0 15,1 14-15,0-1 16</inkml:trace>
  <inkml:trace contextRef="#ctx0" brushRef="#br0" timeOffset="90744.7">14790 12793 0,'0'92'16,"13"-52"0,-13-27-16,14-13 0,-14 13 0,13 1 15,0-14-15,0 13 0,1-13 16,12 0-16,-13 0 16,0-13-1,-26-1 16,0 1-31,0 13 0,0 0 0,-27 0 16,27 0-16,-1 13 16,-12-13-16,13 0 0,0 0 0,-1 0 15</inkml:trace>
  <inkml:trace contextRef="#ctx0" brushRef="#br0" timeOffset="91763.02">12396 11933 0,'13'-14'15,"-13"41"-15,-13 13 16,13-14-16,0 1 15,-14 39-15,14-27 0,0-12 16,-26 92 0,26-93-16,-13-12 15,13 25-15,0 1 0,0-27 16,-13 0-16</inkml:trace>
  <inkml:trace contextRef="#ctx0" brushRef="#br0" timeOffset="92376.17">12224 12594 0,'-27'-13'16,"41"39"-16,-1 14 15,0-27-15,0 14 32,0-1-32,-13 14 0,0-14 15,0 1-15,-13-1 16,13-12-16,-13-1 0,0 0 0,0-13 15,-1 13 1,1-26 0,13 0-16,0 0 0,13-40 15,1 26 1,-1 14-16,-13-14 0,13 1 16,0 13-16,-13 0 0,0-1 0,0 1 15,0-13-15,0 12 16,-13 1-16,0 0 15,0 0-15,-1 13 16,1 0-16,0 0 16,0 0-16,13 13 15</inkml:trace>
  <inkml:trace contextRef="#ctx0" brushRef="#br0" timeOffset="92700.88">12594 12568 0,'-40'39'16,"27"-39"-16,13 14 0,-13-1 15,0 0-15,0 0 0,-1-13 16,-12 27-16,26-14 15,-13-13-15,13 13 0,-14 0 16,28 1 0,-14-1-16,13-13 15,0 13-15,14-13 16,-14 13-16,0-13 0,0 0 16,14 0-16,-14 14 0,0-14 15,0 0-15,1 0 16,-1-14-16,-13 1 15</inkml:trace>
  <inkml:trace contextRef="#ctx0" brushRef="#br0" timeOffset="92892.66">12581 12621 0,'-13'26'15,"13"1"1,0-14-16,13-79 0,-26 145 15,13-66-15,0 0 0,0 1 16,0 25-16,0-25 0,0 12 16,0 1-1,0-14-15,0 0 0,13 0 16</inkml:trace>
  <inkml:trace contextRef="#ctx0" brushRef="#br0" timeOffset="93072.1">12779 12740 0,'-13'-14'16,"13"1"-1</inkml:trace>
  <inkml:trace contextRef="#ctx0" brushRef="#br0" timeOffset="93391.93">12965 12607 0,'26'0'16,"-13"14"0,-13-1-16,-13 0 15,13 0-15,-13 14 16,0-14-16,13 0 0,-14 0 0,14 1 16,-13-1-16,13 0 0,-13 0 15,0 1 1,13-1-16,0 0 15,13-13 1,-13 13-16,13-13 16,0-13-16,1 13 15,-1-13-15,0 13 16,0-13-16</inkml:trace>
  <inkml:trace contextRef="#ctx0" brushRef="#br0" timeOffset="93550.07">13229 12621 0,'13'-14'16,"-13"28"0,0-1-16,0 0 0,0 0 15,0 14 1,0-14-16,0 0 16,-13 0-16,26 1 15,-13-1-15</inkml:trace>
  <inkml:trace contextRef="#ctx0" brushRef="#br0" timeOffset="94271.78">17079 12158 0,'-13'13'15,"13"27"1,0-27-1,-14 40-15,14-14 16,0-12-16,0 26 16,0-14-16,0-25 15,0-1-15,14 0 0,-14 0 16,0 1-16,13-1 0</inkml:trace>
  <inkml:trace contextRef="#ctx0" brushRef="#br0" timeOffset="94864.73">16854 12912 0,'-26'-14'16,"26"41"-1,0-14-15,13-13 16,-13 13-16,13 14 0,0 13 16,-13-27-1,0 0-15,0 13 0,-13-12 16,0-1-16,0 0 16,-1-13-16,1 0 15,13-13 1,-13 13-16,13-13 0,0-1 15,0 1 1,13 0-16,0 0 0,1 0 16,12-27-16,-13 27 15,0-1-15,1 1 16,-14 0-16,0 0 0,13-1 0,-13 1 16,0 0-16,-13 0 0,13 0 15,-14-1-15,-12-12 31,13 26-31,0 0 0,13 13 16,-14-13 0,14 13-16,-13 1 0</inkml:trace>
  <inkml:trace contextRef="#ctx0" brushRef="#br0" timeOffset="95088.4">17145 12872 0,'26'26'16,"-12"-12"-16,-14-1 0,0 0 16,0 0-16,0 1 0,0-1 15,0 40 1,0-40-16,-14 13 0,14-12 0,0 12 15,0-13 1,-13 1-16</inkml:trace>
  <inkml:trace contextRef="#ctx0" brushRef="#br0" timeOffset="95279.63">17145 13057 0,'0'-13'32,"13"13"-32,0 0 15,1 0-15,-1-13 0,0 13 16,0 0-16,1 0 0,-1 0 16</inkml:trace>
  <inkml:trace contextRef="#ctx0" brushRef="#br0" timeOffset="95648.05">17462 12779 0,'27'0'31,"-14"14"-31,0-14 16,1 0-16,-1 13 0,0 0 15,-13 0-15,13-13 0,1 27 16,-14-14-16,13 13 15,-13-12-15,0-1 0,0 0 0,0 0 16,0 1-16,0-1 0,0 0 16,0 0-16,0 1 15,0-1-15,0 0 0</inkml:trace>
  <inkml:trace contextRef="#ctx0" brushRef="#br0" timeOffset="95829.43">17489 12978 0,'0'-13'16,"0"-1"0,13 14-16,-13-13 15,13 13-15,1 0 0,12-13 16,1 13-16,12-13 15,14-1-15,-40 1 0</inkml:trace>
  <inkml:trace contextRef="#ctx0" brushRef="#br0" timeOffset="96075.7">17899 12766 0,'-26'-13'16,"12"13"-16,1 0 0,0 0 15,13 13-15,-13-13 0,-1 0 16,107 0-16,-199 13 0,119 1 31,1-14-31,-14 13 16,13-13-16,0 13 0,0 0 15,1 1 1,-14-1-16,0 0 16,0 0-16,0 0 0,-14 1 15,14-1-15,-13 0 0,13 0 0,-13 1 16,0-1-16,-1 0 15,1-13-15</inkml:trace>
  <inkml:trace contextRef="#ctx0" brushRef="#br0" timeOffset="96377.16">17330 13070 0,'13'0'16,"-13"-13"0</inkml:trace>
  <inkml:trace contextRef="#ctx0" brushRef="#br0" timeOffset="97661.07">12211 13361 0,'-27'14'16,"14"-1"-1,0 27-15,13-27 16,-14 0-16,14 14 0,0-1 0,0-13 16,0 14-16,14-1 0,-1 27 15,0-27-15,14 1 0,-14-1 16,0 1-16,27-1 0,-14 1 16,-13-14-16,14-13 15,-14 13-15,40-13 16,-27-13-1,1 0-15,-14 0 0,14-1 0,-1-12 16,27-27-16,-13 26 16,-1-12-16,1 12 0,53-39 15,-54 40-15,67-27 16,-53 40-16,-13-1 0,66-12 16,-1 26-16,-52 0 15,93 26 1,-93-26-16,-14 27 0,14-14 0,40 40 15,-14 0-15,-39-27 16,26 27-16,-26-26 0,13 12 16,0 14-1,26-13-15,-66-27 16,27 0-16,26 1 16,-53-14-16,40-14 15,-13 1-15,0-13 0,52-14 16,14 0-1,-53 14-15,0 13 0,0-1 16,0 1-16,-14 0 0,14 13 0,-13 0 16,53 0-16,-1 26 15,-12-12-15,-41-1 16,54 13-16,0-12 16,-41-1-16,68 0 0,-54-13 15,13-13-15,-13 13 0,14-13 16,78-1-16,80-39 15,-79 14-15,-27 12 16,-39 1-16,-53 13 16,-1-1-16,-12 14 15,39-26-15,-26 0 16,-27 12 0,0 1-16,-13 0 0,13-14 15</inkml:trace>
  <inkml:trace contextRef="#ctx0" brushRef="#br0" timeOffset="-202785.87">14698 10927 0,'-80'-39'16,"67"39"-16,0 0 15,-14 13-15,14-13 0,-13 13 16,-1 0-16,-39 14 16,53-14-16,0 0 0,-1 0 0,1 1 15,0-1-15,26 0 16,53-39 15,-26 12-31,-14 1 0,1 0 0,-1 0 16,1 0-16,-14-1 0,27 1 15,-27 0-15,0 13 16,0 13-16,1 0 16,-14 1-16,0-1 0,0 26 15,0-12-15,0-1 16,-14 1-16,14-1 0,0 1 0,-13 12 16,13-12-16,-13 13 15,13-27-15,0 0 0,-13 0 0,13 0 31,0 1-31,13-14 0</inkml:trace>
  <inkml:trace contextRef="#ctx0" brushRef="#br0" timeOffset="-202393.39">14989 10980 0,'-53'0'16,"26"0"-16,14 0 16,0 0-1,0 13-15,26-13 16,-13 14-16,13-1 15,-13 0-15,26 0 16,-12 1-16,-1-14 0,0 13 0,0 0 16,1 0-16,-1-13 0,0 13 0,0 14 15,-13-14 1,-13 14-16,0-27 16,-14 26-16,1-13 0,13 1 15,-27-1-15,0 0 16,27-13-16,0 13 15,0-13-15,-1-13 16,28 0 0</inkml:trace>
  <inkml:trace contextRef="#ctx0" brushRef="#br0" timeOffset="-202188.51">15399 10927 0,'13'-13'16,"-13"40"-16,-13-14 0,13 0 0,-13 0 15,13 0-15,-27 40 0,14-39 16,0 12-16,-1 40 0,1-53 16,0 1-16,13 12 0,-13-13 15,13 1-15,-14-1 0,14 0 16,-13-13-16</inkml:trace>
  <inkml:trace contextRef="#ctx0" brushRef="#br0" timeOffset="-202035.91">15227 11020 0,'-27'-13'16,"14"-1"-1,26 28 16,14-1-31,-40-26 0</inkml:trace>
  <inkml:trace contextRef="#ctx0" brushRef="#br0" timeOffset="-201918.18">15478 11139 0,'27'0'0,"-54"0"47</inkml:trace>
  <inkml:trace contextRef="#ctx0" brushRef="#br0" timeOffset="-200726.93">12369 12449 0,'66'-40'16,"-52"27"-16,118-67 31,-106 54-31,1-1 0,-14 14 16,0-13-16,-13 13 0,14-14 15,-14-39-15,0 0 16,-14 39-16,-12-79 16,13 80-16,-1 0 15,1 12-15,0 1 0,0 0 0,-1 0 16,-12-14-16,0 27 0,-14-13 15,27 13-15,-14 13 16,14-13-16,-14 13 0,1-13 16,-40 53-16,39-39 0,1 12 15,0 0-15,12-12 16,-12 12-16,-14 27 0,27-13 16,-14-1-16,14-12 15,0-1-15,13 1 0,0-1 16,-13 40-16,13-52 15,0 12-15,0 1 0,13-14 16,-13 13-16,13 14 0,0-27 16,-13 14-16,14-14 0,12 13 15,-13 1-15,1-14 16,-1 0-16,0 0 16,-13 1-16,13-14 15,-13 13-15,14-13 16,-14 13-16,13-13 15,0 0 48</inkml:trace>
  <inkml:trace contextRef="#ctx0" brushRef="#br0" timeOffset="-199519.67">16867 12462 0,'-26'0'16,"26"13"-16,0 0 16,13 1-1,0-1-15,0 0 16,40 13-1,0-12-15,-26-1 16,-1-13-16,14 0 0,13 0 16,-14 0-16,-12-13 0,13 13 15,26-14-15,-13-12 16,0-14-16,-27 14 16,0-14-16,-12 14 0,12-40 15,-26 26-15,0 13 16,0 1-16,0-14 0,-26-26 15,-40-26-15,39 65 16,-39-13 0,-13 27-16,-1 13 15,41 0-15,-54 27 0,53-14 16,1 27-16,-1-14 0,-13 40 16,-13 40-1,53-66-15,-1-14 0,14 27 16,14 0-1,12 0-15,27 0 0,-27-40 16,27 27-16,-26-40 16</inkml:trace>
</inkml:ink>
</file>

<file path=ppt/ink/ink20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5:48:11.289"/>
    </inkml:context>
    <inkml:brush xml:id="br0">
      <inkml:brushProperty name="width" value="0.05292" units="cm"/>
      <inkml:brushProperty name="height" value="0.05292" units="cm"/>
      <inkml:brushProperty name="color" value="#0070C0"/>
    </inkml:brush>
  </inkml:definitions>
  <inkml:trace contextRef="#ctx0" brushRef="#br0">7011 3096 0,'27'0'47,"-14"0"-47,0 0 0,14 0 0,-14 0 15,40 0-15,-27 0 16,54 0-16,-41 0 16,1 0-16,0 0 0,13 0 0,185-14 31,-185 14-31,0 0 0,0 0 16,-14 0-16,14 0 0,0 0 0,-13 0 15,13 0-15,0 0 0,0 0 0,105 0 16,-39 0-1,-66 0-15,0 0 0,0 0 16,0 0-16,0 0 0,0 0 0,0 0 16,0 0-16,0 0 0,0 0 15,0 0-15,-14 0 0,14 0 16,0 0-16,40 0 0,-54 0 16,1 0-16,0 0 0,-14 0 0,14 0 15,26 0-15,13 0 16,-52 0-16,13 0 0,-1 0 15,-12 0-15,12 0 0,1 0 16,-14 0-16,14 0 0,-13 0 0,12 0 16,1 0-16,-14 0 0,41-13 15,-28 13-15,-12 0 0,-1 0 16,14 0-16,-14 0 0,1 0 16,65 0-1,-65 0-15,-14 0 0,14 0 0,-14 0 16,0 0-16,27 0 15,-27 0-15,0 0 0,0 0 16,1 0-16,-1 0 16,0 0-16,-53 0 31,27 0-31,0 0 16,0 0-16</inkml:trace>
  <inkml:trace contextRef="#ctx0" brushRef="#br0" timeOffset="1233.14">11351 3069 0,'-27'0'16,"54"13"15,12-13-15,-25 0-16,25 0 16,1 0-16,119 0 15,-14 0-15,-79 0 0,93-13 16,-80 0-16,14 13 15,-14 0-15,14-13 0,92 13 16,-13-14-16,-92 14 0,12 0 16,80 0-16,-92 0 15,65 0-15,-26 0 16,-53 0-16,53 0 0,-66 0 16,0 0-16,0 0 15,0 0-15,13 0 0,27 14 16,-80-14-16,0 0 15,27 0 1,-27 0-16,0 0 0</inkml:trace>
  <inkml:trace contextRef="#ctx0" brushRef="#br0" timeOffset="2194.65">17330 3082 0,'27'0'31,"12"0"-15,14 0-16,0 14 15,119-1-15,185 0 32,-198 0-32,-80-13 15,146 14 1,-79-1-16,-27 0 15,-66-13-15,13 0 0,40 13 16,-53-13-16,66 0 16,-66 0-16,-27 13 15,1-13-15,-14 0 0,13 0 16,27 0 0,-39 0-16,-1 0 15,0 0 1,-39-26-1,-14 26 1,-26-13-16,13 13 16</inkml:trace>
  <inkml:trace contextRef="#ctx0" brushRef="#br0" timeOffset="3304.03">2143 3784 0,'40'0'32,"-14"-14"-32,54 14 0,-27-13 0,26 13 15,0-13-15,1 13 0,12-13 0,1 13 16,132-14-1,13 1-15,-145 0 0,145 0 16,-40 13-16,-105 0 16,-1-14-16,1 14 0,66 0 15,-27-13 1,-79 13-16,106 0 16,-106 0-1,-40 0 1,0 0-16,-13-13 15</inkml:trace>
  <inkml:trace contextRef="#ctx0" brushRef="#br0" timeOffset="4339.79">5927 3850 0,'26'0'0,"1"0"15,65-14-15,-26 14 0,14 0 16,-1 0-16,186-26 16,79 0-1,-119 12-15,-120 14 16,1-13-16,119 13 0,-26-13 15,-14 13-15,-93 0 16,67 0-16,-80 0 16,-12 0-16,144 0 15,-171 0-15,0 0 16,-14 0-16,1 0 0,-1 0 0,-13 0 16,27 0-16,-14 0 15,-12 0-15,-1 0 0,0 0 16,0 0-16,1 0 15,-1 0-15,0 0 16,0-13 0,0 13-1,1 0 32,-28-14 16</inkml:trace>
  <inkml:trace contextRef="#ctx0" brushRef="#br0" timeOffset="6059.87">10173 3691 0,'27'13'47,"-14"-13"-47,0 0 0,0 0 16,14 13-16,-1-13 0,54 0 15,-41 0-15,14 0 0,93 0 16,-67 0-16,93 0 16,27-13-16,39 13 15,198-13 1,-303 13-16,171 13 16,265-13-1,-437 13-15,0-13 16,67 14-16,-1-1 15,-118-13-15,12 0 0,54 13 16,39 0 0,-145-13-16,-1 0 15,-26 0-15,14 0 16,-14 0-16,0 0 16,1-13-16,-1 13 15,0-13 16</inkml:trace>
  <inkml:trace contextRef="#ctx0" brushRef="#br0" timeOffset="6636.36">17304 3823 0,'198'13'0,"-118"-13"15,78 14-15,-78-14 0,92 13 16,-93-13-16,93 13 15,-26-13-15,-94 13 16,15-13-16,-14 0 0,79 14 16,-106-14-16,14 0 15,-27 0-15,0 0 0,1 0 16,-41-14 0,1 14-1</inkml:trace>
  <inkml:trace contextRef="#ctx0" brushRef="#br0" timeOffset="7550.16">1191 4419 0,'330'-27'16,"-250"14"-16,158 13 15,-79-13-15,79-1 16,-106 14-16,-66-13 15,40 13-15,-27 0 16,-26-13 0,-26 13-16,-1 0 0,-13 0 0,1 0 15,-1 0-15,0 0 16,0 0-16,1 0 16,-1 0-16,0 0 15,0 0 1,1 0-1,-1-13-15,0 13 0</inkml:trace>
  <inkml:trace contextRef="#ctx0" brushRef="#br0" timeOffset="10692.48">10279 3717 0,'-26'0'16,"12"0"0,1-13-16,-13 13 15,12 0-15,1 0 0,0-13 0,-27 0 16,-13-1-1,40 1-15,-27 0 16,-12-13 0,25-1-16,1 14 15,-1 0-15,14-14 16,0 27-16,-1-13 0,14 0 16,-26-14-1,26 14-15,-13 0 16,13 0-16,0-1 0,0-12 15,13 13 1,-13-1-16,13 1 16,0 0-16,1 0 15,-1 0-15,-13-1 16,13 14-16,27-26 0,-27 13 16,0-1-16,1 14 15,-1-13-15,40-13 0,-40 26 16,13-14-16,27 1 0,-26 13 15,-1-13-15,14 13 16,-14 0-16,14-13 0,53 0 0,52-1 16,-105 14-1,52-13-15,1 13 16,13-13-16,-13 13 16,52-13-1,-92 13-15,-13 0 16,-1 0-16,80 0 0,-66 0 15,0 0-15,-13 0 0,53 0 16,-54 0-16,41 0 16,12 0-16,-39 0 0,13 0 15,27 0 1,-53 0-16,26 13 16,-40-13-16,14 0 0,0 13 0,79-13 15,-80 13-15,1-13 16,0 0-16,79 14 15,-80-14-15,14 13 0,13-13 16,-39 13-16,-1-13 0,186 26 31,-172-26-31,-1 0 16,1 14-16,0-14 0,39 0 16,-13 13-16,-39-13 15,79 0-15,-80 0 16,14 0-16,-14 0 0,1 13 15,-1-13-15,67 0 16,-40 0-16,13 0 16,-40 0-16,27 0 15,0 0 1,-13 0-16,39 0 16,-52 0-16,52 0 15,-66 0-15,40-13 0,0 13 16,13 0-1,-13 0-15,-13 0 16,-14 0-16,1 0 0,12-13 16,-12 13-16,13 0 15,-27 0-15,53 0 16,-53 0-16,14 0 16,-14 0-16,13 0 0,27 0 15,40 0 1,-67 0-16,1 0 0,12-14 15,-12 14-15,65 0 16,-25 0 0,-41 0-16,27 0 15,0 0-15,0 0 0,0 0 16,39 0 0,-65 0-16,-1 0 15,1 0-15,-1 0 0,40 0 16,27 0-16,-40-13 15,-27 13-15,14 0 16,-14 0-16,1 0 0,26 0 16,0 0-16,-14 0 0,14 0 15,-26 0-15,-1 0 16,80 0 0,-53 0-16,13 13 15,-39-13-15,-1 0 0,1 0 16,12 0-16,-26 0 0,67 14 15,-27-14 1,-27 0-16,1 0 0,-14 0 16,40 0-16,-13 13 15,26-13-15,-27 0 16,1 0 0,-27 0-16,40 0 0,-26 0 15,-14 0-15,79 0 16,-52 0-1,0 0-15,-27 0 16,0 0-16,67 0 16,-54 13-16,1-13 15,65 0 1,-65 0-16,-14 0 0,40 13 16,0-13-1,-27 0-15,27 14 0,0-14 16,0 13-16,-27-13 15,41 13-15,12-13 16,-66 0 0,40 13-16,-26-13 0,92 14 15,-93-14 1,0 0-16,120 26 16,-106-26-1,-1 13-15,28-13 16,-41 13-1,0-13-15,27 0 16,-26 14 0,-1-14-16,1 13 15,39 0 1,-40-13-16,-12 13 16,-1-13-16,0 0 15,40 14-15,-13 12 16,-27-26-1,0 0-15,14 13 16,12 14 0,-26-27-1,1 13-15,25 13 16,1 1 0,-13-14-1,-1 14 1,-13-27-16,0 26 15,1-13-15,-1 14 16,0-14 0,-13 13-16,0-12 15,-13 12 1,0 1 0,-1-14-16,1-13 0,13 13 15,-13-13-15,-13 26 0,12-26 16,-25 27-1,-1-14-15,-13 0 16,0-13-16,0 14 16,-39-1-16,25 0 15,28-13-15,-54 13 16,53-13-16,14 0 16,13 14-16,-67-14 15,54 0-15,-27 0 16,0-14-16,13 14 15,-13 0-15,-13 0 16,-13-13 0,53 13-16,-41-13 15,28 13-15,-67-13 16,-53-1-16,53 1 16,14 0-16,-14 13 15,-13 0 1,13-13-1,-26-1 1,92 1-16,-13 13 0,13-13 16</inkml:trace>
  <inkml:trace contextRef="#ctx0" brushRef="#br0" timeOffset="11376.84">16126 3678 0,'-185'-27'31,"159"27"-31,-146-26 16,119 26-1,13-13 1,-26 13 0,40 0-16,12 0 15,-12 0 1,13 0-16,-27 0 15,-13-14-15,27 14 16,-1 0-16,1 0 0,-54 0 16,41 0-1,25 0-15,-65 0 16,26-13 0,27 13-16,-54 0 15,54 0 1,-40 0-1,-14 13-15,67-13 16,-53 0 0,53 0-16,-27 0 15,27 0-15,-93 0 16,93 0 0,-27 0-1,-13 14 1,0-14-1,13 0 1,27 0 0,-53 13-1,0 0 1,39-13 0,14 0-1,-26 13-15,12-13 16,1 13-1,12-13-15,1 0 16,0 0 0,-27 0-1,14 0 1,13 0-16,-1 0 16,1 0-16</inkml:trace>
  <inkml:trace contextRef="#ctx0" brushRef="#br0" timeOffset="13419.61">19526 741 0,'0'26'31,"-26"14"-15,13-40-16,-14 40 16,14-27-16,-27 13 15,27 1-15,-13-1 16,26-13-16,-14-13 0,14 14 15,0-1-15,27 13 16,12-26 0,-12 14-16,-14-14 15,14 0-15,25-14 16,1 14-16,-13 0 0,0-13 16,-14 13-16,-13 0 15,27-13-15,-40 0 16,13 13-16,1-14 15</inkml:trace>
  <inkml:trace contextRef="#ctx0" brushRef="#br0" timeOffset="13652.96">19645 741 0,'-26'-13'15,"13"26"1,13 0-16,-14 0 15,1 27 1,0 0-16,13-14 0,-13 53 16,-1-39-1,1 26-15,0-26 16,13-14-16,0 1 16,132-437-16,-251 833 15,132-423-15</inkml:trace>
  <inkml:trace contextRef="#ctx0" brushRef="#br0" timeOffset="13961.68">19950 807 0,'-67'53'15,"54"-13"1,13-27-16,-13 13 15,13-13-15,13 14 16,0-14-16,1 0 16,-1-13-16,0 0 15,0-13 1,1 0-16,-14 0 16,0-146-16,13 318 0,-13-173 15,-27 1 16,-26 26-15,40-13-16,-40 14 16</inkml:trace>
  <inkml:trace contextRef="#ctx0" brushRef="#br0" timeOffset="14413.02">19262 1495 0,'304'0'32,"-13"-66"-17,13-93 16,-224 80-15,-27 26-16,-1-93 31,-52 106-31,0-118 16,-13 118-16,-40-79 16,27 79-16,-305-132 31,278 172-16,0-13-15,-317 119 32,251 0-17,26 13 1,67 92 0,105-105-1,14-53 16</inkml:trace>
  <inkml:trace contextRef="#ctx0" brushRef="#br0" timeOffset="15091.24">19936 992 0,'27'-132'31,"-1"66"-31,27-14 32,-40 54-32,1 13 15,-1-14 1,0 27-1,-26 27 17,-27 12-32,27 1 15,-40 39 1,13-12 0,14-1-1,52-40-15,-52-13 16,26 1-16,40 52 15,-14-53 1,-13-13-16,27 0 16,0-13-1,-1-14-15,-25 27 16,-1-13-16,0 0 16,0-14-16,-26 1 15,13 13 1,-26-1-1,12 14-15,-12 0 16,13 0-16,-14 14 16,14-14-1</inkml:trace>
  <inkml:trace contextRef="#ctx0" brushRef="#br0" timeOffset="16240.92">20122 1389 0,'119'-13'15,"0"0"1,-53 13-16,278-14 16,-265 14-16,-26-13 15,13 13-15,133 0 16,-173 0-1,1 0-15,25 0 16,-25 0-16,-14 0 0,14-13 16,-14 13-1,0 0-15,-13-13 16</inkml:trace>
  <inkml:trace contextRef="#ctx0" brushRef="#br0" timeOffset="16521">21220 1138 0,'105'13'0,"-78"-13"0,26 26 16,-14-12-16,41 39 15,-67-40 1,14 0-16,12 27 0,-26-1 16,1-25-16,-14 12 0,0 14 15,-14-1 1,-12 14-16,0-26 0,-14 13 16,13-14-16,14-13 0,-27 14 15,27-14-15,0 0 16</inkml:trace>
  <inkml:trace contextRef="#ctx0" brushRef="#br0" timeOffset="23278.89">3678 5398 0,'53'13'0,"26"-13"15,-26 0-15,13 13 16,159-13-16,-146 0 15,93-13 1,-92 13-16,65 0 0,-13-13 16,-12-1-16,-81 14 0,1 0 15,-14 0-15,27 0 16,-13-13-16,-27 13 16,14 13-16,-14-13 15,0 0-15,14 14 16</inkml:trace>
  <inkml:trace contextRef="#ctx0" brushRef="#br0" timeOffset="24481.16">9750 5278 0,'40'40'15,"105"26"1,-66-39 0,1-14-16,-27 0 15,39 0-15,-39-13 16,53 0-16,198-26 16,-92-14-1,-119 14 1,-1 13-1,-12-27-15,-54 27 16,14-1-16,-14 1 0,1 0 0,-1 0 16,27-40-16,-13 13 15,-27 27-15,0 0 16,-13-14-16,27-12 0,-27 12 16,13-13-16,-13 14 15,0-1-15,-13 1 0,13-14 16,-14 1-16,-12-41 0,13 41 15,-14 12-15,-12-39 0,-1 0 16,13 39-16,-25-12 16,-94-41-1,106 67-15,1 0 0,-14 13 16,13-13-16,-13 13 0,-53-14 16,67 28-16,-14-14 0,0 0 15,13 0-15,-52 26 0,52-26 16,-40 27-16,-39 25 15,93-25 1,-14-1-16,-39 27 0,39-26 16,-26 26-16,40-27 15,-1 1-15,-26 25 0,27-25 16,12 13-16,-25 13 0,26-14 16,-1 27-16,14-13 15,0-26-15,0 12 16,14 1-16,25 13 0,-12-13 15,39-1-15,-26-12 16,-1-1-16,41 1 0,12-1 16,-26 1-16,-26-27 15,26 13-15,-26 0 16,-14 0-16</inkml:trace>
  <inkml:trace contextRef="#ctx0" brushRef="#br0" timeOffset="32260.67">1296 6469 0,'14'13'32,"12"-13"-32,27 0 0,93 14 15,-27-1 1,119-13 0,-79 0-16,-80 0 0,172 0 31,-13 0-31,-171 0 15,-1 0-15,40-13 0,52 13 32,-131 0-32,12 0 0,-12 0 15,-14 0-15,14 13 16,12 0 0,-26-13-1</inkml:trace>
  <inkml:trace contextRef="#ctx0" brushRef="#br0" timeOffset="33010.05">7157 6469 0,'79'13'0,"-52"-13"15,12 0-15,67 0 0,225 0 32,-238 0-32,-1 0 0,120 0 15,26 0-15,-119 14 16,225-14-16,-238 0 0,0 0 15,66 0-15,53 0 16,-93 13 0,-79-13-16,-27 0 15,-12 0 1,12 0-16,-13 0 16,0 0-1</inkml:trace>
  <inkml:trace contextRef="#ctx0" brushRef="#br0" timeOffset="33713">12330 6350 0,'370'26'15,"-277"-26"-15,12 0 16,28 14-16,131-1 0,305 27 16,-13-1-1,-318-25 1,-40-14 0,107 13-1,-213 0-15,-65-13 16,39 0-1,-53 0-15,0 0 16,-39 0 0,-1 0-1,1 0-15</inkml:trace>
  <inkml:trace contextRef="#ctx0" brushRef="#br0" timeOffset="35053.19">8467 7845 0,'13'-13'15,"-13"-1"1,-40 14-1,14 14 1,13-14-16,-1 13 0,-39 0 16,27 0-1,13 14-15,-1-14 16,14 0-16,14 1 16,39 12-1,-40-13 1,53 0-16,-53 1 15,14-1-15,-14-13 16,27 13-16,-27 0 0,0 1 16,-13 12-1,-26-13-15,-67 40 32,40-40-32,40-13 15,0 14-15,-27-14 16,13 0-1</inkml:trace>
  <inkml:trace contextRef="#ctx0" brushRef="#br0" timeOffset="35934.31">13070 7858 0,'0'13'16,"0"1"-16,-26 52 15,26-40-15,-13 14 16,0-27-16,13 14 0,-14-14 16,1 66-1,13-66-15,-13 14 16,13-14-1,26 0-15,1-13 16,-1 0-16,-13 0 0,40-13 16,27 13-1,-27 0-15,-27-13 16,14 13 0,-27 0-16,13 0 0,-12 0 0,-1 0 15,-40-13 16,14 13-15</inkml:trace>
  <inkml:trace contextRef="#ctx0" brushRef="#br0" timeOffset="37605.08">13110 7911 0,'0'-26'16,"0"12"-1,-13 41 17,0-1-17,-1 1-15,14-1 16,-13-13-16,-13 40 16,13-13-1,-1-14-15,1-12 0,13-1 16,-13 13-1,13 1-15,-13-27 16,13 13-16,0 0 31,0 1-15,13-14 0,0 0-16,0 0 15,27 0 1,-27 0-16,14 0 15,-14 0-15,13 0 0,14 0 16,-14 0 0,1 0-16,-1 0 0,-12 0 15,-1 0-15,0 0 16,0 0-16,1 0 0,-1 0 16,0 0-1,0 0 32,-26-27 62,0 27 173,0 0-267,-14 0 17,1 13-32,-14-13 15,27 0-15,-1 0 16,-25 14-16,12-14 15,1 0-15,13 0 16,-1 0-16,1 0 16,0 0-16,0 0 15,0 0-15,-1 0 16,1 0 0,13-14 46,0 1-31,13 0-31,-13 0 16,14-14 0,-1 14-1,-13 0-15,0-1 0,13 1 0,-13 0 16,0 0-16,13 13 0,-13-13 15,13-14-15,-13 14 0,14-14 16,-14 14-16,13 0 16,-13 0-1,0 0 1,13-1 0,-13 1 15,0 0 16</inkml:trace>
  <inkml:trace contextRef="#ctx0" brushRef="#br0" timeOffset="38788.72">8334 9723 0,'-13'0'16,"0"14"15,0-14-15,-1 13-1</inkml:trace>
  <inkml:trace contextRef="#ctx0" brushRef="#br0" timeOffset="38924">8268 9750 0</inkml:trace>
  <inkml:trace contextRef="#ctx0" brushRef="#br0" timeOffset="39564.69">13295 9340 0</inkml:trace>
  <inkml:trace contextRef="#ctx0" brushRef="#br0" timeOffset="39713.26">13388 9313 0,'13'0'0,"-13"-13"16</inkml:trace>
  <inkml:trace contextRef="#ctx0" brushRef="#br0" timeOffset="39880.6">13467 9327 0,'14'0'16</inkml:trace>
  <inkml:trace contextRef="#ctx0" brushRef="#br0" timeOffset="44686.72">10729 7594 0,'-13'0'47,"26"-14"31,0 14-62,-13-13-16,13 13 16,1-13-1,-1 0-15,0 13 16,0 0-16,0 0 16,1-14-16,-1 14 15,0 0 1,0 0-16,1 0 15,-1 0 1,-13 14-16,13-14 16,0 0-1,1 0 1,-14 13 0,13-13 15,0 0-16,-13 13 17,13-13 155,0 0-156</inkml:trace>
  <inkml:trace contextRef="#ctx0" brushRef="#br0" timeOffset="58500">10980 10385 0,'0'13'32,"0"0"-17,13 14 1,1-1 0,-1-12-16,0-14 0,-13 13 15,13-13-15,1 0 16,-1 0-16,13 0 15,1 0 1,-14-13-16,0-1 16,0 14-16,1-13 15,-1 0-15,-13 0 0,13 13 16,-13-27-16,0 14 16,0 0-1,0-1-15,0 1 16,0-13-16,-13 13 15,0-14 1,-1 14 0,1 0-16,0-1 15,0 1 1,-1 13-16,1 0 16,0-13-16,0 13 0,0 0 15,-1 0 1,1 0-16,-13 13 15,12 0-15,14 1 16,-13-14-16,13 13 16,-13-13-16,13 26 0,-13-12 15,13-1-15,0 0 16,0 0-16,-13 0 16,13 1-16,0-1 15,0 13-15,13-12 16,-13-1-1,13 0-15,0 0 16,0 1-16,27-1 31,-27-13-15,1 0-16,-1 13 16,13-13-1,-13 0-15,1-13 16,-1 13-16,0 0 15,0-13 1,1-1 0,-14 1-16,13 0 0,-13 0 31,0-1-31,0-12 16,0 13-16,0-1 15,0 1 1,0 0-16,-13 13 0,13-13 15,-14 13-15,14-13 16,-13 13-16,0-14 16,0 14-1,-1 0-15,1 14 16,0-14 0</inkml:trace>
  <inkml:trace contextRef="#ctx0" brushRef="#br0" timeOffset="60354.65">10888 10134 0,'-14'-14'16,"1"14"15,0 14-31,13-1 16,-13 0-16,13 0 15,-14 14-15,14-14 16,0 0-1,0 0-15,0 1 16,0-1-16,14 0 16,-1-13-1,0 0-15,0 0 16,1-13 0,-14 0-16,13 13 15,0-14-15,-13 1 16,13 0-16,-13 0 15,0-14 1,0 1-16,-13 13 16,13-1-16,0 1 15,-13-13 1,0 26-16,-1-14 16,1 14-1,0 0 1,0 0-1,-1 14 1,1-1-16,13 0 0,-13 0 16,13 1-1,-13-1-15,13 0 0,0 13 32,0-12-32,0-1 15,0 0 1,13 0-16,0-13 31,0 0-15,1 0-16,-14-13 15,13 13 1,-13-13-16,0 0 0,0-1 16,0 1-1,0 0-15,-13 13 16,13-13-1,-14 13-15,1 0 16,0 13 0,0-13-16,13 13 15,-13-13 1</inkml:trace>
  <inkml:trace contextRef="#ctx0" brushRef="#br0" timeOffset="61280.05">11496 7263 0,'27'-13'16,"-14"-1"-16,27 14 15,12-13-15,15 0 16,-41 13-16,106-27 16,-105 27-1,39-13-15,-13 0 16,-40 13-16,0 0 16,1 0-1,-1 0-15,0-13 16</inkml:trace>
  <inkml:trace contextRef="#ctx0" brushRef="#br0" timeOffset="61636.05">11708 7104 0,'-80'40'15,"67"-27"1,-13 13 0,-1 14-16,14-27 15,13 14-15,-13-1 0,13 1 31,0-14-31,26 13 16,-12-12-16,25-1 16,-26 0-1,67-13 1,-54 13-16,1-26 16,-14 13-1</inkml:trace>
  <inkml:trace contextRef="#ctx0" brushRef="#br0" timeOffset="62517.72">12581 7051 0,'-13'0'0,"26"13"31,13-13-31,-12 0 16,25-13-16,-25 13 0,12 0 15,14-26-15,-14 26 0,14-27 16,-27 14 0,0 0-16,14-14 0,-14 14 15,-13-13-15,13-1 16,-13 14-16,-13 0 16,13-1-16,-26 54 31,12-13-16,14-14-15,0 13 0,0 54 16,0-54-16,0 14 16,14 26-1,-14-53 1,0 0-16,26 14 16,-13-27-1,0 13-15</inkml:trace>
  <inkml:trace contextRef="#ctx0" brushRef="#br0" timeOffset="62868.84">13018 7011 0,'39'53'31,"-26"-26"-31,-13 26 16,0-40 0,0 0-16,-13 40 15,-26-265 17,91 371-1,-38-198-31,-1 12 15,13-13 1,1 14 0,-14 13-16,0 13 15,0 0 1,1 0-16</inkml:trace>
  <inkml:trace contextRef="#ctx0" brushRef="#br0" timeOffset="63588.87">13348 6998 0,'-13'0'16,"0"0"-16,0 13 15,13 1-15,0-1 16,0 0-16,0 14 31,13-14-31,0 0 16,0 0-16,0-13 15,14 0 1,-14 0-16,0-13 0,1 0 16,-1 13-16,13-53 31,-26 26-15,14 14-1,-28 40 32,28-14-31,-1 13-16,0-26 15,0 14-15,0-14 16,1 0-16,52-14 16,-53 1-1,40-27 1,-40 27-16,-13 0 15,13 13-15,-13-26 16,-26 39 15,13 0-15,13 13-16,0-12 16,0 12-1,0-13-15,13 1 0,13 12 31,-12-13-31,-1-13 16,0 0-16,0 0 16,14-13-16</inkml:trace>
  <inkml:trace contextRef="#ctx0" brushRef="#br0" timeOffset="64279.8">14182 6919 0,'0'26'32,"13"14"-17,-13-27-15,0 0 16,13 1-16,-13-1 31,13-26 0,14-14-15,-1 14 0,-12 13-1,-1 0-15,0 0 16,13 26-1,-26-12 1,0-1-16,0 0 16,0 0-1,0-39 32,14 13-47,-1-1 16,0 14-16,-13-13 15,13 13-15,1 0 16,-1 0-16,13 13 16,-13 1-1,1-14-15,-14 13 0,26 0 16,-13-13 0,1 0-16,12 13 15</inkml:trace>
  <inkml:trace contextRef="#ctx0" brushRef="#br0" timeOffset="64674.09">14737 7025 0,'27'-27'0,"-14"14"16,-13 0-1,-13 0 1,-14 13 15,27 13-31,-13-13 0,13 13 16,-13 0-1,13 0-15,0 14 16,0-14-16,13 0 16,0-13-16,14 14 15,-14-14-15,13 13 16,14-13-16,-27-13 0,14 13 15</inkml:trace>
  <inkml:trace contextRef="#ctx0" brushRef="#br0" timeOffset="65406.76">15081 6972 0,'-39'-13'15,"25"13"-15,1 0 16,0 13 0,0-13-16,-1 13 15,14 0-15,-13 0 0,13 1 16,0-1 0,13 0-1,1-13 1,-1 0-1,0 0-15,0-13 32,1 13-32,-1-13 15,0-1 1,-13 1 0,13 13-16,-13-13 31,13 26 0,-13 0-15,0 1-1,0-1 1,14 0 0,-1-13 30,0 0-30,14-13 0,-14 26-1,0 0 17,0 1-17,1-1 32,-1-26-31,0 13-1,-13-14-15,26 14 16,-26-13-16,40 0 16,-27 13-16,-13-13 0,14 13 15,-1 0-15,0-14 0,27 1 16</inkml:trace>
  <inkml:trace contextRef="#ctx0" brushRef="#br0" timeOffset="65664.16">15782 6998 0,'40'-13'15,"-13"13"1,-14 0-16,40-13 16,-27 13-16,-13 0 15,1 0-15,-1 0 0,13-13 16,1-1-1</inkml:trace>
  <inkml:trace contextRef="#ctx0" brushRef="#br0" timeOffset="65899.66">16021 6813 0,'26'0'0,"-13"13"16,0-13-1,40 40-15,-39-27 16,-1 0-16,13 14 0,1 39 31,-27-53-31,-27 40 16,14-40-16,-13 27 16,12-27-16,-39 14 15,40-14-15,-26 0 16</inkml:trace>
  <inkml:trace contextRef="#ctx0" brushRef="#br0" timeOffset="66688.75">17251 6879 0,'13'13'47,"-13"1"-47,0-1 15,0 13-15,13-26 0,-13 14 16,0-1-16,0 0 16,14-13-1,-1-13 1,-13 0 0,13 13-16,-13-14 0,40-25 31,-27 39-31,0-14 15,0 14-15,1 14 16,-1-14-16,0 26 16,0-13 15,-13 1-31,13-14 16,-13 13-16,14-40 31,-1 27-31,0-13 15,-13 0-15,13 13 0,1-13 16,-1 13-16,13-14 16,1 14-16,-14 0 0,0 0 15,0 14-15,1-14 16,-1 13-16,0-13 0,-13 13 16,13-13-16,1 13 15,-1 1-15,-13-1 16,13-13-16,0 0 15,1 13 1</inkml:trace>
  <inkml:trace contextRef="#ctx0" brushRef="#br0" timeOffset="67033.48">17833 6998 0,'40'-39'16,"-27"25"-16,-66 67 0,119-132 15,-53 66-15,-13-1 16,0 1 15,-26 26-15,13 1-1,-1-1-15,14 13 16,0-12-16,0-1 16,14-13-16,-14 13 0,13-13 0,0 13 15,40 0 1,-13-13-16,13 0 16,0 0-16,26-13 15,-26 13 1,-27-13-16</inkml:trace>
  <inkml:trace contextRef="#ctx0" brushRef="#br0" timeOffset="67790.78">18389 6839 0,'-80'0'15,"54"14"1,26-1-16,-14-13 0,1 13 16,-13 14-1,13-1 1,13-13 0,0 1-1,13-1-15,0-13 16,0 0-16,0 0 15,1 0-15,-1-13 16,0-1 0,0 14-16,-13-13 15,14 13 1,-1-26 0,0 12 15,0 28 16,-13-1-16,14-13-15,-14 13-16,0 0 15,0 1 1,0-1-1,13-13 1,-13 13 15,13-26-15,0 13-16,0-13 16,1 13-16,-1 0 15,-13-14-15,13 14 16,0 14-1,1-14-15,-1 13 16,0-13 0,-13 13-16,13-13 15,-13 13 1,14-13 0,12-13 15,-13 0-31,14 0 15</inkml:trace>
  <inkml:trace contextRef="#ctx0" brushRef="#br0" timeOffset="68412">19050 6787 0,'-40'13'15,"27"0"1,0-13-16,0 26 16,13-12-1,0-1-15,0 0 16,13 0-16,0-13 15,14 0-15,-14 0 16,0 0-16,0-13 0,0 0 16,-13 0-1,-13-14 1,13 14-16,-13 13 0,13-13 16,-13 0-1,39 26 32,-13-13-47,-13 13 16,27 0-16,-14 14 15,0-14-15,1 0 0,-14 27 16,0-27-16,13 14 16,-26-14-16,-40 106 15,39-106-15,1 0 16,0 14-16,0-14 15,0 0-15,-1 0 16,28-39 0,-1 13-16,-13 0 15,39-14 1,1-13-16,-13 27 0,-14 0 16,13 0-16,-12-1 0,25-12 15,1 13 1,-14 0-16,-12-1 0</inkml:trace>
  <inkml:trace contextRef="#ctx0" brushRef="#br0" timeOffset="69292.17">19672 6985 0,'39'0'0,"-39"-13"15,14 13-15,-1-13 0,0 13 16,80-93 0,-67 40-16,1 27 15,-1-41-15,-13 15 16,1 12-16,-14 0 16,13 27-1,-13 0-15,0-1 0,-13 1 16,-1 26-1,1 1-15,13-1 16,-13-13-16,13 13 0,-13 14 16,13 39-1,0-40-15,0-13 16,13 14-16,-13-14 16,13 0-16,14 14 15,-14-14-15,0-13 0,-13 13 0,13-13 16,14 0-16,12-13 31,-12 0-31,-14-14 16,0 14-16,1-13 15,12-40 1,-26 39 0,0 14-16,0 0 15,13-14 1,-26 54 15,13-14-31,-13-13 0,13 40 16,0-27-16,0 13 15,0 1-15,0-14 16,0 0-16,13 14 16,0-14-16,0-13 15,1 0-15,-1 0 31,0 0-15,0 0-16,1 13 16,-1-13-16,0 13 15,0-13 1,1 0-16,12 0 16,-13 0-1</inkml:trace>
  <inkml:trace contextRef="#ctx0" brushRef="#br0" timeOffset="69492.31">19923 6720 0,'79'-13'31,"1"0"-31,-27 13 16,-27 0-16,54 0 15,-67 0-15,0 0 16,14 0-16,-1 0 16</inkml:trace>
  <inkml:trace contextRef="#ctx0" brushRef="#br0" timeOffset="70327.73">20836 6575 0,'-13'26'32,"13"41"-32,0 12 15,13-26-15,-13-27 16,0 1-16,0 26 15,0-27-15,0-13 0,13 53 16,-13-52 0,0-1-16,0 0 15,-13-53 17,13 27-32,0 0 15,0-13-15,0-1 0,13-52 16,14-27-1,-1 66-15,-26 14 0,13 13 16,1-1-16,-1 14 0,-13-13 16,26 13-16,-13 13 15,14 1-15,-27-1 16,0 0-16,0 0 0,-13 14 16,-27 26-1,14-27-15,12-13 16,1 0-16,0-13 15,0 14 1,-1-14-16</inkml:trace>
  <inkml:trace contextRef="#ctx0" brushRef="#br0" timeOffset="70652.81">21167 6681 0,'-14'39'16,"14"-25"-1,0-1-15,0 0 16,14 14-16,-1-14 0,0-13 16,0 13-16,1-13 0,-1 0 15,40-13 1,-40 13-16,13-27 15,-26 14-15,0 0 16,0 0-16,0-1 0,0 1 16,-13 0-16,0 0 15,13 0-15,-27-14 0,14 27 16,-13-13-16,13 13 0,-1 0 16,1 0-16,-13 0 15,12 0-15,1 0 16</inkml:trace>
  <inkml:trace contextRef="#ctx0" brushRef="#br0" timeOffset="71171.78">21524 6403 0,'0'40'16,"0"-14"-16,0 93 15,0-26 1,0-14-16,0-39 0,-13-1 16,13 1-16,0-13 15,0 26-15,0-14 16,-14 14-16,14-26 15,0-14-15,0 0 16,-13 0-16,0-39 31,13-1-15,13 14-16,-13-40 16,13-26-16,1 39 0,25-66 15,-12 40 1,-14 53-16,0 0 0,0 0 15,1 13-15,-1-14 16,0 14-16,-13 14 16,0-1-16,0 0 0,0 0 15,-13 0-15,-40 40 16,40-39 0,0-14-16,-14 26 0,1-13 15,12-13 1</inkml:trace>
  <inkml:trace contextRef="#ctx0" brushRef="#br0" timeOffset="72656.82">21828 6641 0,'0'-13'16,"-13"39"-1,0-26 1,13 14-16,0-1 16,0 0-16,0 0 15,13-13-15,0 13 16,0-13 0,14-13-16,-14 13 15,0-13 1,1 13-16,-1 0 15,-13 13 1,0 0-16,13 1 16,-13-1-16,13 0 15,0 0 1,14-13 0,-27-13-16,13 13 0,0 0 0,1-13 15,-14 0-15,13-1 0,0 14 16,40-119-1,-40 80-15,-13 12 16,27-39-16,-14 13 16,0 13-16,-13 1 15,13 26 1,-26 39 0,0-13-16,13 14 15,-13 12-15,-14 14 16,27-26-16,-13 26 15,13-14-15,0 28 16,13-54 0,-13 0-16,13 0 0,14 14 15,-14-27-15,80 13 16,-67-13 0,-13 0-16,14-13 15,-14 13-15,27-14 16,-40 1-16,13 0 0,-13 0 15,0 0 1,0-1 0,-13 14-16,0 0 15,-1 0 1,-12 14 0,26-1-16,0 0 15,0 0 1,13-13-1,0 0-15,1 0 16,-1 0-16,0 0 16,0 13-16,0-13 15,1 0 1,-1 14-16,0-14 16,14 0-1,-1-14-15,27-12 16,-40 26-1,14-40-15,-1 14 16,1-14-16,-1-13 16,0 0-16,-26 27 15,14-1-15,-1 1 16,-13 13-16,13-1 0,-13 1 16,-13 40 15,0 12-31,13-12 15,0 13-15,-14-14 16,14 14-16,0 13 16,0-40-1,0 0-15,0 14 16,-13-27 0,0 0-16,0 0 15,0-14-15,-14 14 16,14 0-16,0-13 15,-1 0 1,28 0 0,-1 13-1,0 0-15,14-14 16,-14 14-16,0 0 0,0 0 16,14-13-16,-14 13 0,0 0 15,0 0-15,1 0 16,-1 0-16,0 13 15,0-13-15,-13 14 16,0-1-16,0 0 16,0 0-16,14 14 15,-14-14 1,0 0-16,0 0 16,26-13-1,-13 0 1</inkml:trace>
  <inkml:trace contextRef="#ctx0" brushRef="#br0" timeOffset="72854.88">23058 6535 0,'-13'-13'16</inkml:trace>
  <inkml:trace contextRef="#ctx0" brushRef="#br0" timeOffset="73471.59">23270 6601 0,'-26'0'16,"12"0"-16,-52 67 31,66-54-31,14 13 16,-1-13-1,0-13-15,0 0 16,0 0-16,1 0 16,-1-13-16,0 13 15,-13-13-15,13 0 16,1 0-16,-14-1 15,13 14-15,0 0 32,-13 14-17,13-1-15,0 0 16,14 0 15,-27 0-31,26-13 0,1 0 16,-14 0-1,0 0-15,1 0 0,-41 14 32,-13-14-17</inkml:trace>
  <inkml:trace contextRef="#ctx0" brushRef="#br0" timeOffset="77348.24">8718 9710 0,'13'-13'16,"0"13"-16,1-13 15</inkml:trace>
  <inkml:trace contextRef="#ctx0" brushRef="#br0" timeOffset="77619.94">8731 9551 0,'-53'0'15,"27"0"1,13 14 0,13-1-16,-14 0 15,28 14 1,-14-14-16,0 0 15,0 0-15,0 14 16,0-1 0,-14-13-16,14 1 15,-13-1-15,0 13 16,0-12-16,13-1 16</inkml:trace>
  <inkml:trace contextRef="#ctx0" brushRef="#br0" timeOffset="77746.17">8718 9948 0,'0'14'16,"0"-1"0,-13-13-16,13 13 15,-13-13 1</inkml:trace>
  <inkml:trace contextRef="#ctx0" brushRef="#br0" timeOffset="78685.06">12846 9115 0</inkml:trace>
  <inkml:trace contextRef="#ctx0" brushRef="#br0" timeOffset="78838.82">12951 9393 0,'-26'26'16,"26"-13"0,0 1-16</inkml:trace>
  <inkml:trace contextRef="#ctx0" brushRef="#br0" timeOffset="78952.14">13004 9671 0,'-13'13'16,"26"-26"-16,-39 26 0,-1 0 16</inkml:trace>
  <inkml:trace contextRef="#ctx0" brushRef="#br0" timeOffset="79103.7">12846 9803 0,'-80'-13'16,"54"13"-1,12-14-15</inkml:trace>
  <inkml:trace contextRef="#ctx0" brushRef="#br0" timeOffset="80092.81">13203 9565 0,'0'13'16,"13"-26"437,-13-1-422</inkml:trace>
  <inkml:trace contextRef="#ctx0" brushRef="#br0" timeOffset="84146.99">13785 9538 0,'53'-13'16,"-14"13"-1,54 0-15,-27 0 16,0 0-16,-26 0 16,66 0-1,-40 0 1,-26 0-16,-27 0 16,27-13-1</inkml:trace>
  <inkml:trace contextRef="#ctx0" brushRef="#br0" timeOffset="84431.46">14261 9300 0,'172'40'16,"-119"-1"0,-278-118-16,529 225 15,-264-80 1,-27-27-16,-13-12 16,0 13-16,-26-1 15,-80 94 16,93-120-31</inkml:trace>
  <inkml:trace contextRef="#ctx0" brushRef="#br0" timeOffset="89764.21">14380 9327 0,'-13'0'16,"13"-14"-1,-13 14 1,-1-13-1,1 13 1,0 0 15,0-13-15,39 26 31,-13 0-47,14 1 15,-14-14-15,0 13 16,1-13-16,25 26 0,1 1 16,0-1-1,-14-13 1,-13 1-16,27 12 16,-14-13-16,1 1 15,-14-1 1,0-13-1,1 13 1,-14 0 0,-14 0-1,1 14 1,-13-14-16,-27 40 16,40-26-1,-27 25-15,27-38 16,-1-1-16,-25 40 15,25-40 1,1 0-16,0 0 16,13 1-1,-13-1-15,26-26 63,13-1-48,14-25 1,0 12-16,-14 14 16,1-13-16,-1 12 15,14-25 1,-27 26 0,0 13-16,-13-14 15,14 1 1,-1 13-1,0-13 1,-26 0 15,0-1-15,13 1-16,-14 13 16,1-13-16,-27-14 15,-26-12 1,53 26-16,0-1 15,-40-25 1,40 39-16,-53-53 16,39 26-1,1 14-15,12 0 16,14 0 0</inkml:trace>
  <inkml:trace contextRef="#ctx0" brushRef="#br0" timeOffset="90447.93">14288 9565 0,'39'13'16,"1"-13"0,-27 0-16,40 0 15,-27 0 1,1 0-16,39 0 15,-53 0-15,14 0 16</inkml:trace>
  <inkml:trace contextRef="#ctx0" brushRef="#br0" timeOffset="93871.05">14340 9604 0,'-26'-13'16,"13"13"-1,52 0 16,1 0-15,-13 0 0,-14 0-16,0 0 0,13 0 0,1 0 15,-14 0-15,14 0 16,-1 0 0</inkml:trace>
  <inkml:trace contextRef="#ctx0" brushRef="#br0" timeOffset="94064.71">14433 9565 0,'119'-14'16</inkml:trace>
  <inkml:trace contextRef="#ctx0" brushRef="#br0" timeOffset="95255.6">8956 9869 0,'13'13'16,"1"-13"-1</inkml:trace>
  <inkml:trace contextRef="#ctx0" brushRef="#br0" timeOffset="99334.26">13877 9551 0,'80'0'0,"-41"0"16,-25 0-16,39 14 15,0-14-15,-27 0 16,14 0-16,-14 0 0,40 13 15,-52-13 1,-1 0-16,0 0 0,27 0 16,-27 0-16</inkml:trace>
  <inkml:trace contextRef="#ctx0" brushRef="#br0" timeOffset="99567.9">14168 9591 0,'53'0'15,"-26"0"-15,-14 0 0,0 0 16,1 0-16,25 0 15,1 0-15,0 0 16,-1 0-16,-26 0 16</inkml:trace>
  <inkml:trace contextRef="#ctx0" brushRef="#br0" timeOffset="101003.89">14579 9472 0,'0'-26'15,"-14"26"1,1-14-16,0 14 0,13-13 16,-13 13-16,-1-13 0,1 0 15,0 13 1,13-14-16,-13 14 0,-1-13 16,1 0-1,26 0 16,1 26 1,-1-13-32,0 0 0,0 13 0,14 0 15,-1 1-15,1-1 16,-14 0-16,0 0 0,0-13 16,40 27-16,-39-14 15,-1 0-15,0 1 0,14-14 16,-14 13-1,0-13-15,-13 13 0,13-13 0,0 0 16,-13 13 0,14-13-16,-14 13 15,0 1 1,-14-14-16,14 13 16,-13 0-16,0 0 15,0-13-15,13 14 0,-40 25 16,27-25-16,0-1 15,-54 26 1,41-12-16,13-14 0,0-13 16,13 13-16,-14-13 0,1 14 15,0-14 1</inkml:trace>
  <inkml:trace contextRef="#ctx0" brushRef="#br0" timeOffset="103582.74">8758 9551 0,'-14'40'15,"14"-13"-15,14-14 16,-14 0-16,13 0 16,-13 1-16,13-14 0,0 0 15,1 0-15,-1 0 16,-13-14-16,26 1 15,-26 0 1,0 0-16,0-1 0,-13 1 16,0 0-16,13 0 15,-40 13 1,27 0-16,-14 0 16,-12 13-16,26-13 0,-1 13 15,1 0-15,0 1 16,13-1-1,13-13 1,0 0 0,27 0-16</inkml:trace>
  <inkml:trace contextRef="#ctx0" brushRef="#br0" timeOffset="103756.01">8771 9591 0,'-40'0'16,"27"0"-1,0 13-15,0 1 16,92-41 0,-185 67-1,106-27-15,-13 0 16,13 1 0</inkml:trace>
  <inkml:trace contextRef="#ctx0" brushRef="#br0" timeOffset="104034.5">8797 9975 0,'-26'13'15,"13"0"-15</inkml:trace>
  <inkml:trace contextRef="#ctx0" brushRef="#br0" timeOffset="104220.81">8837 10001 0,'0'-13'15,"13"13"63</inkml:trace>
  <inkml:trace contextRef="#ctx0" brushRef="#br0" timeOffset="117702.79">8692 9472 0,'-40'13'16,"27"-13"-16,13 14 16</inkml:trace>
  <inkml:trace contextRef="#ctx0" brushRef="#br0" timeOffset="117858.66">8572 9578 0,'-13'0'15,"26"0"-15,-39 0 0,13 0 16</inkml:trace>
  <inkml:trace contextRef="#ctx0" brushRef="#br0" timeOffset="117998.76">8586 9697 0,'0'13'15,"0"-26"-15,-14 39 16,14-12 0</inkml:trace>
  <inkml:trace contextRef="#ctx0" brushRef="#br0" timeOffset="118280.65">8625 9419 0,'14'-26'0,"-14"12"16</inkml:trace>
  <inkml:trace contextRef="#ctx0" brushRef="#br0" timeOffset="118574.71">8903 9234 0,'0'-13'16,"0"26"-16,13-26 15,1 26-15,-1-13 16,13 0 0,-12 13-16,-1-13 31,0 13-15,0-13-1,1 14 16,-1-1-31,0 0 16,27 0-16,-27 1 16</inkml:trace>
  <inkml:trace contextRef="#ctx0" brushRef="#br0" timeOffset="118695.93">9340 9432 0,'13'0'0,"-13"14"31,-13 39-16,0-40-15,-1 13 16,14 1 0</inkml:trace>
  <inkml:trace contextRef="#ctx0" brushRef="#br0" timeOffset="118820.95">9340 9882 0,'-40'40'16,"14"-27"0</inkml:trace>
  <inkml:trace contextRef="#ctx0" brushRef="#br0" timeOffset="119069.56">8533 9856 0,'-40'-14'16,"27"14"-16</inkml:trace>
  <inkml:trace contextRef="#ctx0" brushRef="#br0" timeOffset="119748.73">12554 9088 0,'-26'-13'15,"26"0"-15,-26 26 16,12 0 0</inkml:trace>
  <inkml:trace contextRef="#ctx0" brushRef="#br0" timeOffset="120039.52">12290 9194 0,'-40'14'16,"27"-14"-16,-13 13 0,12-13 15,1 0-15,0 0 0,0 13 16,13 0-16,-14 0 16,186-79-16,-344 146 0,186-54 15,-14-13 1,132-132-16,-251 265 0,132-133 0,-13 0 15,13 0-15,-13 14 16,14-14-16,-14 0 0,0 1 16,0-1-16,0 0 15,0 0-15,0 14 32,0-1-32,13-13 15,-13 1-15,0-1 0,13 13 0,0-12 16,-13-1-16</inkml:trace>
  <inkml:trace contextRef="#ctx0" brushRef="#br0" timeOffset="120140.8">12369 9776 0,'13'14'15,"-13"-1"17,-13 0-32</inkml:trace>
  <inkml:trace contextRef="#ctx0" brushRef="#br0" timeOffset="120297.49">12660 9869 0,'14'0'16,"-1"0"15,0 0-31,0 0 16,-357-93-16</inkml:trace>
  <inkml:trace contextRef="#ctx0" brushRef="#br0" timeOffset="120430.9">12978 9869 0,'0'-13'0,"0"-1"31</inkml:trace>
  <inkml:trace contextRef="#ctx0" brushRef="#br0" timeOffset="120562.76">13084 9684 0,'0'-27'16,"-14"27"-16,14-13 15,-13 13-15,13-13 0,-13 0 16</inkml:trace>
  <inkml:trace contextRef="#ctx0" brushRef="#br0" timeOffset="120711.2">12581 8996 0</inkml:trace>
  <inkml:trace contextRef="#ctx0" brushRef="#br0" timeOffset="128912.66">11628 10544 0,'305'0'16,"-252"0"-16,0 0 15,13 0-15,-13 0 16,13 0-16,40 0 0,-40 13 0,-13-13 15,26 0-15,-39 0 0,-14 13 16,1-13-16,-14 0 0,13 0 16,-12 0-16,12 0 0,-13 0 15,-13 13-15,13-13 0,-39-13 47,13 13-47,0 0 16,-1-13-16,1 13 0</inkml:trace>
  <inkml:trace contextRef="#ctx0" brushRef="#br0" timeOffset="129611.63">11840 10398 0,'-40'0'32,"40"13"-32,-13-13 0,0 14 0,0-14 15,0 0-15,-1 13 0,-25 0 16,25 0 0,1 1-16,0-14 0,0 13 15,-1 0 1,14 0-1,0 0 1,14 1-16,-1-14 16,13 13-16,-12 0 15,25 0-15,-12 14 16,-1-27-16,-13 13 16,54 13-1,-41-12-15,-26-1 16,13-13-16,0 13 0,1-13 0,12 13 15,-26 1-15,13-14 16,1 13 0,-1-13-1,0 0 1</inkml:trace>
</inkml:ink>
</file>

<file path=ppt/ink/ink20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5:50:35.880"/>
    </inkml:context>
    <inkml:brush xml:id="br0">
      <inkml:brushProperty name="width" value="0.05292" units="cm"/>
      <inkml:brushProperty name="height" value="0.05292" units="cm"/>
      <inkml:brushProperty name="color" value="#0070C0"/>
    </inkml:brush>
  </inkml:definitions>
  <inkml:trace contextRef="#ctx0" brushRef="#br0">6839 4141 0,'0'-13'203,"93"13"-188,-14 0-15,1 0 16,-1 0-16,106 0 16,-118 0-1,-15 0-15,28 0 16,-40 0 0,-1 0-16,14 0 15,-13 0 1,-14 0-16,1 0 0,-1 0 15,-13 0 1,14 0 31,-14 0-16,0 0-15,1 0-16,-1 0 15,13 0-15,-12 0 16,12 0-16,-13 0 16,27 0-1,-14 0-15,40 0 16,-39 0-16,26 0 16,-27 0-1,-12 0-15,12 0 0,0 0 16,-12 0-16,-1 0 15,0 0 1,0 0 0,1 0 15,12 0 0,-13 0-15,14 0-1,-14 0 17,13 0-17,-12 0 1,12 0 0,-13 0-1,14 0 1,-14 0-16,13 0 15,14 0 1,-27 0-16,14 0 16,-14 0-1,0 0 1,1 0 0,-1 0-1,0 0 16,0 0-15,0 0 31,1 0 0,-1 0-32,0 0 17,0 0 77,1 0-93,-1 0-16,0 0 0,0 0 15,1 0 17,-1 0-17,0 0 95,0 0-95,0 13 1,1-13-1,-1 0 1,13 0 15,-12 13 1,12-13 61,-13 0-61,1 0 30</inkml:trace>
  <inkml:trace contextRef="#ctx0" brushRef="#br0" timeOffset="5016.28">19434 5159 0,'-14'0'47,"14"14"-31,80-1-1,-14 0 1,40-13-16,0 13 16,79 14-16,-26-27 15,158 0 1,-132 0-1,-26 0-15,0 0 16,-40 0-16,26 0 16,-26 0-16,-26 0 15,26 0-15,13 0 16,-52 0 0,52 0-16,-26 0 0,-14 0 15,-25 0 1,25-27-16,-12 1 0,-27 26 15,26-27-15,-26 1 16,0 13 0,-14-1-16,-25 14 0,25 0 15,-12-26-15,-1 13 16,-13 0 0,1-14-1,-1 27-15,-13-26 16,0-41-1,0 41-15,0 0 16,0-41 0,0 14-1,-53 1 1,-13-15 0,-40 15-1,-53-15 1,-52-12-1,-1 66 1,-79-27 15,132 27-31,-172 0 16,186 13-16,26 0 16,13 0-16,0 0 15,14 0-15,39 0 16,-13 0-1,-27 0-15,-13 0 16,27 0 0,26 0-16,-93 0 31,107 13-31,-41-13 16,54 0-16,-14 0 0,-92 26 31,105-12-31,-12-1 31,-67 0-15,26 0-1,41-13 1,12 13-16,-12-13 16,-67 27-1,66-27-15,27 13 16,-27-13-16,27 27 15,-14-14 1,14 0 0,0 14-1,13-14 1,0 0-16,-26 13 16,26-12-1,0-1 1,0 13-1,0-12-15,0-1 16,0 0-16,0 0 16,0 0-16,0 1 15,0-1-15,0 27 32,0-1-17,0-25 1,0-1-16,13-13 15,-13 13-15,0 0 16,0 0 0,26 14-16,-26-14 15,13-13 1,-13 27-16,14-27 16,-14 13-16,13-13 15,0 26 1,0 14-16,1-40 0,12 26 15,1 1 1,25-1-16,-52-12 16,80-1-1,-40 13-15,-14-26 16,27 14-16,26-1 16,-52-13-1,79 26 16,-80-26-31,14 0 16,-27 0-16</inkml:trace>
  <inkml:trace contextRef="#ctx0" brushRef="#br0" timeOffset="7314.23">1416 6099 0,'0'0'0,"39"13"0,1 27 16,-14-27-16,54 26 15,-1-12-15,14 13 16,39-14-16,0 14 16,27-27-16,13 13 15,0 1-15,0-14 16,172 14-1,-212-27-15,27 0 16,-14 0-16,-12 0 16,26 0-16,-1 0 15,14 0-15,146 0 32,-120 0-32,-66 0 0,27 0 15,-13 0 1,-1 0-16,-26 0 15,133 0 1,-186-14 0,-53 1-16,27-13 15,-14 12-15,1 1 16,-14-13-16,27-1 16,-27 1-16,13-1 15,1 14-15,12-40 16,1 14-16,-27-14 15,1 13-15,12-26 16,-26 26 0,0 0-16,0 1 15,0 12-15,0-12 16,0-1-16,0 13 16,0 1-1,0 0-15,0-1 0,0 1 16,-13 12-16,13 1 15,0-13 1,-27-1-16,27 14 0,-13 0 16,0 13-1,0-27-15,-1 14 0,14 0 16,-39 0 0,39-1-1,-27 14-15,-12-13 16,25 13-16,1-13 15,-13 0-15,12 13 16,-25 0 0,-1 0-1,27-13-15,-27 13 16,14 0 0,12 0-1,-12 0-15,-14-14 31,1 14-31,-1-13 16,-13 13-16,0-13 16,13 13-16,1-13 15,-54-14 1,80 27 15,-14-13-31,1 13 16,0-13-16,-14 13 15,-13-14-15,-40-12 16,40 26-16,-26 0 16,-14-13-16,1 0 15,-1 13-15,-13-27 16,1 1-16,-1 26 16,-13-14-16,0 1 15,13 13-15,26 0 16,-25 0-16,-1 0 15,13 0-15,-13-26 16,14 26-16,-27 0 16,39 0-16,-26 0 15,27-14-15,-40 1 16,40-13 0,39 26-16,-39-13 15,12 13-15,28-14 16,-1 1-1,-13 13-15,0 0 16,-66-26 0,66 26-16,0 0 15,0 0-15,0 0 16,-39 0-16,12 0 16,28 0-16,-28 0 15,27 0-15,14 0 16,-14 0-16,13 0 15,0 0-15,27 0 16,0 0 0</inkml:trace>
</inkml:ink>
</file>

<file path=ppt/ink/ink20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6:05:13.261"/>
    </inkml:context>
    <inkml:brush xml:id="br0">
      <inkml:brushProperty name="width" value="0.05292" units="cm"/>
      <inkml:brushProperty name="height" value="0.05292" units="cm"/>
      <inkml:brushProperty name="color" value="#0070C0"/>
    </inkml:brush>
  </inkml:definitions>
  <inkml:trace contextRef="#ctx0" brushRef="#br0">13375 939 0,'13'40'16,"-13"-14"-16,0 27 16,0 0-16,0 13 15,0-13-15,0-26 16,13 12-16,-13 1 15,0 0-15,0-27 16,0 0-16,0 1 0,0-1 16</inkml:trace>
  <inkml:trace contextRef="#ctx0" brushRef="#br0" timeOffset="377.55">13322 939 0,'13'-53'16,"0"40"-16,14 13 16,-14 0-16,0 0 0,0 0 15,14 0-15,-14 0 0,14 0 0,-1 13 16,14 27 0,-27-14-16,-13-12 15,0-1-15,-13 27 16,-1-27-16,1 0 0,-13 27 15,13-27-15,-1 0 16,1-13-16,0 27 0,0-27 16,-1 13-16</inkml:trace>
  <inkml:trace contextRef="#ctx0" brushRef="#br0" timeOffset="720.46">13666 1045 0,'-14'27'31,"14"-14"-31,0 0 0,0 0 16,0 14-16,0-14 0,0 0 15,14 0-15,-1 1 16,0-1-16,0 0 15,1-13-15,12 0 0,1 0 16,-27-13 0,13 13-16,-13-13 0,13-1 15,-13 1-15,-13 0 0,13-14 16,-13 14-16,13 0 16,-14-13-16,1 26 0,0-27 15,0 27-15,-1-13 16,1 13-1,0 0 1</inkml:trace>
  <inkml:trace contextRef="#ctx0" brushRef="#br0" timeOffset="1150.55">13824 900 0,'14'39'15,"-14"-26"-15,53 212 32,-40-198-32,13 65 15,-26-78-15,14-1 16,-14 0-16,0 0 0,-14-39 31,14 13-15,-13-14-16,13 1 15,13-27-15,-13 26 0,14-39 16,-1 40-16,0 13 16,13-27-1,-12 40-15,-1 0 16,0 0-1,-13 13-15,13 0 16,-26 14-16,0-14 16,0 0-16,-14 14 15,14-14 1,0-13-16</inkml:trace>
  <inkml:trace contextRef="#ctx0" brushRef="#br0" timeOffset="2025.42">13666 1799 0,'-133'40'16,"120"-40"-1,0 13-15,-13 0 0,26 1 16,-14-1-16,14 0 0,14 0 16,-1 0-16,26 14 15,-25-14-15,25 14 16,-25-14-16,-1-13 0,13 26 16,-13-26-16,1 14 15,-1-1-15,-13 0 16,0 0-16,-13 0 15,-53 14 1,52-14 0,-12-13-16,13 13 0,-1-13 0,-25 0 15,26 0 1,-1 0-16,1-13 16</inkml:trace>
  <inkml:trace contextRef="#ctx0" brushRef="#br0" timeOffset="3136.72">13970 1918 0,'-13'0'0,"0"0"16,-1 0-16,-12 13 16,-1 1-1,1 25 1,13-25-1,13-1 1,0 0-16,13-13 16,0 0-1,0 0-15,1 0 16,-14-13 0,13 13-16,0-13 15,-13-1-15,13 14 0,-13-13 16,14 13-1,-14 13 17,13-13-17,-13 14-15,13-1 16,0-13 15,0 0-15,1-13-1,-1 13-15,0 0 32,0 0-32,1 0 15,-1 0 1,0 0 15,0 0-15,1 0-1,-1 0 1,13 0 0,-26-14-16,13 14 0,1 0 15,-1-13-15,0 0 16,0 13-16,1-27 16,-14 1-16,13 13 15,-13 0-15,0-1 0,0 1 16,0 0-1,0 0-15,0 52 47,0-25-47,0 12 0,0 14 16,0-14-16,0-13 0,0 14 16,0-14-16,0 40 15,0-40 1,0 0-16,0-39 31,0 13-15,0-27-16,0 27 0,13 0 15,-13-1-15,13-12 16,1-1 0,-1 27-16,0-13 0,0 26 15,-13 1 1,0-1-1,0 0-15,0 14 16,-13-14-16,13 0 0,-13 0 16</inkml:trace>
  <inkml:trace contextRef="#ctx0" brushRef="#br0" timeOffset="3428.45">14393 1786 0,'14'-53'0,"-14"40"15,-14 26 17,14 0-17,0 14-15,14 26 32,-14-40-32,52 40 31,1-66-16,-39-1 1,12 1 0,-13 13-16,1 13 15,-1-13-15,0 0 16,0 14-16,0-1 16,1-13-1,-14 13-15</inkml:trace>
  <inkml:trace contextRef="#ctx0" brushRef="#br0" timeOffset="3676.87">13613 2302 0,'-13'0'16,"264"-40"-1,-119 14 1,14-14-16,-80 27 16,13 0-16,-13-14 0,1 14 15,38-27-15,-12 14 16,-40 13-16,-40-1 16,14 1-16,-1 0 15,-13 0-15</inkml:trace>
  <inkml:trace contextRef="#ctx0" brushRef="#br0" timeOffset="4173.2">13573 1521 0,'40'-13'15,"-1"0"1,14 13-16,146-53 15,-146 40-15,39 0 16,1-14-16,26-13 31,-92 27-31,65-13 16,-79 26 0,1-14-16</inkml:trace>
  <inkml:trace contextRef="#ctx0" brushRef="#br0" timeOffset="4853.79">13229 847 0,'212'-53'15,"-159"26"1,185-26 0,-146 27-16,28-1 15,-94 14 1,40 0-16,-39 0 15,12 26 1,-12-13-16,-27 13 16</inkml:trace>
  <inkml:trace contextRef="#ctx0" brushRef="#br0" timeOffset="5156.84">14221 675 0,'27'92'16,"-1"1"-16,14-1 16,-14-52-16,-12 13 0,-1-13 15,13 39-15,1 1 16,-14-54-16,0 27 16,-13-40-16</inkml:trace>
  <inkml:trace contextRef="#ctx0" brushRef="#br0" timeOffset="5741.69">13216 1865 0,'26'106'16,"-12"-79"-1,-1-1-15,0 14 0,0-1 16,1 28-16,12-1 15,0-13-15,1-14 0,-14-25 16,0-1-16,1 0 16,-1-13-16</inkml:trace>
  <inkml:trace contextRef="#ctx0" brushRef="#br0" timeOffset="6247.8">13256 1865 0,'357'-106'16,"-198"67"-1,-80 26-15,0-14 16,1 14-16,-1 0 0,0-14 0,80 1 16,-93 13-16,14-1 0,-27 14 15,39-13-15,-12 0 16,-54 13-16,1 0 0,12 13 16,-26-13-16,14 27 15,-1-1-15,1 14 16,-27-14-16,13 1 15,0 39-15,-13-40 0,13 14 16,14 39 0,-27-52-16,13-1 0,0 1 0,1-1 15,-1-13-15,-13 14 0,26-1 16,-12-13-16,-1 1 0,0-1 16,0 0-16,-13 0 0,13 1 15,-39-1 1,13 0-16,-53 0 15,-1 0-15,1 1 16,0-1-16,-212 66 16,67-26-16,92-26 0,13 12 15,0-12-15</inkml:trace>
  <inkml:trace contextRef="#ctx0" brushRef="#br0" timeOffset="8891.45">3638 8149 0,'-13'0'0,"52"0"31,-12 13-16,13-13-15,-14 0 16,1 0-16,39 14 16,-13-14-16,0 0 0,52-14 15,107 1 1,-146 13-16,-13 0 16,0-13-16,0 13 0,0 0 0,39-13 15,-65 13-15,13 0 0,-14 0 16,53 0-1,-39 0-15,-13-14 0,-14 14 16,0 0-16,0 0 0,0 0 0,1 0 0,-1 0 16,0 0-1,0 0-15,1 0 0,-1 0 16,0 0 15,0 0-15,1 0 15,-41 27 0,14-27-15</inkml:trace>
  <inkml:trace contextRef="#ctx0" brushRef="#br0" timeOffset="10591.67">8837 8162 0,'-26'0'15,"65"0"1,-12 0-1,79 0-15,79 0 16,-119 0 0,13 0-16,-13 0 0,14 0 0,-14 0 15,146-13 1,-159 13-16,13 0 0,-13 0 0,-14 0 16,14 0-16,-13-13 0,-14 13 15,1 0-15,-1 0 0,1 0 0,-14 0 16,0 0-16,0 0 0,1 13 15</inkml:trace>
  <inkml:trace contextRef="#ctx0" brushRef="#br0" timeOffset="11197.92">8784 8811 0,'13'13'0,"1"-13"0,-1 0 16,0 0-16,14 13 0,-1-13 0,27 0 15,0 13-15,39-13 16,-39 14-16,0-14 0,-13 0 0,13 0 15,-13 0-15,-14 13 0,14-13 16,-14 0-16,1 0 0,12 0 16,-25 0-16,-1 0 15,0 0-15,0 0 0,0 0 0,1 0 16,-1 0 0,0 0-1,-13-13-15,13 13 31,1 0-31</inkml:trace>
  <inkml:trace contextRef="#ctx0" brushRef="#br0" timeOffset="12264.77">12396 8215 0,'-14'0'0,"54"0"15,-27 0 1,27 0-16,0 0 0,13 0 0,13 0 15,159-13 1,-133 13-16,-12 0 0,198-13 16,-173 13-16,-12 0 15,13-13-15,-14 13 0,1 0 0,13 0 0,-14-14 16,1 14-16,172 0 16,-120-13-1,-79 13-15,-13 0 0,0 0 0,-13 0 16,-14 0-16,1 0 0,-1 0 15,-13 0-15,14 0 0,-14 0 0,0 0 16,1 0-16,-1 0 0,0 0 16,0 0-1,0 0-15,-39 0 78,13 0-46,39 0 108,1-13-140,-14 13 0,13 0 16</inkml:trace>
  <inkml:trace contextRef="#ctx0" brushRef="#br0" timeOffset="14179.73">16576 8189 0,'-26'0'16,"12"0"-16,54 0 31,13 0-15,-26 0-16,25 0 0,1 0 0,14 0 15,12 0-15,159 0 16,-145 0-16,-1 0 0,-12 0 0,25 0 15,-12 0-15,-14 0 0,14 13 16,0-13-16,-1 0 0,93 0 16,-105 13-16,-1-13 0,-13 0 0,-13 0 15,13 0-15,-26 0 16,39 0-16,-39 14 0,26-14 16,-39 0-16,-1 0 15,1 0 1,-14 0-16,0 0 0,0 0 15,1 0 1,-1 0 0,0-14 46,-13 1 548,-13 0-610,13 0 0,-40-27 15</inkml:trace>
  <inkml:trace contextRef="#ctx0" brushRef="#br0" timeOffset="28164.43">450 10411 0,'0'27'15,"0"-14"-15,0 27 16,13 26 0,-13-53-16,0 14 15,0-14-15,0 13 0,0-13 16,13 1-16,-13-1 0,0 13 16,13-12-16</inkml:trace>
  <inkml:trace contextRef="#ctx0" brushRef="#br0" timeOffset="28529.47">648 10411 0,'-13'0'0,"0"14"0,0-1 16,13 0-1,0 0-15,13 1 0,-13-1 16,13 26-16,0-25 0,-13-1 16,13 0-16,1 0 15,-1-13-15,0 14 0,27-14 16,-27 0 0,14-14-1,-27 1-15,0 0 0,0-14 16,-14 14-16,1 0 15,13 0-15,-13 0 0,0 13 16,-1-14-16,1 1 0,0 13 0,13-13 16,-13 13-16,-1-13 0,1 13 0,0 0 15,0 0 1,0 0-16</inkml:trace>
  <inkml:trace contextRef="#ctx0" brushRef="#br0" timeOffset="29029.76">807 10332 0,'13'-13'0,"-13"26"32,13 0-17,-13 0 1,0 1-16,14-1 0,-14 0 15,0 0-15,13-13 0,-13 14 0,0-1 32,13-26 15,0 13-47,-13-14 0,14 1 15,-1 13 1,0 0-1,0 0 1,0 0-16,-13 13 16,14-13-1,-14 14-15,13-14 32,0-14-17,0 1 16,1 13-15,-1 0-16,0-13 16,14 13-16,-14 0 15,0 0-15,0 0 16,0 0 0,1 0-16</inkml:trace>
  <inkml:trace contextRef="#ctx0" brushRef="#br0" timeOffset="29779.84">1244 10345 0,'0'-26'0,"0"13"16,-14 13 0,1-14-1,0 14 16,13 14-31,0-1 0,0 0 32,13 0-17,0-13-15,-13 13 0,14-13 16,-1 0-16,0 0 16,0 0-1,0 0-15,1 0 16,-1-13 15,0 13-31,0 0 31,-13-13-15,14 13 31,-1 0-32,0 13 1,0-13 0,1 13 15,-1-26-15,-13 0-1,13 0 1,0 13-1,-13-13 1,13 26 0,14-13-1,-14 0 1,0-13 0,1 13-16</inkml:trace>
  <inkml:trace contextRef="#ctx0" brushRef="#br0" timeOffset="30191.59">1574 10014 0,'-13'0'31,"13"40"-31,13-13 16,-13-14-16,0 0 15,14 14-15,-14-1 0,0-13 16,0 0-16,0 1 16,13-1-16,-13-26 62,13-1-46,0 14-1,0 14 1,1-14 0,-28 13-1,14 0-15,0 0 0,-13-13 16,13 14-16,-13-1 16,0 0-1</inkml:trace>
  <inkml:trace contextRef="#ctx0" brushRef="#br0" timeOffset="30617.44">1733 10173 0,'-13'-26'0,"13"13"47,13 39-16,0-26-15,-13 13-1,13 0-15,1 1 16,-1-1 15,0-26 1,-13-1-17,13 1-15,-13 0 0,0 0 16,14 0-1,-14-1-15,13 1 16,0 13 0</inkml:trace>
  <inkml:trace contextRef="#ctx0" brushRef="#br0" timeOffset="30964.69">1945 10067 0,'-14'14'16,"14"-1"-16,0 0 15,14 14-15,-14-14 16,0 0 0,0 0-16,0 0 0,-14-13 0,14 14 15,-13-1 1,0-13-1,13 13 1</inkml:trace>
  <inkml:trace contextRef="#ctx0" brushRef="#br0" timeOffset="31091.7">1998 10200 0,'0'-14'0</inkml:trace>
  <inkml:trace contextRef="#ctx0" brushRef="#br0" timeOffset="31428.42">1164 10716 0,'13'-27'16,"1"27"-16,52-40 15,-27 27-15,14 0 0,-13-13 16,13-1-16,13 14 0,-13-14 0,0 14 16,-13-13-16,79-14 15,-40 14 1,-52 12-16,-14 14 0,13-13 0,-13 13 16,1 0-16</inkml:trace>
  <inkml:trace contextRef="#ctx0" brushRef="#br0" timeOffset="31664.17">1230 10795 0,'172'-53'0,"-132"27"0,13 12 0,79-39 15,-92 40 1,0 0-16,-1 0 0,1 0 16,-14-1-16,-12 14 0,12-13 15,-13 13-15,1-13 0,-1 13 0,0 0 0,0 0 16,0-13-16,1 13 16</inkml:trace>
  <inkml:trace contextRef="#ctx0" brushRef="#br0" timeOffset="34044.14">1416 10954 0,'79'13'15,"-66"-13"-15,40 0 0,-26 0 16,-1 0-16,0 13 0,1-13 0,-1 0 16,1 0-16,12 0 0,-12 0 0,-14 0 15,14 0-15,-1 0 0,-13 0 16,14 0-16,-14 0 0,0 0 0,0 0 16,27 0-1</inkml:trace>
  <inkml:trace contextRef="#ctx0" brushRef="#br0" timeOffset="34293.71">1865 10874 0,'27'-13'15,"-14"26"-15,0-13 16,0 14-16,14-1 0,-14-13 0,0 13 15,1 0-15,-1 1 0,0 12 16,-13 0-16,0-12 16,0-1-16,0 0 0,0 0 0,0 1 15,-13 12-15,0-13 0,-1 14 0,-12-1 16,-53 54 0,65-67-16,1-13 0,0 13 15</inkml:trace>
  <inkml:trace contextRef="#ctx0" brushRef="#br0" timeOffset="36071.49">3347 10213 0,'0'26'0,"-13"14"0,0 0 0,-1 13 16,-39 158 0,27-131-16,-1 12 0,1 1 15,0 0-15,-1 12 0,1-25 0,-1-1 16,14-13-16,-14 14 0,-12 52 16,26-66-16,-1-13 0,1-13 15,0-1-15,13-12 0,0-1 16,-13 1-16,13-14 0,0 0 0,-14 14 15,14-14-15,14 0 16,-1-13 0,0 0-16,14 13 15,52-13-15,27 0 16,79 14 0,-106-1-16,1-13 0,-14 13 15,185 0-15,-79 0 16,-79-13-16,-1-13 0,1 13 15,0 0-15,-1 0 0,1-13 16,-1 13-16,186-13 16,-198 13-16,-1 0 0,0-13 0,-26 13 15,0-14-15,80 1 16,-94 13 0,-26-13-16,14 13 0,-1-27 0,1 14 15,-27 0-15,13 0 0,27-120 16,-27-105-1,0-13 17,-13 172-32,0-14 0,0 14 0,13-1 0,-13 1 15,14 13-15,-14-14 0,13 14 16,0-66-16,14 39 16,-27 54-16,13-1 0,13-26 15,-26 53-15,0-1 16,13-25-1</inkml:trace>
  <inkml:trace contextRef="#ctx0" brushRef="#br0" timeOffset="37364.22">3506 10914 0,'0'-13'15,"13"26"1,-13 0 0,13-13-16,0 27 15</inkml:trace>
  <inkml:trace contextRef="#ctx0" brushRef="#br0" timeOffset="37517.72">3704 11073 0,'0'-13'47</inkml:trace>
  <inkml:trace contextRef="#ctx0" brushRef="#br0" timeOffset="37655.76">4008 10782 0,'0'-40'0,"-13"27"15,13 0 1,0-1-16,27 14 16</inkml:trace>
  <inkml:trace contextRef="#ctx0" brushRef="#br0" timeOffset="37771.83">4366 10663 0,'13'0'16,"-13"13"-1,0 0 1</inkml:trace>
  <inkml:trace contextRef="#ctx0" brushRef="#br0" timeOffset="37888.93">4617 11046 0,'-26'27'15,"12"-14"-15,14 0 16,-13 0-16</inkml:trace>
  <inkml:trace contextRef="#ctx0" brushRef="#br0" timeOffset="38504.39">4683 11232 0</inkml:trace>
  <inkml:trace contextRef="#ctx0" brushRef="#br0" timeOffset="38636.71">5067 11311 0,'26'13'0,"-26"-26"15,13 0 1</inkml:trace>
  <inkml:trace contextRef="#ctx0" brushRef="#br0" timeOffset="48147.83">3241 11867 0,'13'-14'16,"1"14"-16,-1-13 15,53-27 1,-40 27-16,1 0 0,13-13 16,-14 12-16,0 1 0,-12 13 15,-1-13-15,13 0 0,-12-1 0,-1 1 16,13-13-16,-12 26 16</inkml:trace>
  <inkml:trace contextRef="#ctx0" brushRef="#br0" timeOffset="48418.99">3506 11549 0,'-14'-13'0,"41"0"15,-14 13-15,0 13 16,1-13-16,-1 0 0,0 13 15,0-13-15,1 13 0,-1 1 16,0-1-16,0-13 0,14 39 16,-27-25-16,0-1 15,13 0-15,-13 0 0,0 1 16,0-1-16,0 0 0,0 0 0,0 1 16,0-1-1</inkml:trace>
  <inkml:trace contextRef="#ctx0" brushRef="#br0" timeOffset="48675.61">3810 11523 0,'0'26'0,"13"-13"0,-13 1 16,0-1-16,0 13 0,13-13 15,-13 1-15,14-1 0,-1 13 0,0 14 16,0-27-16,1 1 16,-14-1-16,13-13 15,-13 13-15,13-13 0</inkml:trace>
  <inkml:trace contextRef="#ctx0" brushRef="#br0" timeOffset="48983.58">3836 11509 0,'27'-26'0,"-14"26"15,0 13 1,1 0 0,-1-13-16,-13 27 0,0-14 15,0 0-15,0 1 16,0-1-16,-13 0 0,-14 27 15,27-27 1,-13 0 0</inkml:trace>
  <inkml:trace contextRef="#ctx0" brushRef="#br0" timeOffset="49302.43">3982 11562 0,'-13'27'0,"13"-1"15,0 14 1,0-27-16,13-13 0,-13 13 0,13 1 16,0-1-16,1-13 15,-1 0-15,0 0 0,14-13 16,-14 13-1,0-14-15,0-12 16,-26-1 0,0 14-1,0 0-15,-27 0 16,27 0 0,-27 26-1,27-13 1</inkml:trace>
  <inkml:trace contextRef="#ctx0" brushRef="#br0" timeOffset="49751.64">4061 11443 0,'27'40'31,"-27"-27"-31,13 0 0,-13 14 15,13-14-15,1 14 0,-1-1 0,26 67 16,-25-80 0,-14 13-16,13-12 0,0 12 0,-13-13 15,13 14-15,1-14 16,-14 0-16,13 0 16,-13 1-16,-27-41 31,27 1-16,-13 12-15,0-12 0,13-14 16,-13 14-16,13-1 16,0 14-16,0-13 0,0 12 0,13-25 15,-13 26-15,13-1 16,0 1 0,1 13-16,-1 13 15,0-13-15,-13 14 16,0-1-16,0 26 15,-13-25-15,13-1 0,-13 13 16,13-12 0,-14-14-16</inkml:trace>
  <inkml:trace contextRef="#ctx0" brushRef="#br0" timeOffset="51149.66">4313 11483 0,'-14'26'32,"28"-26"-17,-14 14-15,0-1 16,13-13-16,0 0 15,0 0 1,1-13-16,-14-1 16,13 14-16,-13-13 15,13 0 1,0 13 0,1 0-1,-14 13 1,26-26-1,-13 0-15,0-14 16,-13 14 0,14 13-16,-14-13 0,0-27 15,0 27 1,0 0-16,0-1 0,0 1 0,0 0 0,0 0 16,0-1-16,-14 1 15,14 53 16,14-14-15,-14-12-16,13 25 16,0-25-16,-13-1 0,13 0 0,-13 0 15,14-13-15,-1 13 0,0-13 16,14 0 0,-14 0-16,0 0 0,-13-13 15,13 13-15,0-13 16,-13 0-16,0 0 15,-13 26 79,13 13-63,13-26-15,-13 13-16,14-13 16,12-13-1,-13 13 1,1-13 0,-14 0-1,0 0-15,13 13 0,-26-14 31,-1 28 1,1-1-17,13 0 1,0 0-16,13-13 16,14 0 15,-27-13-31,13 13 0,-13-13 15,13-14 1,-13 14-16,13 0 0,-13 0 0,14-27 16,-14 0-1,13 27-15,-13-13 0,0 12 16,0 1-16,0 0 0,0 0 16,0-14-1,13 27-15,-13 27 31,13 12-15,-13-25-16,0-1 0,0 0 16,0 0-16,0 0 0,0 1 15,14 12-15,-14-13 0,0 1 16,0-1 0,0 0-16,-14-13 15,14 13 1,-13-26-1,13 0 1,0 0 0,13-1-16,1-25 15,-1 25-15,0 14 16,-13-13-16,13 13 0,1-13 16,-1 13-16,0 13 31,0-13-31,-13 13 0,0 1 15,13-14-15,-13 13 0,0 0 16,0 0 0,0 1-16,14-1 15</inkml:trace>
  <inkml:trace contextRef="#ctx0" brushRef="#br0" timeOffset="51316.95">4934 11152 0,'-13'13'31,"13"1"-15</inkml:trace>
  <inkml:trace contextRef="#ctx0" brushRef="#br0" timeOffset="51624.6">4961 11232 0,'0'13'0,"0"-26"15,13 39-15,0-13 32,-13 0-32,14-13 15,-1-13 16,0 0-15,0 13-16,-13-13 0,14 0 16,-1-1-1,0 14 1,0 0 0,0 0-16,1 0 15,-1 0 1,0 0-16,-13-13 0,13 13 15,1 0-15,-1-13 16,0 0 0</inkml:trace>
  <inkml:trace contextRef="#ctx0" brushRef="#br0" timeOffset="51749.25">5265 11179 0</inkml:trace>
  <inkml:trace contextRef="#ctx0" brushRef="#br0" timeOffset="53026.68">2262 9948 0,'0'-13'0,"13"-13"0,1 26 16,-14-14-16,13 14 0,0 0 0,0 0 15,1 0-15,-1 0 16,13 14-16,-13-1 16,1 0-16,-14 0 0,0 1 15,-14-1-15,14 0 0,0 0 16,0 0-16,-13 1 0,0 12 16,13-13-1,-13 1-15,13-1 16,13-13-1,13-13 17,-12 13-32,39-27 15,-40 27-15,0-13 16,0 13-16,14-27 16</inkml:trace>
  <inkml:trace contextRef="#ctx0" brushRef="#br0" timeOffset="54220.41">2646 9803 0,'-13'13'16,"13"0"0,13 14-16,-13-14 0,0 0 15,13-13 1,-13-13 15,0 0-15,13 13-16,-13-14 15,14 14 1,-1 0-16,0 0 16,0 0-16,0 0 15,1 0 17,-1 0-17,0 0 32,14-13-31,-27 0-1,13 13-15,0 0 0,-13-13 16,13 13-16,1 0 0,-14-13 0,13 13 16,26-27-1,-25 14 1,-41 26 46,40 0 1,14-26-32,-14 0-15,0 13-16,1 0 31,-1 0-15,0-13-1,0 13 1,0 0-16,1 0 15,-14-14-15,13 14 16,0 0 0,0-13-1,-13 0-15,14 0 0,-14 0 16,0-1-16,0-25 16,0 25-1,0 1-15,0-13 16,0 12-1,0 1-15,0 40 32,13 12-17,-13-25-15,0-1 16,13 0-16,-13 0 0,0 1 16,0 12-1,13-13-15,-13 0 16,14-13-1,-1-13 17,0 13-17,0 0 1,-13 13 0,-13 14-1,0-14 1,0 0-1</inkml:trace>
  <inkml:trace contextRef="#ctx0" brushRef="#br0" timeOffset="54485.52">3215 9710 0,'13'-39'0,"-13"25"31,13 14-15,0 14-1,1-1 17,-1-13-17,0 0 1,0-13-1</inkml:trace>
  <inkml:trace contextRef="#ctx0" brushRef="#br0" timeOffset="54753.13">2553 10134 0,'53'-27'0,"13"1"16,-26 12-16,39-12 16,14-14-16,-53 14 15,-1 13-15,1-1 0,0 1 16,-14 0-16,1 0 0,52-14 15,-66 27 1,0 0-16,-26 13 31,0 1-31,0-1 0</inkml:trace>
  <inkml:trace contextRef="#ctx0" brushRef="#br0" timeOffset="54994.78">2593 10213 0,'26'-13'16,"14"-1"-1,-13 1-15,25-13 0,-12 26 0,-13-13 16,12-1-16,1 1 0,-14 0 16,14 0-16,-13 13 0,39-27 15,-40 27 1,-13-13-16,1 13 0,-1 0 0,0-13 15,0 13 1,1-14 0</inkml:trace>
  <inkml:trace contextRef="#ctx0" brushRef="#br0" timeOffset="56552.62">3876 10306 0,'13'0'63,"-13"-14"-48,0 1-15,-13 0 16,0-14 0,0 14-16,13-13 0,-14 12 0,1 1 15,-26-26-15,12 12 16,1 1-16,-1 12 0,-26-25 16,27 12-16,13 14 0,-14 0 0,1 0 15,12-1-15,-25 1 16,25 0-16,-12 13 0,-27-27 15,40 27-15,-14-13 16,14 13-16,0-13 0,0 13 16,0 0-16,-1 0 0,1-13 15,0 13 1,0 0 0</inkml:trace>
  <inkml:trace contextRef="#ctx0" brushRef="#br0" timeOffset="56958.85">3387 10041 0,'0'0'16,"-14"-13"0,1-14-1,0 27-15,13-13 16,-13 0-16,0 0 0,-1-14 15,1 14-15,13 0 16,-13-14 0,0 14-16,13 0 15,0-1 1,13 14 0,0 0-16,0 0 0,14 0 0,-14-13 15,80 0 1,-67 0-16,14 13 0,-1-13 0,1 13 15,-13-14-15,-1 1 0,0 13 16</inkml:trace>
  <inkml:trace contextRef="#ctx0" brushRef="#br0" timeOffset="57813.62">4657 11390 0,'13'0'16,"0"14"0,0-14 31</inkml:trace>
  <inkml:trace contextRef="#ctx0" brushRef="#br0" timeOffset="83091.12">1812 12647 0,'-39'-26'15,"25"12"-15,28 14 31,12 0-15,1 0-16,12-13 16,-12 13-16,-1 0 15,14 0-15,-14 0 0,1 0 16,52 0-16,-39 0 16,-14-13-16,-12 13 15,12 0 1,-13 0-1,-13-13-15</inkml:trace>
  <inkml:trace contextRef="#ctx0" brushRef="#br0" timeOffset="83420.46">2064 12409 0,'39'13'16,"-12"0"-1,-1 1 1,1-14-16,12 39 15,1-12-15,-27-14 16,1 0-16,-14 0 0,13 1 0,-13-1 16,13 0-16,-26 40 15,0 0-15,-1-27 16,-25 27-16,-1-13 16,27-27-16,0 1 15</inkml:trace>
  <inkml:trace contextRef="#ctx0" brushRef="#br0" timeOffset="99282.57">2633 12594 0,'0'27'0,"0"-1"16,0-13 0,0 1-16,0-1 0,0 0 0,0 0 15,0 14-15,0-14 0,0 0 16,0 0-16,0 1 16</inkml:trace>
  <inkml:trace contextRef="#ctx0" brushRef="#br0" timeOffset="99641.74">2765 12621 0,'-13'-14'16,"-1"28"-1,14-1-15,-13 13 16,26-12-16,1 12 31,-14-13-31,39 14 16,-12-14-16,-14-13 15,0-13-15,1 13 0,-1 0 16,0 0-16,0 0 0,-13-14 0,13 14 16,-13-13-16,14 0 0,-28 0 15,14 0 1,-13-1-16,0 1 0,0 0 15,-27 0 1,27 13-16,0 0 16,-1 13-16,1-13 0,13 13 15</inkml:trace>
  <inkml:trace contextRef="#ctx0" brushRef="#br0" timeOffset="99920.53">2977 12581 0,'13'93'32,"0"-80"-32,0 0 15,0 0-15,1-13 16,-1 13-16,13-13 15,-12-13 1,-14 0 0,0-13-16,-14 26 15,14-14-15,-26 1 0,13 13 16,-1 0-16,1-13 16,0 26-16</inkml:trace>
  <inkml:trace contextRef="#ctx0" brushRef="#br0" timeOffset="100869.88">3254 12726 0,'27'-26'16,"-27"13"0,0 0-16,13-1 0,-13-12 15,0 13-15,0-1 16,-13-12 0,0 39 30,13 0-46,13 1 16,0-1 0,0-13-1,1 0-15,12-13 32,-13 13-32,14 0 31,12 13-16,-25-26 1,12 13 0,-13 0-16,14-14 15,-14 1-15,0 0 16,-13 0-16,13-1 16,-13 1-16,0 0 15,0 0-15,14 0 16,-14 39 15,0 0-15,0-12-16,13 25 15,-13-25-15,0 25 16,13 14-16,-13-40 0,0 14 16,0-14-16,13-13 15,-13 13 1,0-52 15,0 25-31,0 1 16,0 0-16,14 0 15,-1 0 1,0 13 0,-13 13-16,13-13 0,-13 26 15,-13 1 1,13-14-16,0 13 0,-13-12 0,13-1 15,-13 0 1,13 0-16,-14-39 31</inkml:trace>
  <inkml:trace contextRef="#ctx0" brushRef="#br0" timeOffset="101672.6">3731 12382 0,'-27'67'15,"27"-41"1,0 27-16,0-27 16,13 14-16,-13-27 0,14 14 15,-14-14-15,13 0 16,0 1-16,0-14 15,1-14-15,-1 14 16,0-13-16,-13 0 0,13 13 16,0-13-16,-13-14 15,14 27 1,-14 13 15,0 1-31,0-1 16,13 0-1,0-26 1,0 13-16,1-13 16,-14-1-1,0 1 1,26 13 62,-13 0-47,-13-13-31,40 26 16,-27 0 15,0 1-15,-13 12-16,0-13 15,14 1 17,-1-41-17,0 27 1,-13-13-16,27-27 16,-27 27-1,0 0 1,13 13-16,0 0 47,-13 13-47,13 0 15,14-13 1,-1 13 0</inkml:trace>
  <inkml:trace contextRef="#ctx0" brushRef="#br0" timeOffset="102047.51">3122 12859 0,'13'-13'0,"14"-1"0,79-12 15,-67 13 1,27-1-16,-13 1 0,146-27 15,-14 1 1,-132 39-16,40-13 16,-67 13-16,14-14 0,-27 14 15,66 0 1,-65 0-16,-14 14 16,-14-1-1</inkml:trace>
  <inkml:trace contextRef="#ctx0" brushRef="#br0" timeOffset="102312.93">3268 13018 0,'291'-67'15,"-238"54"-15,13 0 16,132-40 0,-92 27-16,-80 26 15,14-14-15,0 14 16,-14 0 0,-12-13-16,-1 26 31</inkml:trace>
  <inkml:trace contextRef="#ctx0" brushRef="#br0" timeOffset="104310.64">4326 12660 0,'40'-13'16,"-27"13"-16,27-13 0,-14 0 0,0 13 16,14 0-16,13-14 15,-26 1-15,25 13 16,-25-13-16,-14 13 0,14 0 16,-1 0-16,0-13 15,-12 13-15</inkml:trace>
  <inkml:trace contextRef="#ctx0" brushRef="#br0" timeOffset="104577.92">4657 12449 0,'26'0'0,"1"0"16,-80 0-16,119 0 0,-40 0 16,-13 13-16,14-13 0,66 79 15,-67-39 1,-13 0 0,0 26-1,-26-53-15,13 27 0,-13-14 0,0 1 16,13-14-16,-13 0 0,-1 0 15,14 1-15</inkml:trace>
  <inkml:trace contextRef="#ctx0" brushRef="#br0" timeOffset="111923.69">4061 13123 0,'-26'66'16,"26"-52"-16,-13 25 15,13-25-15,13 25 0,-13-25 16,13-1-16,-13 0 15,13 0-15,67 27 0,-54-40 16,1 13-16,-1-13 16,1 0-16,39-13 0,0 13 15,-13-13 1,-27-1-16,1 14 0,12-13 16,1-13-1,-27 26-15</inkml:trace>
  <inkml:trace contextRef="#ctx0" brushRef="#br0" timeOffset="112185.31">4405 13084 0,'159'26'15,"-80"27"1,-65-40-16,-14 14 16,13-14-16,-13 0 0,13 27 15,-53 66 1,27-67-16,-40 14 16,27-26-16,-14 12 15,14-25-15,-1 12 16,1-26-16</inkml:trace>
  <inkml:trace contextRef="#ctx0" brushRef="#br0" timeOffset="115097.62">3426 3254 0,'-26'53'16,"26"-26"0,-13 12-16,-27 28 0,0 12 15,14-26-15,-1-13 16,-39 39-16,-53 27 16,53-53-1,53-53-15,0 13 16,-1-13-16,1 0 15,26-27 1,-13 14-16,14 0 16,52-13-16,-13 39 15,0 13-15,-14 14 16,14 66 0,-40-40-16,1 79 15,-14-52-15,-27 132 0,-39 132 16,40-251-16,-14 13 15,-26 93-15,-40 79 16,53-133-16,13-12 16,27-80-1,0 80-15,13-80 0,0 53 16,13-66-16,0 26 16,-13-39-16,14 0 0,-1-14 15,13 27-15,27-13 16,-40-40-1,14 0 1,-14 0-16,0-14 0</inkml:trace>
  <inkml:trace contextRef="#ctx0" brushRef="#br0" timeOffset="117485.58">278 5715 0,'13'40'15,"0"-27"-15,-13 0 16,14 14-16,25 52 16,-39-53-1,13-12-15,-13-1 0,14 0 16,-14 0-16,0 1 0,13-1 0,-13 0 15,0 0-15,13-13 0,-13 13 0,13-13 32,-13 14-32</inkml:trace>
  <inkml:trace contextRef="#ctx0" brushRef="#br0" timeOffset="118408.73">503 6324 0,'39'-27'31,"-25"27"-31,-1 13 0,0 1 16,-13-1-16,0 0 0,0 0 0,0 0 16,13 1-16,-13 12 15,0 1 1,0-14-1,14-13 1,-1-13 0,0-1-1,0 14-15,0 0 0,-13-13 16,14 13-16,-1 0 16,0 0-16</inkml:trace>
  <inkml:trace contextRef="#ctx0" brushRef="#br0" timeOffset="118753.47">728 6720 0,'13'27'16,"0"-27"0,-13 13-16,13-13 0,1 27 15,-14-1 1,13-26-1,-13 13-15,0 0 0,0 1 16,0-1-16,0 0 0,0 0 16,-13 27-1</inkml:trace>
  <inkml:trace contextRef="#ctx0" brushRef="#br0" timeOffset="119144.64">900 7091 0,'-14'79'0,"1"-39"15,13-27 1,0 0-16,13 1 15,-13-1-15,14 0 16,-14 0 0,13-13-16,0-13 15,0 13-15,-13-13 16,13 13-16,-13-13 16,14 13-16,-14-14 0,13 1 15,0 26 16,-13 14-15,13-14-16,-13 0 16,0 0-16,14 14 0,-14-14 15,0 0-15,26 27 0,-26-27 16,13 14-16</inkml:trace>
  <inkml:trace contextRef="#ctx0" brushRef="#br0" timeOffset="119712.5">1005 8281 0,'-13'27'16,"26"-14"-1,14 93 1,-14-93-16,0 0 15,1-13 1</inkml:trace>
  <inkml:trace contextRef="#ctx0" brushRef="#br0" timeOffset="120012.23">1111 8255 0,'0'13'31,"0"0"-31,0 14 16,0-14-16,13-13 16,-13 13-16,27 1 15,-14-14 1,0 0 0,-13-14-16,14 1 15,-14 0 1,0 0-16,-14-1 15,14 1 1,-13 0-16</inkml:trace>
  <inkml:trace contextRef="#ctx0" brushRef="#br0" timeOffset="120202.34">1244 8255 0,'26'13'0,"-13"-13"16,0 0-16,1-13 31,-28 0-31,14 0 16,-13 13-1,0-14 1,0 14-16,0 0 0,-1 0 15</inkml:trace>
  <inkml:trace contextRef="#ctx0" brushRef="#br0" timeOffset="120905.3">370 4829 0,'53'66'0,"-39"-53"15,-1 0-15,0 14 0,13 26 16,-12-27-16,12 27 16,-13-13-16,-13-27 15,14 0-15,-1 27 16,-13-27 0</inkml:trace>
  <inkml:trace contextRef="#ctx0" brushRef="#br0" timeOffset="121345.48">410 4855 0,'13'-13'16,"-26"26"-16,40-26 0,-1 26 15,-13 0-15,-13 1 16,13-1-16,-13 0 15,0 0-15,0 27 0,0-14 16,0-12-16,0-1 16,0 0-1,0 0-15,0 1 16,14-14-16,-1 0 16,0 0-1,0 0-15,1-14 0,-1 14 16,0-13-16,14 0 15,-14 13-15,13-13 0,-13 13 16,1-14-16</inkml:trace>
  <inkml:trace contextRef="#ctx0" brushRef="#br0" timeOffset="122325.28">675 4882 0,'-27'13'15,"27"0"1,0 0-1,0 0-15,13 1 16,-13-1 0,14 0-16,-1-26 47,0 13-47,-13-13 15,13-1 1,1 1 15,-1 13-15,0 0-1,0 0 1,1 0-16,-1-13 16,0 0-1,0 13-15,-13-13 16,13 13-16,-13-14 0,14 14 15</inkml:trace>
  <inkml:trace contextRef="#ctx0" brushRef="#br0" timeOffset="122681.63">913 4591 0,'0'-14'15,"26"41"1,-26-14 0,13-13-16,-13 13 0,14 0 15,-1 1 1,-13-1 0,0 0-16,-13 0 15,-1 1-15,-12 12 16,13-13-1,13 14-15,-13-14 16,26 0 0,0-13-1,13 0 1,-12-13-16,39 0 31,-40-14-15</inkml:trace>
  <inkml:trace contextRef="#ctx0" brushRef="#br0" timeOffset="123659.49">1072 4458 0,'-14'-13'0,"28"53"31,-1-27-31,0 13 16,-13-12-16,26 25 15,-12-12-15,-14-14 16,13 0-16,-13 0 16,13-26 31,0 0-47,1 13 15,-1-13-15,0 0 16,0 13-1,1 0 1,-14 13-16,0 0 16,0 0-16,-27 27 15,27-27 1,0 0-16,-13 1 0,13-1 16,0 0-16,0 0 0</inkml:trace>
  <inkml:trace contextRef="#ctx0" brushRef="#br0" timeOffset="124025.51">1310 5093 0,'-14'0'15,"1"-13"-15,26 39 47,1-12-31,-1-1-16</inkml:trace>
  <inkml:trace contextRef="#ctx0" brushRef="#br0" timeOffset="124176.53">1429 5199 0,'0'13'32,"13"-13"-32,-13 14 15,0-1-15</inkml:trace>
  <inkml:trace contextRef="#ctx0" brushRef="#br0" timeOffset="124308.17">1601 5477 0,'13'13'16,"-13"0"-1</inkml:trace>
  <inkml:trace contextRef="#ctx0" brushRef="#br0" timeOffset="124425.46">1759 5662 0,'0'13'0,"0"-26"16,0 40-1</inkml:trace>
  <inkml:trace contextRef="#ctx0" brushRef="#br0" timeOffset="126340.38">1019 5040 0,'53'-66'15,"-27"40"-15,0 12 0,27-12 16,-26 13-16,-1 13 16,27-27-16,0 27 15,-26 0-15,-1 0 0,-13 0 16,67 14-1,-14 12-15,-40 0 0,27 14 16,-26-27-16,39 80 16,-53-67-16,27 41 15,-27-28-15,13 1 0,-12 0 16,25 52-16,-25-52 16,38 53-16,-38-41 15,12-12-15,14 53 0,-14-54 16,40 94-16,-26-41 15,-27-52-15,27 39 16,39 67 0,-39-80-16,-13-26 15,-14-14-15,26 40 16,28 27 0,-41-80-16,14 40 0,-27-40 0,0 14 15,0-14-15,27 40 16,-13-27-1,-14 1-15,13-1 0,-12 1 16,-1-1-16,13 1 16,1 12-1,-27-25 1,0-1-16,0 0 0,13 0 0,-13 27 16,13-27-1,-13 14 1,0-14-16,0 0 0,0 0 15,0 1 1,-13-1 0,0 0-16,-1 0 15,1-13-15,0 0 16,-13 14-16,-27-14 16,26 13-16,-26-13 15,-13 0-15,40 0 0,-41 0 16,-38 0-1,78 0-15,-39 0 16,13 0-16,27-13 16,-14 13-16,-26-27 15,26 1-15,-13-14 16,27 13-16,-14-25 16,14 25-16,-54-92 15,27 26-15,14 54 16,-1-14-16,14 0 0,-107-132 15,54 52 1,-40-65 0,53 79-16,26 53 15,13 13-15,1 0 0,-40-79 16,13 26 0,53 79-16,-13 1 0,13-1 15,-14 1-15,14-14 16,0 27-16,0-27 15,0 27-15,0 0 0</inkml:trace>
  <inkml:trace contextRef="#ctx0" brushRef="#br0" timeOffset="127032.02">2236 5821 0,'79'-106'16,"-66"93"-16,1 0 0,-1-27 16,0 27-16</inkml:trace>
  <inkml:trace contextRef="#ctx0" brushRef="#br0" timeOffset="127337.57">2275 5450 0,'40'14'0,"-13"-1"15,-94-40-15,147 54 0,-67-14 0,40 27 16,-13-14 0,-27 1-16,0-14 15,-13 13-15,0-12 0,0 39 16,-13-14-1,13 1-15,-13-27 16</inkml:trace>
  <inkml:trace contextRef="#ctx0" brushRef="#br0" timeOffset="160668.42">9538 9432 0,'-13'0'15,"53"0"32,-14 0-47,1 0 16,26 14-16,-14-14 15,54 0-15,-1 0 16,1 0-16,-53 0 16,52 0-16,-65 0 0,12 0 15,-12 0-15,66-14 16,-67 28-16,14-14 15,-14 0-15,-13 0 0,14 0 16,-14 0 0,0 0-16,-39-14 47,-1 14-47,1 0 15</inkml:trace>
  <inkml:trace contextRef="#ctx0" brushRef="#br0" timeOffset="161005.44">9604 9525 0,'-13'0'0,"40"13"15,-14-13-15,0 13 16,40-13-16,-13 0 15,92 14-15,13-1 16,-78-13 0,-28 0-16,-12 13 15,52-13-15,-52 0 0,-1 0 16,14 0-16,-1 0 16,-25 0-1,-1 0-15,0 0 16,0 0-16,1 0 15</inkml:trace>
  <inkml:trace contextRef="#ctx0" brushRef="#br0" timeOffset="169709.14">7210 9816 0,'-13'13'63,"13"27"-48,0-14-15,0 54 16,-14-27-16,14 13 0,0 0 15,-26 172-15,0-53 16,-1-79-16,-13 79 16,-13-39-16,1 52 15,12-79-15,13-52 16,14-28-16,-13 41 16,-1-14-16,27-40 0,-26 27 15,26-40 1</inkml:trace>
  <inkml:trace contextRef="#ctx0" brushRef="#br0" timeOffset="171404.23">7210 9869 0,'26'0'15,"1"-13"1,-14 13-16,66 0 16,1-14-16,-41 14 15,1-13-15,13 13 16,26-13-16,-26 13 16,-39 0-1,-1 0-15,13 13 16,-12 14-1,-1-14-15,-13 0 16,13 53-16,-13 14 16,0-41-16,0 41 15,-13 12-15,0 41 16,-1 12 0,1-79-16,-27 159 15,27-159 1,-27 120-16,14-54 15,13-66-15,0 0 0,-14 53 16,14-53-16,-40 173 16,40-187-1,-1 1-15,-12 27 0,13-41 16,0 1-16,-14 92 16,14-92-16,-14 26 15,14 14-15,0-41 16,0 14-16,-14 27 15,27-67-15,-13 13 16,0 40-16,0-39 16,13-1-16,-14 27 15,14-26-15,-13-1 0,0 67 16,0-14 0,-1-13-16,1-39 15,13 12-15,-13 14 16,0 0-1,13-40-15,-13 14 0,13-1 16,0-12 0,-14-1-1,14 0-15,0 0 16,-13-13 0,13 14-1,-13-1-15,0-13 16,-1 0-1,-12-13-15,-1 13 16,-25-40 0,12 27-16,27-1 15,-14 1-15,1 0 16,-27-14 0,26 27-1,14-13-15,-27 0 16,27 0-1,0 0 1,0 13-16,13-14 0,-13 1 0,13 0 16,-14-14-1,14 14-15,-13-53 16,13 40 0,0 12-16,0-184 46,13 158-46,14-238 32,12 40-1,-25 212-31,39-226 31,-53 226-31,39-159 31,-26 145-15,27-105 15,-40 131-31,40-65 16,0-14 0,-27 54-1,-13 25 1,13-12-1,-13 0 1,13 26 0,14-27-1,-14 14 1</inkml:trace>
  <inkml:trace contextRef="#ctx0" brushRef="#br0" timeOffset="175241.27">8017 9909 0,'0'39'63,"-13"-25"-48,13-1-15,0 0 16,0 0-1,0 0 17,13 1-32</inkml:trace>
  <inkml:trace contextRef="#ctx0" brushRef="#br0" timeOffset="176353.16">7911 10306 0,'93'-14'16,"-80"14"-16,53 53 31,-66-40-31,-13 14 15,0-1-15,-1-12 16,1-1-16,0 13 0,-14-12 16,1 12-1,13-26-15,0 13 16,13 0-16,13 1 31,0-14-31,0 0 0,0 0 16,14 0-1,-14 0-15,0 0 0,27 0 16,0 0-16</inkml:trace>
  <inkml:trace contextRef="#ctx0" brushRef="#br0" timeOffset="176968.16">7871 10795 0,'27'13'15,"-40"27"16,-1-27-31,14 14 16,14-14 0,-14 0-1,0 0-15,0 1 16,0-1-16,-14 0 31,1 0-31,-13 0 16,12 1-16,1-14 15,13 13-15,-26 13 16,26-12-16</inkml:trace>
  <inkml:trace contextRef="#ctx0" brushRef="#br0" timeOffset="177417.26">7858 11298 0,'-53'39'16,"40"-25"-1,13-1 1,-13 0-16,13 0 0,-13 1 15,13-1 1,13 0 0,0-13-1,27-26 1,-27 12 0,13 1-16,-12 0 15,-14 0 1,-14 39 15,14-13-15,-13 14-16,0 12 15,13-25-15,0-1 16,-13 0 0,13 0-16,0 14 15</inkml:trace>
  <inkml:trace contextRef="#ctx0" brushRef="#br0" timeOffset="177814.01">7713 11761 0,'-14'53'15,"14"-40"1,14 27-16,-14-14 16,13-13-1,-13 0-15,-13 1 16,13-1-16,-14 0 16,1-13-1,0 13-15,0-13 16,13 14-16</inkml:trace>
  <inkml:trace contextRef="#ctx0" brushRef="#br0" timeOffset="178260.38">7554 12224 0,'-27'92'15,"41"-78"-15,-14 12 16,13 0-16,0-26 16,0 14-16,1-14 31,-28-14 0,1 1-31,0 26 16,0-13-1,13 14-15,-14-14 0</inkml:trace>
  <inkml:trace contextRef="#ctx0" brushRef="#br0" timeOffset="182952.69">8096 11430 0,'27'0'15,"-14"0"1,13 0-16,-12 0 0,12 0 16,-13 0-16,1 13 15,12-13-15,-13 0 16,0 0-16,1 13 15</inkml:trace>
  <inkml:trace contextRef="#ctx0" brushRef="#br0" timeOffset="183538.17">8123 11364 0,'-40'0'31,"14"13"-16,12 0-15,1-13 16,0 0 0,13 14-1,0 12 1,13-26-16,-13 13 16,0 0-1,0 1-15,13-1 16,-13 0-16,14 14 15,-14-14 1,0 0-16,0 0 16,13 1-16,-13-1 31,0 0-15</inkml:trace>
  <inkml:trace contextRef="#ctx0" brushRef="#br0" timeOffset="184326.09">8057 11549 0,'0'-53'31,"13"13"-15</inkml:trace>
  <inkml:trace contextRef="#ctx0" brushRef="#br0" timeOffset="184880.38">8017 12846 0,'-27'-14'0,"-12"14"16,26 0-1,-40 0 1,39 0-16,1 0 16,0 0-16,0 0 0,-1 14 15,1-14-15,-13 0 0</inkml:trace>
  <inkml:trace contextRef="#ctx0" brushRef="#br0" timeOffset="185121.59">7752 12740 0,'-26'13'15,"-1"13"1,14 1-16,0 13 31,13-27-31,0 0 0,0 0 0,0 14 16,13-14-1,0 0-15,1 0 16,-1 1-16,13-1 16,1 0-16,-14-13 15,0 13-15</inkml:trace>
  <inkml:trace contextRef="#ctx0" brushRef="#br0" timeOffset="185628.12">7369 13639 0,'-27'40'16,"27"-27"-16,0 14 15,-13-1-15,13-13 16,-13 14-16,13-14 0,-14 0 16,14 14-1</inkml:trace>
  <inkml:trace contextRef="#ctx0" brushRef="#br0" timeOffset="185879.51">7395 13745 0,'13'27'16,"-26"12"-1,13-26-15,0 1 16,-13 12-1,13-13 1,13 1-16,14-14 31</inkml:trace>
  <inkml:trace contextRef="#ctx0" brushRef="#br0" timeOffset="186065.75">7699 13851 0,'-39'13'31,"25"0"-31,1-13 16,-13 14 0,13-14-16,-1 0 15,1 0 1,0 0-16</inkml:trace>
  <inkml:trace contextRef="#ctx0" brushRef="#br0" timeOffset="186252.41">7580 13798 0,'-13'26'15,"13"-12"-15,13 12 0,1-13 16,-1 1 0,13-14-16,-13 0 15</inkml:trace>
  <inkml:trace contextRef="#ctx0" brushRef="#br0" timeOffset="197763.95">9631 10332 0,'-53'53'16,"40"-40"-1,-1 0-15,-12 1 16,0 12-16,12-26 0,1 13 16,13 1-16,-13-14 0,0 13 15,13 0-15,0 0 16,0 0-16,13-13 16,0 14-16,0-1 15,1-13-15,-1 0 0,0 13 0,27 0 16,-14 1-1,-13-14-15,1 0 16,-1 13-16,0-13 0,0 0 16,1 0-16,-1 0 15,0 0-15</inkml:trace>
  <inkml:trace contextRef="#ctx0" brushRef="#br0" timeOffset="198001.01">9591 10398 0,'-13'53'15,"0"-40"-15,-1 27 0,14-14 16,-13 1-16,0-1 0,0 14 15,-14 13-15,14-40 0,13 14 16,-13-14-16,13 0 0,0 0 0,-13 1 16,13-1-1,13 0-15</inkml:trace>
  <inkml:trace contextRef="#ctx0" brushRef="#br0" timeOffset="-213643.62">8215 2805 0,'0'-14'16,"-13"28"31,0 12-31,13-13-16,0 1 0,0-1 15,0 0-15,0 0 0,0 0 0,0 14 31,0-14-31,13 0 16,0-13 0</inkml:trace>
  <inkml:trace contextRef="#ctx0" brushRef="#br0" timeOffset="-213172.15">8599 2778 0,'26'0'15,"-12"0"-15,-1 0 16,0 0-16,-13 13 0,0 1 16,0-1-16,-13 0 15,13 0-15,-13 14 16,-1-27-16,14 13 0,0 0 0,-13-13 15,13 13-15,-13 1 0,13-1 32,13-13-17,0 0-15,1 0 0,-1 0 16,0-13-16,0 13 16,14 0-16,-14 0 0,0-14 0,0 14 15,1 0-15,12-13 16,1 13-16,-1-13 0,-13 13 15</inkml:trace>
  <inkml:trace contextRef="#ctx0" brushRef="#br0" timeOffset="-212764.38">9128 2725 0,'0'27'47,"0"-14"-32,0 0-15,13 0 32,1-13-32,39 14 15,-27-14 1,-13 13-16,0-13 16,1 13-16,-14 0 15,-14 1 1,1-14-16,0 13 15,0-13-15,13 13 16,-13-13-16,-1 13 16,1-13-16</inkml:trace>
  <inkml:trace contextRef="#ctx0" brushRef="#br0" timeOffset="-212307.1">9737 2738 0,'-27'14'31,"14"-1"-15,0 13-16,0-12 15,-1-1 1,14 0-16,-13 0 0,13 1 16,0-1-1,13 0-15,1-13 16,-1 0 0,0 0-16,13 0 15,14-13 1,-27 13-16</inkml:trace>
  <inkml:trace contextRef="#ctx0" brushRef="#br0" timeOffset="-212120.51">9816 2699 0,'-40'92'15,"27"-39"1,66-198-16,-106 330 0,53-172 16,0 40-16,0-40 0,13 1 15</inkml:trace>
  <inkml:trace contextRef="#ctx0" brushRef="#br0" timeOffset="-211480.71">10253 2725 0,'-27'106'16,"27"-93"-16,0 53 15</inkml:trace>
  <inkml:trace contextRef="#ctx0" brushRef="#br0" timeOffset="-210796.2">8229 3585 0,'39'13'15,"-65"40"16,26-40-31,-27 27 32,41-27-17,-1-26 1,26 0 0,-25 13-1,65-13 1</inkml:trace>
  <inkml:trace contextRef="#ctx0" brushRef="#br0" timeOffset="-210216.36">8864 3559 0,'26'26'16,"-39"-13"15,13 1-31,-13-1 16,13 0 0,0 0-1,13 0 1,-13 1-1,0 12 1,0-13-16,-13 1 16,-1-1-1,1 0-15,0 0 16</inkml:trace>
  <inkml:trace contextRef="#ctx0" brushRef="#br0" timeOffset="-209866.03">9194 3585 0,'-26'40'32,"-1"-27"-17,27 0-15,-13 0 16,0 1 0,13-1-1,0 0-15,13-13 16,0 13-1,1-13 1,12 0-16,-13 0 16,14 0-16,-1-13 15</inkml:trace>
  <inkml:trace contextRef="#ctx0" brushRef="#br0" timeOffset="-209663.48">9287 3559 0,'-27'92'16,"27"-79"-16,0 80 15,14-53 1,-1-278-16,-26 489 0,13-238 15</inkml:trace>
  <inkml:trace contextRef="#ctx0" brushRef="#br0" timeOffset="-209152.57">9737 3585 0,'-14'40'31,"14"-27"-31,0 13 16,0-12-16,14 25 15,-1-12 1,-13-14-16</inkml:trace>
  <inkml:trace contextRef="#ctx0" brushRef="#br0" timeOffset="-208722.44">10239 3612 0,'53'26'32,"-39"40"-1,12-53 0,27-26-15,-27-13 15</inkml:trace>
  <inkml:trace contextRef="#ctx0" brushRef="#br0" timeOffset="-207619.15">8189 4048 0,'13'-13'15,"0"26"-15,1 0 16,-14 1 0,13-1-1,-13 0-15,13 0 32,13 14-32,-26-14 15,0 0 1,0 0-16,-13 1 15,0-1 1,0 0-16,0 0 16</inkml:trace>
  <inkml:trace contextRef="#ctx0" brushRef="#br0" timeOffset="-207314.82">8731 4022 0,'13'13'16,"-26"0"-16,-26 53 31,12-52-31,14 12 15,13-13-15,-13-13 0,13 13 16,0 1 0,0-1-16,13 0 15,0-13-15,0 0 0,1 0 16,-1 0-16,26-13 16,-25 13-16,12-13 15,-13-1-15,1 14 16</inkml:trace>
  <inkml:trace contextRef="#ctx0" brushRef="#br0" timeOffset="-207140.62">8824 4048 0,'-40'106'31,"53"-66"-16,-13-27-15,27 40 16</inkml:trace>
  <inkml:trace contextRef="#ctx0" brushRef="#br0" timeOffset="-206572.48">9194 4048 0,'14'66'15,"-14"-52"-15,0-1 16,0 0-16,13 27 16,-13-27-16,13 0 0,13 0 15</inkml:trace>
  <inkml:trace contextRef="#ctx0" brushRef="#br0" timeOffset="-206071.96">9737 4048 0,'53'13'31,"-53"1"-15,-14 12-1,14-13-15,0 1 16,-13 25 15,13-26-15,13-13-16,14 0 15,-14 0 1,13-13-16,1 13 16,52-26-1,-52 26-15</inkml:trace>
  <inkml:trace contextRef="#ctx0" brushRef="#br0" timeOffset="-205704.09">10306 3969 0,'26'39'32,"-26"-25"-32,13-14 15,-13 13 1,0 0-1,13 14-15,-26-1 16,13-13 0,-13 1-1,0-1 1,-14 0-16,1 0 16</inkml:trace>
  <inkml:trace contextRef="#ctx0" brushRef="#br0" timeOffset="-205135.47">8334 4564 0,'-39'40'16,"25"-40"-16,1 26 15,0-13-15,-13 14 16,26-1 0,0-12 15,13-14-31,13 0 15,1-14 1,-14 14-16,40-39 16</inkml:trace>
  <inkml:trace contextRef="#ctx0" brushRef="#br0" timeOffset="-205008.37">8387 4696 0,'14'53'47,"-1"-53"-47</inkml:trace>
  <inkml:trace contextRef="#ctx0" brushRef="#br0" timeOffset="-195273.05">9618 10239 0,'-133'14'15,"94"-1"-15,-1 13 0,0 1 16,1-1-16,-1 14 0,0 0 15,14-1-15,-1 14 0,1 0 0,-1-13 16,1 105-16,13-105 16,26 13-16,-13-13 0,13-1 15,0 1-15,14-14 0,-1 14 0,14-13 16,-14-1-16,14-13 0,0 0 16,39 1-16,-52-14 0,12 0 15,1-14-15,0 1 0,-1 0 0,14-13 16,-13 12-16,0-12 0,-1-1 15,1 1-15,-14 0 0,27-41 16,-39 28-16,-1-1 0,0 0 16,-13 1-16,13-1 0,-26 0 15,13-13-15,-13 14 0,-40-120 16,26 132-16,1-12 16,0 26-16,-1-14 0,-13 14 15,14 0-15,-14 13 0,14-14 0,-14 14 16,-79 14-1,93-14-15,-1 0 16,-13 13-16,27 0 0</inkml:trace>
  <inkml:trace contextRef="#ctx0" brushRef="#br0" timeOffset="-194576.29">9379 11179 0,'0'39'15,"0"1"-15,0 0 16,0-1-16,-13 1 0,0 39 16,13-52-16,-13 13 0,13-14 15,-13 1-15,13-1 0,-14 27 16,1-27 0,13-12-16,0-1 15</inkml:trace>
  <inkml:trace contextRef="#ctx0" brushRef="#br0" timeOffset="-194259.67">9366 11271 0,'-53'27'0,"27"-27"0,105-27 15,-198 80-15,106-40 16,-27 1-16,27-1 0,-13 0 0,-1 0 15,-13 14-15,27-1 16,0-26-16,0 13 16,39-26-1,-13 13 1,1-13-16,-1 13 0,27 0 16,-14 0-16,1 0 15,12 13-15,1-13 16,0 13-16,-14-13 15,-13 14-15,0-14 0,27 13 16,0 0 0,-27-13-16</inkml:trace>
  <inkml:trace contextRef="#ctx0" brushRef="#br0" timeOffset="-193164.02">9168 12118 0,'-27'0'15,"27"13"1,-13-13-16,-13 27 15,12-14-15,1 0 16,0 14-16,13-14 16,-13 0-16,26 13 15,0-12-15,14-1 16,-14-13 0,13 13-16,-12-13 0,-1 0 0,0 0 15,14 0-15,-1 0 16,-13-13-16,0 13 15,1-27-15</inkml:trace>
  <inkml:trace contextRef="#ctx0" brushRef="#br0" timeOffset="-192983.02">9247 12144 0,'-26'53'16,"26"-39"-1,-13 25-15,13 1 16,0-14-16,0-12 0,0 12 0,0 0 16,0-12-16,0 12 0,0 1 15,13-14-15,13-331 0,-52 649 16,39-318-16</inkml:trace>
  <inkml:trace contextRef="#ctx0" brushRef="#br0" timeOffset="-192728.69">9538 12211 0,'13'13'16,"1"-13"-16,12 0 15,14 0 1,-27 0-16</inkml:trace>
  <inkml:trace contextRef="#ctx0" brushRef="#br0" timeOffset="-192515.66">9697 12131 0,'0'0'16,"13"27"-16,0 26 16,-13-40-1,14 0-15,-28 27 16,14-14-16,-13 14 15,0-1-15,13-25 16,-13-1-16,13 0 16</inkml:trace>
  <inkml:trace contextRef="#ctx0" brushRef="#br0" timeOffset="-191733.98">9803 12554 0,'26'0'16,"1"0"-16,39-39 15,-26 12-15,12-26 16,-25 14-1,-14 12-15,0 14 0,-13-13 16,0-1-16,-13-65 16,0 65-16,0-13 0,-14 1 15,-39-41-15,0 1 16,26 52-16,-66-39 16,67 53-16,-14 0 15,-93 0-15,80 13 16,0 13-16,-66 13 0,-40 40 15,132-26 1,-13-13-16,-39 52 0,12 14 16,14 39-1,53-40 1,13-52-16,211 198 31,-78-198-31,65 0 16,-92-40-1,-13 0-15,39-14 16,-119 14 0,53-13-16,-13 0 31,-40 13-31</inkml:trace>
  <inkml:trace contextRef="#ctx0" brushRef="#br0" timeOffset="-190291.09">9155 13123 0,'39'53'31,"-39"-40"-31,14 14 15,-14 13-15,-14 13 16,-12-14 0,26-26-16,-13 1 15,-1-1-15,1-13 16,0-13 0,26-14-1,0-12-15,1 25 16,-1-25-16,0-1 15,14-13 1,-27 0-16,0 27 16,-14 12-16,1-12 15,-13 13 1,-1 0 0,-13 26-16,27 0 15,0 0-15,0 14 16,13 12-1,0-25-15</inkml:trace>
  <inkml:trace contextRef="#ctx0" brushRef="#br0" timeOffset="-189831.85">9512 13282 0,'-13'0'0,"52"0"15,14 0 1,-40 0-16,14-13 16,13 13-16,-14 0 0,0-13 15,-12 13-15,12-14 16,-13 14-16,1 0 0,-14-13 0,13 13 16</inkml:trace>
  <inkml:trace contextRef="#ctx0" brushRef="#br0" timeOffset="-189627.47">9723 13150 0,'0'-13'0,"14"13"0,-28 13 16,41-26-16,13 26 16,-27 0-1,0-13-15,0 26 0,-13-12 16,0-1-16,0 0 0,0 14 15,0-1-15,-13-13 0,0 1 16,0 25-16,13-26 16,-14 1-16,1-1 0</inkml:trace>
  <inkml:trace contextRef="#ctx0" brushRef="#br0" timeOffset="-188844.77">10663 13163 0,'-93'-198'15,"80"184"-15,-106-39 32,106 53-32,-14 0 0,1 14 15,-1 12-15,1-13 0,-40 80 16,39-14-1,27-39-15,0 39 0,13-12 16,27-1 0,-13-40-16,25 14 0,-12-27 15,66 14-15,-80-41 16,27 14-16,-13-13 0,0-13 0,39-14 16,-39 0-1,26-26-15,-40 0 16,-12-13-16,-41-54 15,1 80-15,-14 27 16,0-1-16,-132-25 16,119 52-16,-158 26 15,131 0-15,14-12 0,13 12 16,-105 80-16</inkml:trace>
  <inkml:trace contextRef="#ctx0" brushRef="#br0" timeOffset="-188108.46">9379 14036 0,'0'146'15,"0"-80"1</inkml:trace>
  <inkml:trace contextRef="#ctx0" brushRef="#br0" timeOffset="-187823.35">9671 13864 0,'39'66'16,"-39"-26"-1,13-27-15,-13 14 0,0-14 16,27 27-16,-14-27 16,0-13-1,1 0-15,12 0 0,14 0 16,-1-13-16,-12 13 16,-1-14-1,-12 14-15</inkml:trace>
  <inkml:trace contextRef="#ctx0" brushRef="#br0" timeOffset="-187120.79">10583 13785 0,'14'-13'0,"12"26"31,-26 0-31,13 0 16,-13 0-16,-13 1 16,13-1-16,-13 0 0,0 14 15,-1-1-15,1-13 16,0 1-16,0 12 16,13-13-1,-14 0-15,28-13 16,12-13-1,1 0 1,12-27-16,-26 27 16,54-53-16,-54 53 0,-13-14 15</inkml:trace>
  <inkml:trace contextRef="#ctx0" brushRef="#br0" timeOffset="-186828.46">10676 13560 0,'-225'106'15,"185"-67"1,-92 200 0,119-160-16,13-39 15,13-1-15,14 27 0,12-26 16,-12-40-16,26 0 16,-14 0-16,107-79 15,-54 13 1,-25-1-16,-28 28 0,14-80 31,-66 79-15,13 27-16,-66-27 15,53 40-15,-14 0 16,14 0-16,-80 0 16,80 0-16,-13 13 15</inkml:trace>
  <inkml:trace contextRef="#ctx0" brushRef="#br0" timeOffset="-181335.3">12369 8202 0,'-26'-13'0,"13"13"16,52 0 15,-12 0-31,-14 0 16,13 0-16,14 0 0,0 0 0,-1 0 15,14 0-15,0 0 0,0 0 16,0 0-16,0 0 0,13-13 0,-13 13 16,0 0-16,0 0 0,79-14 15,-105 14 1,12 0-16,-12 0 0,-1 0 0,-12 0 16,-1 0-16,0 14 0</inkml:trace>
  <inkml:trace contextRef="#ctx0" brushRef="#br0" timeOffset="-181092.55">12541 8242 0,'133'0'16,"-1"0"-1,-79 0 1,0 0-16,0 0 0,0 0 16,-1 0-16,1 0 0,-13-13 0,53 13 15,-1 0-15,-65 0 16,-14 0-16,0 0 16,14 0-16</inkml:trace>
  <inkml:trace contextRef="#ctx0" brushRef="#br0" timeOffset="-180257.47">13335 8242 0,'40'0'15,"-27"0"1,13 0-16,-12 0 0,25 0 0,107 0 16,-93 0-1,13 0-15,0 0 0,0 0 0,0 0 16,-13 0-16,13 0 0,93 0 15,-119 0-15,0 13 0,-1-13 16,-12 0-16,-1 0 16,27 0-16,-40 0 0,0 0 0</inkml:trace>
  <inkml:trace contextRef="#ctx0" brushRef="#br0" timeOffset="-180023.77">13785 8268 0,'159'13'16,"-120"-13"-16,54 0 15,-1 0-15,-39 0 16,-13-13-16,92 0 15,-92 13-15,0 0 16</inkml:trace>
  <inkml:trace contextRef="#ctx0" brushRef="#br0" timeOffset="-174145.26">3916 2791 0,'0'14'16,"-13"-28"0,-1-12-1,14 13-15,0-1 16,-13-12-16,13 0 0,13-14 16,-13 13-16,0-12 15,14-1-15,-14 0 0,13 1 0,0-1 16,0 0-16,40-39 15,-13 39-15,0 0 0,-1 14 0,1-14 16,0 14-16,13-14 0,13 14 16,-13-1-16,13 1 0,145-27 15,-78 13 1,-54 27-16,0 0 0,-12 0 0,12 13 16,0-14-16,-12 14 0,-1-13 0,0 13 15,-13 0-15,13 0 0,-13 0 16,172 27-16,-159-14 15,-13-13-15,13 26 0,-13-13 16,0 1-16,0 12 0,0-13 0,26 27 16,-39-27-16,13 14 15,-14-14-15,1 0 0,0 14 0,39-1 16,-39-13-16,-1 1 0,41-1 16,-54 0-16,14-13 15,-14 0-15,40 0 0,-13 0 16,-13-13-16,0 13 0,-1-13 15,1 13-15,0-14 0,39-12 16,-39 13-16,-14-1 0,14 1 16,-14-13-16,1 13 0,-1-14 0,14 1 15,26-41-15,-39 41 16,-1 0-16,40-41 0,-26 41 16,-14-1-16,14 14 0,0 0 0,-14 0 15,14 0-15,-27 13 0,14-14 16,65 14-1,-65 0-15,12 14 0,-12-14 16,-1 0-16,14 13 0,0-13 16,-1 13-16,1 0 0,13 0 0,0 1 0,53 39 15,-53-40 1,52 40-16,-52-40 0,40 40 16,13-27-16,13 14 15,-53-40-15,13 13 16,-12-13-16,12 14 0,265-14 15,-238-14-15,-14 14 16,27-13-16,0-13 0,1 12 16</inkml:trace>
  <inkml:trace contextRef="#ctx0" brushRef="#br0" timeOffset="-169472.81">15399 3149 0,'-13'-14'16,"-1"14"-16,1 14 46,26-1-14,1-13-17,-14 13 1,13-13 0,-13 13-16,0 14 15,0-1 1,0-13-16,13 40 15,-13-39-15,0 65 16,0-26 0,13-14-16,-13-12 15,0-1-15,0 1 0,0-14 16,13 14-16,-13-14 0,0 53 16,0-53-1,0 0-15,0 1 0,0-1 0,0 0 16,-13 0-16,0 1 0,0-14 15,0 13-15,13 0 0,-27-13 16,14 13-16,0-13 0,-1 13 0,-12-13 16,13 14-16,-1-14 0,-12 26 15,13-13-15,-14 1 16,1 25-16</inkml:trace>
  <inkml:trace contextRef="#ctx0" brushRef="#br0" timeOffset="-167976.44">15227 4035 0,'13'0'0,"0"13"15,14-13 1,-14 0-1,0 0-15,0 13 16,1-13-16,12 14 16,-26-1-1,13 13 1,-13-12-16,14 25 0,-1 41 16,-13-54-16,0 14 15,13 26-15,-13-26 16,0-14-16,13 133 15,-13-133-15,13 27 16,-13-40-16,0 67 16,0-54-16,0 27 15,14-13 1,-14-27-16,0 0 16,0 0-16,0 1 15,0 12 1,0-13-16,-14-13 0,1 14 15,0-14-15,0 13 16,-27 0-16,-13 0 16,40-13-16,-14 14 15,14-14-15,0 13 0,-27-13 16</inkml:trace>
  <inkml:trace contextRef="#ctx0" brushRef="#br0" timeOffset="-167108.64">15214 5278 0,'26'14'0,"-13"-14"31,0 0-31,1 0 0,-1 0 16,0 13-1,0-13 1,1 13-16,-14 0 16,13 1-16,-13-1 15,0 0-15,0 14 16,13 52 0,-13-66-1,0 53 1,-13-26-1,-14 0 1,-26-1 0,40-25-1,-13-1 1,13 0-16,-1-13 0</inkml:trace>
  <inkml:trace contextRef="#ctx0" brushRef="#br0" timeOffset="-166156">15147 5874 0,'27'0'16,"-1"0"-1,1 0-15,26 0 16,-40 0-16,0 13 16,0-13-1,14 26-15,-1 1 16,-26-14-16,0 0 15,14 27-15,-14 0 16,13 39 0,0 14-16,0-54 15,0 28-15,1 12 16,12 40 0,-13-53-16,14 14 15,-27-41-15,26 27 16,-26-26-16,0-27 0,14 67 15,-14-14 1,-14-27 0,14-12-16,-26-1 15,-14 14-15,-13 0 16,-13-14-16,-53 1 16,26-14-1,27 0 1,13-13-1</inkml:trace>
  <inkml:trace contextRef="#ctx0" brushRef="#br0" timeOffset="-165190.35">14817 2659 0,'13'13'16,"0"67"0,-13-67-16,13 13 15,-13 14 1,0-27-16,0 1 0,14-1 16,-14 0-16,13 27 31</inkml:trace>
  <inkml:trace contextRef="#ctx0" brushRef="#br0" timeOffset="-164819.43">15015 2659 0,'0'-13'15,"0"0"1,-13 39-1,13-13-15,0 1 16,0 12-16,13-13 16,-13 0-16,13 1 15,14-1-15,12 0 32,-25-26-32,-1 13 15,-13-13-15,13-1 16,-13-12-16,-13 13 15,13 0-15,-27-1 16,-52 1 0,132 13-16,-66-13 0,-14 13 15,14 0 1,0 0-16,0 0 16</inkml:trace>
  <inkml:trace contextRef="#ctx0" brushRef="#br0" timeOffset="-164518.65">15108 2580 0,'26'13'16,"27"40"15,-40-40-15,1-13-16,-1 13 15,0-13-15,27-13 16,-27 13-16,0 0 16,0-13-16,-13 0 15,-13-27 1,0 13 0,0 14-1,-14 13-15,1 0 31,-1 0-31,14 0 0,13 13 16,-13-13-16</inkml:trace>
  <inkml:trace contextRef="#ctx0" brushRef="#br0" timeOffset="-164295.34">15584 2355 0,'13'-13'16,"-13"39"-1,0 14-15,-13 39 16,-13-13 0,26-39-1,0-14-15,-14 40 16,1-27-1,13-12-15</inkml:trace>
  <inkml:trace contextRef="#ctx0" brushRef="#br0" timeOffset="-164137.78">15478 2540 0,'0'-13'15</inkml:trace>
  <inkml:trace contextRef="#ctx0" brushRef="#br0" timeOffset="-164011.21">15743 2566 0</inkml:trace>
  <inkml:trace contextRef="#ctx0" brushRef="#br0" timeOffset="-163733.14">14883 3029 0,'66'-26'16,"0"0"-16,40-1 15,0-13-15,13 1 16,119-27 0,-145 39-1,-54 14-15,54-14 16</inkml:trace>
  <inkml:trace contextRef="#ctx0" brushRef="#br0" timeOffset="-163544.59">15319 2950 0,'53'-13'15,"-13"0"-15,251-106 16,-516-146-16,503 516 0</inkml:trace>
  <inkml:trace contextRef="#ctx0" brushRef="#br0" timeOffset="-137596.53">12303 10134 0,'0'26'31,"-13"40"-16,13-39-15,-13-1 16,13 1-16,-14 39 16,1-53-16,13 27 15,-13-27-15,13 0 0,0 0 0,0 1 16,-13-1 0,26-40 15,-13 14-31,0-13 0,0 12 0,13-12 15,-13-1-15,27-118 16,-14 118 0,0-39-16,0 53 0,14-13 15,-14 12-15,0 1 16,0 0-16,1 13 0,12 26 16,-13 1-1,1-14-15,-14 14 0,13 25 16,0-38-16,-13 65 15,0-39 1,0-27-16,0 13 0,0-12 16,0 12-16,0-13 0,13 14 15,-13-14-15,0 0 0,14 1 32</inkml:trace>
  <inkml:trace contextRef="#ctx0" brushRef="#br0" timeOffset="-137373.09">12303 10372 0,'-26'-14'16,"52"14"-16,-13 0 15,1 0-15,-1 0 0,93 0 32,-80-13-32,1 13 0,-1 0 15</inkml:trace>
  <inkml:trace contextRef="#ctx0" brushRef="#br0" timeOffset="-136763.71">12793 10239 0,'-93'0'16,"80"0"-1,0 0-15,13 14 16,0-1 0,0 0-16,13 0 15,-13 1-15,13 12 16,0 0-16,-13 1 16,0-1-16,-13 14 15,-13-27 1,26 1-16,-14-14 0,-12 13 15,13 0 1,-1-13-16,41-26 31,-14 12-15,0 14-16,40-39 0,-26 25 16,-1 1-16,40-40 15,14 0-15,-41 14 16,-25 25-16,-1 1 15,-13 0-15,0 0 16,-13 13-16,-14 0 16,14 13-1,0-13-15,13 13 0,-14-13 16,1 13-16,0 14 0,13-1 16,0-12-16,13-1 15,0 0 1,14 0-16,-14 0 0,27-13 15,-27 14 1,0-14-16,1 0 16</inkml:trace>
  <inkml:trace contextRef="#ctx0" brushRef="#br0" timeOffset="-134028.95">12382 10927 0,'-26'-13'16,"13"13"-1,0 27 1,-1-27-16,14 13 0,0 0 15,-13 0-15,13 0 0,0 1 16,-13 12-16,13-13 0,0 14 16,13-1-16,-13-13 0,0 1 15,13-1-15,1 0 16,-1 0-16,13-13 16,-13 0-16,1 0 15,-1-13-15,13 13 16,-12-26-16,-1 26 0,-13-14 15,13 1-15,-13 0 0,0 0 16,0-14-16,-13 14 0,13-13 16,-13-1-16,-14 1 15,27 13-15,-13-1 16,-14 1-16,14 13 16,0 0-1,0 0-15,0 0 0,-1 13 31,28 1-31,-14-1 0,0 0 0,13-13 16,0 13-16</inkml:trace>
  <inkml:trace contextRef="#ctx0" brushRef="#br0" timeOffset="-133623.36">12660 11060 0,'40'13'15,"0"-13"1,-14 0-16,1 13 15,-1-26 1,-13 13 0,14 0-16</inkml:trace>
  <inkml:trace contextRef="#ctx0" brushRef="#br0" timeOffset="-133339.39">13031 10927 0,'0'27'15,"0"-14"1,0 13-16,0-12 15,0-1-15,-13 53 16,13-53 0,0 0-16,0 1 15,0-1 1,0 0 0</inkml:trace>
  <inkml:trace contextRef="#ctx0" brushRef="#br0" timeOffset="-132797.72">13282 10993 0,'-40'80'32,"107"12"15,-54-92-32,40 0 1,-40 0-16,53-53 31,-53 27-15,-39-40 15,-14 39-15,27 27-16,-53-13 31</inkml:trace>
  <inkml:trace contextRef="#ctx0" brushRef="#br0" timeOffset="-132246.35">13824 11099 0,'27'0'31,"26"13"-15,-40-13-16,0 0 16,1 0-16,-1 0 15,-13 14-15</inkml:trace>
  <inkml:trace contextRef="#ctx0" brushRef="#br0" timeOffset="-131984.71">13824 11232 0,'40'-14'63,"-80"28"-63,93-28 15,-39 14 1,-1 0-16,0 0 16,14 0-1,-14 0-15,-13-13 16</inkml:trace>
  <inkml:trace contextRef="#ctx0" brushRef="#br0" timeOffset="-131155.67">14565 11073 0,'0'-13'16,"-13"39"15,13 0-31,-13-12 16,13-1-16,0 0 15,0 0-15,-13 14 0,13-14 16,0 0-16,0 1 15,13-1 1</inkml:trace>
  <inkml:trace contextRef="#ctx0" brushRef="#br0" timeOffset="-130755.45">14790 11033 0,'-13'0'15,"0"13"-15,0 1 16,-1-1-16,14 13 16,0 14-1,0-27-15,14 27 16,-1-27-1,0-13-15,13 13 16,-12-13-16,-14 14 0,13-14 16,13-14-16,-12 1 15,-14 0-15,0 0 16,0-1-16,0 1 16,0 0-16,-14 0 15,14-1-15,-26-12 16,26 13-16,-13 13 0,-1-13 15,-12 13 1,13 13-16,0-13 16</inkml:trace>
  <inkml:trace contextRef="#ctx0" brushRef="#br0" timeOffset="-130516.68">15174 10980 0,'-27'27'16,"14"12"-16,0 1 16,-14 0-16,14-27 15,13 0-15,-26 27 0,13 0 16,-1-27-1,14 0-15,0 0 16</inkml:trace>
  <inkml:trace contextRef="#ctx0" brushRef="#br0" timeOffset="-130339.42">14962 11033 0,'-13'0'16</inkml:trace>
  <inkml:trace contextRef="#ctx0" brushRef="#br0" timeOffset="-130178.35">15333 11179 0,'13'13'15,"0"-13"1</inkml:trace>
  <inkml:trace contextRef="#ctx0" brushRef="#br0" timeOffset="-125926.95">12316 11853 0,'0'27'0,"0"-14"16,-13 0-16,13 0 0,0 1 16,0-1-16,0 0 0,0 0 0,-13 14 15,13-14-15,0 14 16,0-14-16,0 0 0,-13 0 16,13 0-16,0 1 0,0-1 15,0 0-15</inkml:trace>
  <inkml:trace contextRef="#ctx0" brushRef="#br0" timeOffset="-125674.3">12541 11880 0,'0'26'32,"-13"-13"-32,13 1 0,0 12 15,0 1-15,0-1 16,0-13-16,0 1 0,0-1 16,-13-13-16,13 13 0,0 0 15,0 14 1,13-27-16,-13 13 15</inkml:trace>
  <inkml:trace contextRef="#ctx0" brushRef="#br0" timeOffset="-125447.77">12713 12039 0,'27'-14'15,"-14"14"-15,13 0 0,-12 0 16,12 0-16,-13 14 16,27-28-1,-27 14-15,0 0 0</inkml:trace>
  <inkml:trace contextRef="#ctx0" brushRef="#br0" timeOffset="-122005.59">13084 11946 0,'26'-13'32,"-13"-1"-17,27 28 1,-14 12 0,-26 14 15,-13-27-31,0 14 15,13-14-15,-13 0 0,0 13 16,-1-26-16,1 14 0,0-1 16,13 0-16,-13-13 15,13 13 1,13 1 0,0-14-1,0 0-15,14 0 16,-14 0-1,0 0-15,14 0 16,-14 0-16,13 0 0,1-14 16,-14 1-16</inkml:trace>
  <inkml:trace contextRef="#ctx0" brushRef="#br0" timeOffset="-121678.67">13428 11972 0,'-40'27'31,"40"-14"-31,40-53 0,-80 93 0,40-39 16,0-1-16,0 0 0,13 13 16,0-12-16,1-1 15,-1 0-15,13 0 16,-12-13-16,-1 0 15,0-13 1,0 0-16,-13 0 16,-13-1-16,0 1 15,13 0-15,-13 13 0,-1-13 16,-12 0-16,13-1 16,-1 1-1,1 13 1</inkml:trace>
  <inkml:trace contextRef="#ctx0" brushRef="#br0" timeOffset="-121410.59">13838 11999 0,'26'0'16,"-13"0"-16,1 0 15,25 0 1,-25 0-16,-1 0 0,0 0 15</inkml:trace>
  <inkml:trace contextRef="#ctx0" brushRef="#br0" timeOffset="-121192.49">13838 12091 0,'13'0'16,"0"0"-16,0 0 16,1 14-16,12-14 0,-13 0 15,1 0 1,-1 0-16,0 0 0,0 0 0,0 0 16,1 0-1</inkml:trace>
  <inkml:trace contextRef="#ctx0" brushRef="#br0" timeOffset="-119347.66">14579 11906 0,'39'-26'16,"-26"26"0,1 0-16,-1 13 15,0 0-15,-13 0 16,0 1-16,0-1 0,-66 40 31,40-27-15,12-26-16,1 14 15,26-1 17,1-13-32,-1 0 15,0 0-15,13 0 16,-12 0-16,12 13 16,-26 0-1,13-13-15,-13 27 16,-13-27-16,13 13 0,-13 0 15,0-13-15,-27 13 16,27 1-16,-27-1 16</inkml:trace>
  <inkml:trace contextRef="#ctx0" brushRef="#br0" timeOffset="-118943.71">14817 11972 0,'-14'0'16,"14"53"-1,14-26 1,25-14-1,-25 0-15,-1-13 16,13 13 0,14-13-16,-27-13 15,0 13 1,1-26 0,-14 13-1,0-14 1,-14 1-1,-12 12-15,-106 14 0,251 0 32,-146 0-17,-12 0 1,25 14 0</inkml:trace>
  <inkml:trace contextRef="#ctx0" brushRef="#br0" timeOffset="-118696.05">15359 11933 0,'13'0'16,"-26"26"-16,-66 80 16,39-53-1,14-13 1,-1-14-16,14 1 16,0-14-1</inkml:trace>
  <inkml:trace contextRef="#ctx0" brushRef="#br0" timeOffset="-118529.42">15055 11972 0</inkml:trace>
  <inkml:trace contextRef="#ctx0" brushRef="#br0" timeOffset="-118368.45">15438 12171 0,'27'0'32,"-14"0"-17</inkml:trace>
  <inkml:trace contextRef="#ctx0" brushRef="#br0" timeOffset="-117027.28">12396 12674 0,'66'-14'15,"-53"14"-15,14 0 0,-27 14 16,13-1 0,0 0-16,-26 13 15,0-12-15,13-1 16,-14 0-16,-12 27 15,-1-14 1,14-12-16,13-1 16,-13 0-1,26 0 1,-13 0 0,13-13-16,1 0 0,-1 0 15,0 14-15,40-28 16,-40 14-1,27-13-15,-27 0 16</inkml:trace>
  <inkml:trace contextRef="#ctx0" brushRef="#br0" timeOffset="-116829.29">12753 12674 0,'-13'39'31,"13"-26"-15,0 40 0,0-39-16,0 25 15,0-25-15,0 12 16,13-13-16,-13 0 16,0 1-16,13-14 15</inkml:trace>
  <inkml:trace contextRef="#ctx0" brushRef="#br0" timeOffset="-116616.64">12912 12832 0,'26'-13'31,"-13"13"-31,1 13 0,-1-13 0,0 0 16,0 0-16,14 0 15,-14 0-15</inkml:trace>
  <inkml:trace contextRef="#ctx0" brushRef="#br0" timeOffset="-115905.81">13203 12634 0,'39'0'15,"-25"13"1,-14 0-16,-14-13 0,14 14 16,-13-1-16,13 0 0,-13 0 15,0 0 1,26 1 0,0-14-1,14 0 1,-14 0-16,13 13 15,1 0 1,-14 0 0,-13 1-1,-13-1-15,0 0 16,-1-13-16,14 13 0,-39 1 16,25-14-1,-25 13 1,25 0-1</inkml:trace>
  <inkml:trace contextRef="#ctx0" brushRef="#br0" timeOffset="-115455.55">13467 12634 0,'-13'13'0,"0"27"15,13-27 1,-13 0-16,26 14 0,-13 26 31,26-14-31,1-25 16,-14-1-1,0-13-15,0 13 0,14-13 16,-1-13 0,-12 0-16,-1 13 15,-13-14-15,0 1 16,-13-40-1,13 40 1,-27 0-16,27-1 16,-13 1-16,-14 0 0,1 0 15,13 13 1,0-13-16</inkml:trace>
  <inkml:trace contextRef="#ctx0" brushRef="#br0" timeOffset="-114969.14">13996 12726 0,'14'-13'31,"-1"13"-15,0 0 0,0 0-16,14 0 15,-14 0-15,0 0 0,14 13 32</inkml:trace>
  <inkml:trace contextRef="#ctx0" brushRef="#br0" timeOffset="-114752.2">14036 12846 0,'40'13'31,"-27"-13"-31,27-13 15,-27 13-15,0 0 16,27 0-16,-14-14 16,1 14-16</inkml:trace>
  <inkml:trace contextRef="#ctx0" brushRef="#br0" timeOffset="-113790.33">14751 12568 0,'0'-14'15,"13"14"-15,-40 27 47,27-14-47,-26 0 16,13 14-16,-1-14 0,-12 0 16,13 1-16,-14-1 15,27 0-15,-13 0 0,13 0 16,-13-13-16,13 14 15,13-1 1,13 0-16,1 0 16,13-13-1,-14 14-15,-13-14 0,40 0 16,-13 0 0,-27 0-16,0 0 0,14 0 15,-14 0-15,0-14 16,0 1-1</inkml:trace>
  <inkml:trace contextRef="#ctx0" brushRef="#br0" timeOffset="-113547.72">14856 12568 0,'0'0'0,"-13"13"16,0 13 0,0-12-16,-1 25 15,14-25-15,-13 25 0,0-12 16,13-1-16,-13 27 16,13-40-16,-13 27 15,13-27-15,0 0 0,13 1 31</inkml:trace>
  <inkml:trace contextRef="#ctx0" brushRef="#br0" timeOffset="-113168.99">15068 12621 0,'-26'-14'0,"12"14"0,-12 27 15,13-27-15,13 13 16,-14 27-16,14-27 16,0 0-16,0 0 0,14 1 15,-1 12-15,13-13 16,-12 1-16,-1-14 0,13 0 16,-13 0-16,1 0 0,-1 0 15,0 0-15,0 0 16,-13-14-16,14 1 0,-14 0 15,0 0-15,0-1 16,-14 1-16,1 0 16,13 0-16,-13 13 0,0-13 0,-1-1 15,1 14-15,0 0 0,0-13 16,-27 26 0,27-13-16,0 14 15,39-1 16</inkml:trace>
  <inkml:trace contextRef="#ctx0" brushRef="#br0" timeOffset="-112902.35">15531 12554 0,'13'0'16,"-13"14"-1,0-1 1,0 0-16,0 27 16,-13-27-16,13 14 15,0-14-15,-13 13 0,13 1 0,-13-14 0,13 40 16,-14-27-16,14 1 16,-13-1-16,13-13 15,0 1-15,0-1 0,-13 13 16,79-423 15</inkml:trace>
  <inkml:trace contextRef="#ctx0" brushRef="#br0" timeOffset="-112731.39">15399 12740 0,'-13'-14'16</inkml:trace>
  <inkml:trace contextRef="#ctx0" brushRef="#br0" timeOffset="-112522.27">15756 12846 0,'-357'-106'0,"727"225"31,-383-132 0</inkml:trace>
  <inkml:trace contextRef="#ctx0" brushRef="#br0" timeOffset="-110419.2">12554 13494 0,'-13'0'15,"26"-13"1,1 13-16,-14-14 0,13 14 15,0 0-15,27 0 16,-40 14-16,13-14 16,-13 13-16,13 0 15,-26 13-15,13-12 16,0-1 0,0 0-16,0 0 31,13 1-31,14 12 15,-14-13 1,0 0-16,-13 1 16,0-1-16,-13 13 15,0-12 1,0-1 0,-1-13-16,1 13 0,0-13 15,0 0-15,13-13 16</inkml:trace>
  <inkml:trace contextRef="#ctx0" brushRef="#br0" timeOffset="-110099.72">12819 13507 0,'0'40'16,"0"-27"-1,0-66-15,0 119 0,0-53 0,13 1 16,1 12-16,-1-13 16,0 0-16,0-13 15,0 14-15,1-14 0,-1 0 16,0-14 0,0 1-1,-26 13-15,13-26 0,-13 13 16,13-1-16,-40-12 15,27 13 1,0 13-16,0-14 16,-1 14-16,1 0 15</inkml:trace>
  <inkml:trace contextRef="#ctx0" brushRef="#br0" timeOffset="-109775.83">13137 13626 0,'-14'0'16,"54"0"0,-27 0-1,0 0-15,1 0 16,-1 0-16,0 0 15</inkml:trace>
  <inkml:trace contextRef="#ctx0" brushRef="#br0" timeOffset="-108889.34">12819 13507 0,'13'26'31,"-13"-12"-31,0-1 16,14 27-16,-14-27 0,0 0 16,0 0-16,0 0 0,13 27 15,0-27 1,-13 1-16,0-1 15,0-40 17,0 14-32,0 0 15,0 0-15,0-1 0,0-12 0,-13-27 32,13 27-32,-13-14 15,13 27-15,0 0 0,0-1 0,0 1 16,13 13-1,0 0-15,0 0 0,14 0 16,12 13 0,-25 1-16</inkml:trace>
  <inkml:trace contextRef="#ctx0" brushRef="#br0" timeOffset="-108501.58">13586 13481 0,'-39'39'15,"25"-39"-15,-25 27 16,39-14-16,-13 0 16,-1 0-16,1 1 15,13-1-15,-13-13 0,13 13 16,0 0 0,0 0-16,13-13 0,0 14 15,14-14 1,-14 13-16,0-13 0,0 0 15,1 0 1,-1 0-16,0 0 0,14 0 16,-14 0-1</inkml:trace>
  <inkml:trace contextRef="#ctx0" brushRef="#br0" timeOffset="-108272.9">13586 13547 0,'-13'13'16,"0"0"-16,13 0 16,0 1-16,-13-1 0,13 0 15,0 13-15,0-12 16,0 12-16,-14-13 0,14 1 0,0-1 15,14 0-15,-14 0 0,13 1 16</inkml:trace>
  <inkml:trace contextRef="#ctx0" brushRef="#br0" timeOffset="-107916.18">13758 13560 0,'-26'26'15,"26"-12"-15,0-1 0,0 0 16,0 0-16,0 0 16,13 14-1,0-27-15,1 0 0,-1 0 16,0 13-16,0-13 0,0-13 15,1 13-15,-1-13 16,0-1 0,-13 1-16,0 0 0,0 0 15,0 0-15,-13-1 0,0 14 16,13-13-16,-14 0 0,1 13 16,0-13-16,0 13 0,0-14 15,-1 14 1</inkml:trace>
  <inkml:trace contextRef="#ctx0" brushRef="#br0" timeOffset="-107691.89">14155 13414 0,'40'-13'15,"-27"13"-15,0 0 0,1 0 16,-1 0-16,0 13 16,0-13-1,-13 14-15</inkml:trace>
  <inkml:trace contextRef="#ctx0" brushRef="#br0" timeOffset="-107511.45">14155 13600 0,'-13'13'16,"53"-26"15,-27 13-16,0 0-15,0-14 16,40 1 0,-39 13-16</inkml:trace>
  <inkml:trace contextRef="#ctx0" brushRef="#br0" timeOffset="-106013.64">14803 13388 0,'27'-13'0,"-14"13"16,0 0-16,1 0 0,-1 13 15,0 0 1,-13 0-16,0 1 0,0-1 16,0 0-16,-13 0 15,13 1-15,-13-1 0,-1 0 16,1 13 0,0-26-16,13 14 0,13-1 31,0-13-31,1 0 15,-1 0-15,0 13 16,0-13-16,0 13 16,1-13-16,-14 14 0,13-14 15,-13 13-15,0 0 16,0 0-16,0 0 16,-13-13-16,13 14 0,-14-1 0,1 0 15,0-13-15,0 13 16,-14 1-1,14-14-15,0 0 16</inkml:trace>
  <inkml:trace contextRef="#ctx0" brushRef="#br0" timeOffset="-105666.58">15015 13507 0,'0'26'32,"0"1"-17,0-14-15,13 27 16,1-27-16,-14 0 0,13-13 16,-13 13-16,39 14 15,-25-27-15,-1 0 0,0 13 0,0-13 16,1-13-16,-1 13 15,0 0-15,0 0 0,-13-13 0,14 13 0,-14-14 16,0 1-16,0 0 16,-14-13-1,1 12-15,0 1 0,0 13 16,13-13-16,-14 13 0,1 0 0,0-13 16,0 13-16,-1 0 0,1 0 15,13 13-15,-13-13 0,0 0 0,0 0 16,13 13-16,-14-13 15</inkml:trace>
  <inkml:trace contextRef="#ctx0" brushRef="#br0" timeOffset="-105407.16">15452 13401 0,'13'13'16,"-13"1"-16,0 12 0,0-13 15,-13 1-15,13-1 0,0 13 0,-14 27 16,1-26 0,13-1-16,0-13 0,0 0 15,-13 1-15,13 12 16,0-13-1,-13 1-15</inkml:trace>
  <inkml:trace contextRef="#ctx0" brushRef="#br0" timeOffset="-105248.8">15293 13533 0,'-13'-13'16</inkml:trace>
  <inkml:trace contextRef="#ctx0" brushRef="#br0" timeOffset="-105092.46">15505 13639 0,'13'13'16,"-40"-26"-16,41 13 0</inkml:trace>
  <inkml:trace contextRef="#ctx0" brushRef="#br0" timeOffset="-101923.05">15452 10716 0,'66'0'15,"-53"0"-15,14 13 16,-14-13-16,0 0 0,0 0 16,0 0-16,1 13 0,-1-13 15,0 13 1,-13 1-16,13-14 15,-13 26-15,0-13 16,0 27-16,14-27 0,-14 0 16,0 93-1,0-93-15,0 14 16,0-1-16,26 40 16,-26-39-16,13-1 0,-13-12 0,13 39 15,1-27 1,-1 0-16,0 1 15,-13-14-15,0 0 0,13 1 16,-26-14-16,13 13 16,0 0-16,-13 0 0,0 1 15,-1-14-15,-12 13 0,13-13 0,-67 13 32,28 0-32,-28-13 15,40 0-15,27 0 16,13 13-16,-13-13 0,0 0 15</inkml:trace>
  <inkml:trace contextRef="#ctx0" brushRef="#br0" timeOffset="-101240.35">15518 11628 0,'26'-13'16,"1"13"-16,-14 0 15,0 0-15,0 0 0,1 0 16,-1 0-16,13 0 0,-26 13 16,14-13-16,-1 14 15,-13-1-15,13-13 16,-13 53-1,0-40-15,0 0 0,-13 53 16,26-26 0,-13 0-16,0-27 15,0 13-15,0 14 16,0-13-16,0 12 16,0-12-16,0-14 15,-13 13-15,13-12 16,-27 12-16,14-26 0,13 13 15,-40 1-15,14-1 16,13-13-16,0 13 16,-1-13-16,14 13 15</inkml:trace>
  <inkml:trace contextRef="#ctx0" brushRef="#br0" timeOffset="-100646.49">15729 12462 0,'40'-13'16,"-27"13"0,1 0-16,-1 13 15,0-13-15,-13 13 0,27 14 16,-27-14 0,13 13-16,-13-13 15,13 27-15,-13-13 0,13-1 16,-13 1-16,13 39 0,-13-40 15,14 14 1,-1 13-16,-13-27 0,0-13 0,13 14 16,-13-14-16,0 14 15,0-1-15,-13-26 16,0 27-16,-1-27 0,1 13 16,0-13-16,-13 13 15,-14 0-15,27-13 0,-14 0 16,14 13-16,0-13 15,-1 14-15,1-14 16</inkml:trace>
  <inkml:trace contextRef="#ctx0" brushRef="#br0" timeOffset="-100063.89">15505 13282 0,'26'0'32,"-13"0"-32,27 0 31,-27 0-31,14 13 15,-27 1 1,13-1-16,-13 0 16,0 13-1,0 1-15,0-14 0,0 0 16,0 27-16,13 53 31,0-80-31,-13 13 0,0 1 16,14-1-16,-14 14 15,0 0 1,-14-27-16,14 0 16,-13 0-16,0 1 0,0-14 15,-14 13-15,1 0 16,13-13-16,-1 13 16,-25-13-16,25 13 0,1-13 15,-13 0-15,12 0 16</inkml:trace>
  <inkml:trace contextRef="#ctx0" brushRef="#br0" timeOffset="-97566.08">16153 9975 0,'0'26'16,"-13"40"0,13-26-16,0-27 15,-14 1-15,14 12 0,0-13 16,0 14-16,-13-1 16,13-13-16,0 14 15</inkml:trace>
  <inkml:trace contextRef="#ctx0" brushRef="#br0" timeOffset="-97125.62">16285 9988 0,'-40'40'16,"27"-27"-16,0 27 15,13-14-15,0-13 0,0 14 0,0-14 16,26 27-1,-12-40-15,-1 13 16,13-13-16,1 0 16,-14 0-1,13-13 1,-26-1-16,14-25 16,-14 12-16,-14 27 15,1-53 1,0 27-16,0 26 15,0-13 1,-1 13-16,1 0 16</inkml:trace>
  <inkml:trace contextRef="#ctx0" brushRef="#br0" timeOffset="-96770.66">16536 10014 0,'-52'80'16,"52"-54"-16,13 1 16,0-14-16,0 0 15,14 0 1,-14-13-16,0 14 0,53-28 31,-52 1-31,-1 13 16,-13-13-16,0-13 15,-13 12-15,13-12 16,-27-1-16,27 14 16,-26-13-16,-14 12 15,13 14 1,14 14-1,-13-1-15,13-13 0,-1 13 16,1 0-16</inkml:trace>
  <inkml:trace contextRef="#ctx0" brushRef="#br0" timeOffset="-96408.91">16100 10345 0,'53'13'15,"-27"-13"-15,-13-13 0,14 13 0,-1 0 0,1 0 16,13 0-16,12 0 16,15-13-16,-41 13 15,1 0-15,52-13 31</inkml:trace>
  <inkml:trace contextRef="#ctx0" brushRef="#br0" timeOffset="-96132.22">16140 10425 0,'158'13'31,"-118"-13"-31,-14 0 0,41-13 16,-14 13 0,-27 0-16,0 0 15,-12 0-15,12 0 16,-13 0-16,1 0 15,-1 0 1</inkml:trace>
  <inkml:trace contextRef="#ctx0" brushRef="#br0" timeOffset="-93651.29">16259 10941 0,'-14'39'0,"14"-12"16,-13-27-16,13 13 0,0 0 0,-13 14 16,13-14-1,-13 13-15,13-13 16,-14 14-16,14-14 15,0 0-15,14 1 16</inkml:trace>
  <inkml:trace contextRef="#ctx0" brushRef="#br0" timeOffset="-93292.25">16378 11020 0,'-14'13'16,"-12"0"0,26 1-1,0 12-15,0-13 16,0 0-16,13 1 16,14-107-16,-54 199 0,54-225 0,-41 251 15,41-119-15,-14-13 16,0 0-1,27 0-15,-40-13 0,13 0 16,1 13-16,-14-13 0,13 13 16,-13-14-16,0 1 0,-13-26 31,-1 39-31,1-14 0,0 14 16,0-13-16,-1 13 15,1 0-15,0 0 16,0 0-16,13 13 15</inkml:trace>
  <inkml:trace contextRef="#ctx0" brushRef="#br0" timeOffset="-92235.59">16113 11827 0,'0'-13'15,"13"13"1,1 0-16,-1 0 16,0 13-1,0 0-15,-26 0 31,13 1-31,0-1 0,-13-13 16,13 13-16,0 0 31,0 0-31,0 1 16,0-1 0,0 0-1,0 0-15,-13 1 16,-1-1-1,1-13 1,-13 13-16,12-13 16</inkml:trace>
  <inkml:trace contextRef="#ctx0" brushRef="#br0" timeOffset="-91961.25">16232 11880 0,'13'13'31,"-13"0"-31,-13-39 0,40 65 16,-14-25-16,0-1 16,0-13-16,1 0 15,-1 0 1,13-13-16,-26-1 15,0 1 1,0-13 0,-13 13-1,0 13-15,0 0 16,-1 0-16,1 26 16</inkml:trace>
  <inkml:trace contextRef="#ctx0" brushRef="#br0" timeOffset="-91301.79">16298 12568 0,'-13'26'47,"0"-26"-47,0 13 0,-1 1 16,1-1-16,-40 40 16,40-40-1,0 0 1,13 0-1,0 1-15,26-14 16,-26 13-16,27-13 16,-14 0-16,0 0 15,0 0-15,27 0 0,-27 0 16,14 0-16,-1 0 0,1 0 16,-14-13-16,0 13 0,0 0 15,1-14 1,-1 1-16</inkml:trace>
  <inkml:trace contextRef="#ctx0" brushRef="#br0" timeOffset="-91073.78">16378 12581 0,'-53'106'16,"40"-53"0,13-40-1,0 13-15,0-12 0,-14-1 0,14 0 16,0 14 0,0-1-16,14-26 15</inkml:trace>
  <inkml:trace contextRef="#ctx0" brushRef="#br0" timeOffset="-90735.16">16589 12647 0,'-13'0'15,"0"27"1,0-14-1,13 13-15,13 1 16,0-27-16,14 13 16,-27 0-16,39-13 15,1-13 1,-27 0 0,0-14-1,-13 1-15,-13 13 16,0-14-1,-13 1-15,12 12 16,1 14-16,-27 14 16,27-1-1</inkml:trace>
  <inkml:trace contextRef="#ctx0" brushRef="#br0" timeOffset="-89651.01">16259 13348 0,'26'0'15,"1"0"1,-14 0-1,0 13-15,13 1 0,-26-1 16,14-13-16,-14 26 16,-14-12-16,14-1 15,-13 13 1,0-12-16,0-1 16,26-13 15,0 13-16,0-13-15,14 13 16,-14 0 0,0 14-1,-26-1-15,0 1 16,-14-14 0,1 0-1,13-13-15,-14 13 16,14-13-16,0 0 15,0 0-15,13-13 16</inkml:trace>
  <inkml:trace contextRef="#ctx0" brushRef="#br0" timeOffset="-89295.42">16536 13414 0,'93'14'188,"-106"-14"-188,-40 13 47</inkml:trace>
  <inkml:trace contextRef="#ctx0" brushRef="#br0" timeOffset="-88296.75">16682 13454 0,'0'-13'31,"-26"26"-15,12-13-1,-25 79 1,25-79-16,14 14 15,0-1-15,-13 13 16,13 14 0,13-27-16,-13 0 15,53 1 17,-26-28-32,-14 1 15,27-13 1,-27-1-1,-13 14 1,0-13-16,0 12 16,-13-12-16,13 13 15,-14 0-15,1-1 16,-13 1 0,-1 13-16,14 0 15,0 13-15,0-13 16,-1 14-1</inkml:trace>
  <inkml:trace contextRef="#ctx0" brushRef="#br0" timeOffset="-71307.28">12171 2910 0,'13'0'0,"-26"-13"62,0 13-46,-1-13 0,1 13-16,0 0 0,0 0 15,-27 0 1,27 0-16,0 0 0,-1 0 15,1 0-15,0 0 0,-14 0 16,14 13-16,0-13 0,0 13 0,-14 1 16,-39 52-1,40-40-15,12 1 0,-12-14 16,-14 40-16,27-13 16,-13 12-16,12-12 0,1-13 0,0 12 15,-14 67 1,14-79-16,13-1 0,0 40 15,0-53-15,13 14 16,1-1-16,-14-12 0,13-1 0,0 13 16,14-13-16,-14 1 0,27 12 15,12-13-15,-25 1 16,-1-14-16,1 13 0,-14-13 16,27 0-16,-14 0 0,1 0 0,-1 0 15,1-13-15,-1 13 0</inkml:trace>
  <inkml:trace contextRef="#ctx0" brushRef="#br0" timeOffset="-70600.08">14089 2858 0,'0'-14'16,"13"14"-16,1 0 16,38 40-1,-25-14-15,13 27 16,-14-26-16,1-1 0,-14 1 16,26 39-16,-12 0 15,-27-40-15,13 1 0,-13 52 16,0-39-16,-13 0 0,0-14 15,-14 53-15,14-52 16,-53 66 0,39-67-16,-12 27 0,25-27 15,-25 14-15,12-13 16,14-14-16</inkml:trace>
  <inkml:trace contextRef="#ctx0" brushRef="#br0" timeOffset="-69356.52">12740 3400 0,'79'-40'15,"-66"40"-15,27-13 16</inkml:trace>
  <inkml:trace contextRef="#ctx0" brushRef="#br0" timeOffset="-68099.4">12594 3506 0</inkml:trace>
  <inkml:trace contextRef="#ctx0" brushRef="#br0" timeOffset="-67966.23">13070 3268 0</inkml:trace>
  <inkml:trace contextRef="#ctx0" brushRef="#br0" timeOffset="-66627.49">14261 3995 0,'0'-13'16,"0"79"-1,-13-39 1,-14 78 0,-12 1-16,39-79 15,-14-1-15,14-13 0,0 27 16,0-13-16,0-14 16,0 13-16,14-13 0,-1-13 15,0 14 1,0-14-16,1 0 15,12 0-15,-13 13 16,-13 0 0,14 14-16,-14 12 15,0-25-15,-14 25 0,14 1 16,-13 0-16,13-1 0,0 1 0,-13 0 16,0 65-16,-1-25 15,1-40 1,0-14-16,0 14 15,-14-1-15,1-25 16,13-1-16,-1 0 16,-12-13-16</inkml:trace>
  <inkml:trace contextRef="#ctx0" brushRef="#br0" timeOffset="-65936.37">13018 4247 0,'13'0'15</inkml:trace>
  <inkml:trace contextRef="#ctx0" brushRef="#br0" timeOffset="-63488.1">12502 5530 0,'26'13'31</inkml:trace>
  <inkml:trace contextRef="#ctx0" brushRef="#br0" timeOffset="-63160.33">12449 6350 0</inkml:trace>
  <inkml:trace contextRef="#ctx0" brushRef="#br0" timeOffset="-62967.98">12951 6800 0,'0'13'16</inkml:trace>
  <inkml:trace contextRef="#ctx0" brushRef="#br0" timeOffset="-62816.42">13414 7342 0,'14'0'0</inkml:trace>
  <inkml:trace contextRef="#ctx0" brushRef="#br0" timeOffset="-62508.17">14235 6324 0,'-14'-27'0</inkml:trace>
  <inkml:trace contextRef="#ctx0" brushRef="#br0" timeOffset="-56355.91">16642 10835 0,'14'26'16,"-14"-13"-1,13 1-15,-13-1 0,0 0 16,0 40 0,13-13-16,0 26 15,-13-40-15,13-13 16,-13 14-16,27 39 16,-14-53-16,0 53 0,1-39 0,12 52 15,1-13 1,-14-13-16,0-13 15,-13-13-15,13 12 0,0-12 16,1 39-16,-1 26 16,0-65-16,-13-1 15,13 27-15,-13-13 0,14 13 16,-1-27-16,0 67 16,0-14-1,14 27-15,-27-79 16,13 39-16,0-27 15,-13-12-15,13 39 0,-13-26 16,0-14-16,0 67 16,0-80-16,0 13 15,14 41 1,-14-54-16,0 27 16,0-27-16,0 0 0,0 0 15,0 0-15,13 14 16,-13-14-16,0 0 0,13 1 15,-13 12-15,13-26 16,-13 13-16,0 1 0,14-1 16,-14 13-16,13-13 15,-13 1 1,0-1 0,0 13-16,0-12 15,0-1-15,-13 13 16,-14 1-16,14-1 15,-53 40 1,13-13-16,0 13 16,0-13-16,13 13 15,14-39-15,-14 26 16</inkml:trace>
  <inkml:trace contextRef="#ctx0" brushRef="#br0" timeOffset="-55360.77">16722 10874 0,'-40'-26'16,"14"26"-16,-186-27 16,53 14-16,-39 13 15,-14 0 1</inkml:trace>
  <inkml:trace contextRef="#ctx0" brushRef="#br0" timeOffset="-53632.38">12396 9485 0,'-27'0'0,"14"14"15,0-1-15,0 0 0,-14 0 0,-26 80 32,40-80-32,13 14 15,0-1-15,13 0 16,14-12-1,-14-14-15,0 0 0,14-14 0,12 1 16,-26 13 0,40-13-16,-39 13 15,-1 0-15,0 0 0,-13 13 16,13-13-16,1 27 16,-1-1-16,-13 1 15,0-1-15,0-13 16,0 0-16,13 27 31</inkml:trace>
  <inkml:trace contextRef="#ctx0" brushRef="#br0" timeOffset="-53298.64">12621 9618 0,'0'-14'15,"13"67"17,-13-39-32,0-1 15,0 0-15,0 0 16,0 14-1,0-14-15,13-40 32,-13 14-17,0 0-15,13 13 16,-13-26 0,14 26-16,-1-14 0,-13 1 15,13 13-15,0-13 16,0 13-16,14-13 0,-14-1 15</inkml:trace>
  <inkml:trace contextRef="#ctx0" brushRef="#br0" timeOffset="-53032.26">12832 9578 0,'53'172'62,"-13"-172"-30,-27-13-17,-13-1-15,0 1 16,0-13-16,0 13 16,-26-14-1,12 14 1,1 26-1,0-13 1</inkml:trace>
  <inkml:trace contextRef="#ctx0" brushRef="#br0" timeOffset="-52262.91">13044 9671 0,'-26'26'31,"26"-13"-15,0 0-16,13-13 0,0 14 16,0-14-1,0 0 1,14-14 0,-14 14-1,0 0 16,14 0-15,-27-13 0,13 13-16,0-13 15,0 0-15,1-14 16,-1 1 0,0 39 15,0-13-16,-13 27-15,0-1 16,0 0-16,0-12 0,0 52 16,0-53-1,-13 40-15,13-27 16,0-12-16,0-1 16,-397-357-1,794 648 1,-384-317-16,-13 0 0,14-14 15,39-26 1,-40 40-16,0 13 16,13-13-1,-12 26 1,-1 0 0,-40 27-1,1-14 1,13-12-16,0-14 15,13 13 1</inkml:trace>
  <inkml:trace contextRef="#ctx0" brushRef="#br0" timeOffset="-52059.1">13454 9697 0,'106'13'63,"-53"-26"-32</inkml:trace>
  <inkml:trace contextRef="#ctx0" brushRef="#br0" timeOffset="-51642.12">13851 9551 0,'-13'67'16,"13"-28"0,0-12-16,0 26 15,0-27 1,0-13-16,0 1 0,0 12 15,0-13 1,0 0 0</inkml:trace>
  <inkml:trace contextRef="#ctx0" brushRef="#br0" timeOffset="-51227.95">13864 9591 0,'93'-13'16,"-93"26"-1,0 40 1,-13-40-16,-1 1 0,-12 12 16,-1 0-1,14-12-15,0-14 16,0 26-16,-1-26 16,1 13-16,26 1 31,1-14-31,-1 0 15,27 13 1,13-13 0,-40-13-16,26 13 15,-25 0 1,12 0-16</inkml:trace>
  <inkml:trace contextRef="#ctx0" brushRef="#br0" timeOffset="-50521.1">14208 9671 0,'-40'0'0,"27"13"16,0 0-1,0 0-15,0 14 16,13-14 0,-265-212-16,530 411 15,-265-199-15,13-13 16,-13 14-16,13-14 15,13-14 1,-12 1 0,-14 0-16,13 0 15,0-1 1,-357-118 0,701 264 30,-357-118-30,14-14 0,-14 13-1,13-13 17,-53-79-17,106 158 1,-52-79-1,-1 0-15,0 0 16,0 13 0,0-13-1,1 0-15,-1 0 32,0 0-17,0 0 1,1-13-1,-1 13-15,0-13 16</inkml:trace>
  <inkml:trace contextRef="#ctx0" brushRef="#br0" timeOffset="-49932.9">14671 9538 0,'0'0'15,"-13"40"17,13-27-32,0 0 15,0 14-15,0-1 0,-13 1 16,26 12-1,-13-12 1,0-14-16,0 0 16,13-13-16,-26-13 47,0 13-32,-1-13-15,-12 13 16,0 0-16,12 0 0,1 0 15,0 13-15,0-13 0,-1 0 16,-25 27 0,12-14-16,27 0 15,-13 0-15,26-13 16,0 0 0,1 13-16,12-13 0,-13-13 0,1 13 15,12 0-15,14-13 16</inkml:trace>
  <inkml:trace contextRef="#ctx0" brushRef="#br0" timeOffset="-49403.38">14737 9671 0,'-26'13'15,"13"-13"-15,13 13 16,0 0-16,0 14 16,0-14-16,0 0 15,0 0-15,13-13 0,0 14 16,0-1-16,1-13 15,-1 0-15,0 0 16,0-13-16,14 13 16,-27-14-16,0 1 15,0 0 1,0 0-16,0-1 0,-14 1 31,14 0-31,-13 13 16,0 0-1</inkml:trace>
  <inkml:trace contextRef="#ctx0" brushRef="#br0" timeOffset="-48968.84">14870 9671 0,'13'0'15,"0"13"1,-39-26 0,52 39-16,-26-13 15,13 0-15,-13 1 16,0-1 0,13-13-1,1 0 16,-1 0-15,0 0-16,0 0 16,1 0-1,-1 13 1,0-13 0,0 0 30,1 0-30,-1 0-16,0-13 31,13 13-31,-12 0 16,-1-13-16,0 13 16</inkml:trace>
  <inkml:trace contextRef="#ctx0" brushRef="#br0" timeOffset="-48721.08">15253 9684 0,'40'0'47,"-27"0"-47,0 0 16</inkml:trace>
  <inkml:trace contextRef="#ctx0" brushRef="#br0" timeOffset="-48508.02">15359 9591 0,'27'0'16,"-27"13"-16,13-13 0,-53-13 0,80 40 15,-27-14-15,-13 0 16,0 27-16,-13-14 15,0 1-15,13-14 16,-14 13-16,1 1 16</inkml:trace>
  <inkml:trace contextRef="#ctx0" brushRef="#br0" timeOffset="-47814.72">15809 9512 0,'-53'13'16,"53"0"0,-13 27-1,26-14-15,-13-12 0,0-1 16,13 13-16,-13-12 15,0-1-15,0 0 0,0 0 16,0 0-16,-13 14 16,0-14-16,-1-13 15,1 13-15,0-13 16,-13 0-16,26 14 16,-14-14-16,1 0 15,0 0-15</inkml:trace>
  <inkml:trace contextRef="#ctx0" brushRef="#br0" timeOffset="-47268.26">15835 9684 0,'0'-13'15,"-26"26"-15,26 13 16,0-13-16,0 1 16,13-14-16,-13 13 15,13 0 1,1-13-16,-1 0 16,0 0-16,-13-13 15,13 13 1,0-13-16,1-1 15,-1 14 17,0 14-17,0-1 1,-13 0 0,14-13-16,-14 13 15,0 1 1,13-14-1,0-14 17,-13 1-17,13 13-15,1-13 16,-1 0 0,0-1-1,0 14 1,0 0 15,-13-13-31</inkml:trace>
  <inkml:trace contextRef="#ctx0" brushRef="#br0" timeOffset="-46513.07">16166 9657 0,'0'27'31,"0"-14"-15,0 0-16,0 0 15,0 1-15,13-1 16,0 0-1,1-13 1,-14-13 0,13 13-16,-13-13 15,13-1-15,0 14 16,-13-13-16,14 13 31,-1-13-31,0 13 31,-13-13-15,0 26 78,0 0-79,13-13 1,1 13 0,-1-13 15,0 0-15,0 0 15,-13 14-16,13-14 1,1 0 0,-1 0-1,0 13 1,0-13 15,1 0 0,-14-13-31,13 13 16,-13-14-16,40-38 0,-27 25 16</inkml:trace>
  <inkml:trace contextRef="#ctx0" brushRef="#br0" timeOffset="-25460.27">11642 3863 0,'26'-13'15,"-13"13"1,1 0-16,25 0 16,-25 0-16</inkml:trace>
  <inkml:trace contextRef="#ctx0" brushRef="#br0" timeOffset="-24620.14">11523 5252 0,'39'13'32,"-25"-13"-32,-1-13 0,0 13 15,0 0-15</inkml:trace>
  <inkml:trace contextRef="#ctx0" brushRef="#br0" timeOffset="-21374.53">19434 3400 0,'0'-13'31,"-40"13"-15,27-14-16,-40 14 15,40 0 1,-1 0-16,-12 0 0,13 0 16,-1 0-1</inkml:trace>
  <inkml:trace contextRef="#ctx0" brushRef="#br0" timeOffset="-20893.71">19328 3268 0,'-40'13'16,"27"0"-16,0 0 0,-1-13 0,-12 27 16,13-14-1,0 13-15,13-12 16,0-1-1,0 0-15,13-13 0,-13 13 0,26 1 16,1-1 0</inkml:trace>
  <inkml:trace contextRef="#ctx0" brushRef="#br0" timeOffset="-9424.71">13626 3664 0,'0'14'0</inkml:trace>
  <inkml:trace contextRef="#ctx0" brushRef="#br0" timeOffset="-8778.99">13811 5556 0</inkml:trace>
  <inkml:trace contextRef="#ctx0" brushRef="#br0" timeOffset="-8589.72">13772 6522 0,'13'13'0</inkml:trace>
  <inkml:trace contextRef="#ctx0" brushRef="#br0" timeOffset="1772.47">19632 3175 0,'-66'93'16,"53"-67"-16,26-13 15,-13 1-15,13-1 16,0 0-16,1-13 0,-1 0 16,0 13-16,0-13 0,1-13 15,-1 13-15,40-13 16,-40 13-16,0 0 0,0 0 0,1-13 16,-1 13-16,0 0 15,14 13 1,-14-13-16,-13 13 15,0 0-15,13 0 16,-13 1-16,0-1 16,13 13-1</inkml:trace>
  <inkml:trace contextRef="#ctx0" brushRef="#br0" timeOffset="2000.68">20042 3175 0,'0'53'16,"0"-27"-1,0-12 1,0-1-16,0 0 0,0 0 0,0 1 16,0-1-16,0 0 15</inkml:trace>
  <inkml:trace contextRef="#ctx0" brushRef="#br0" timeOffset="2504.22">19632 3585 0,'-93'106'16,"93"-93"-1,-13 27-15,13-27 16,13 14-16,1-14 0,-14 0 15,26 0-15,1-13 16,-14 13 0,0-26-16,14 13 15,-14 0-15</inkml:trace>
  <inkml:trace contextRef="#ctx0" brushRef="#br0" timeOffset="2787.45">19844 3625 0,'26'39'15,"-39"-12"-15,0-14 16,0 14-16,13-14 0,-14 0 15,14 0-15,0 1 16,14-1 0,-1-185-16,-13 344 0,13-172 15,0 0-15,14 0 16,-1 0 0,1 0-16</inkml:trace>
  <inkml:trace contextRef="#ctx0" brushRef="#br0" timeOffset="3377.94">19672 4008 0,'39'14'15,"-52"-1"1,13 0-16,0 0 16,-13 1-16,13-1 15,13-13-15,-13 13 16,13 0-16,1 1 16,-1-1-1,0 0 1,-13 0-16,-13 0 15,13 1-15,-13-1 16,-14 0-16,14 0 16,0-13-16,0 14 15</inkml:trace>
  <inkml:trace contextRef="#ctx0" brushRef="#br0" timeOffset="3893.26">19791 4498 0,'-40'26'15,"27"-12"-15,0-1 0,-1-13 0,1 13 16,13 0-16,-39 14 16,39-14-1,0 0 1,13-13-16,-13 13 0,39 1 15,-25-1-15,-1-13 16,13 0-16,-12 0 16,12 0-16,1 0 15,-14-13-15,0 13 0,0-14 16</inkml:trace>
  <inkml:trace contextRef="#ctx0" brushRef="#br0" timeOffset="4083.09">19804 4511 0,'-13'13'15,"0"1"-15,13-1 16,0 0-16,0 0 0,-14 1 16,14-1-16,0 0 0,0 0 0,0 14 15,0-14-15,0 0 0,0 27 16,0-27-16,0 0 15</inkml:trace>
  <inkml:trace contextRef="#ctx0" brushRef="#br0" timeOffset="4698.25">19857 4948 0,'13'-14'0,"-39"14"16,-1 0-16,14 0 16,-27 14-16,27-1 15,0-13-15,0 13 16,-1 0-16,14 1 15,0-1-15,14 0 0,-14 0 16,13 1 0,-13-1-16,13 0 0,-13 0 0,0 0 15,0 1-15,-13-1 16,-14 13 0,1-12-1,13-1-15,-14 0 16,14 0-16,0 1 0</inkml:trace>
  <inkml:trace contextRef="#ctx0" brushRef="#br0" timeOffset="5045.02">19751 5345 0,'-53'53'16,"40"-40"-16,13 0 0,-13 0 16,13 14-16,0-14 0,0 13 15,13 1-15,-13-14 0,13 0 16,0 0-16,1-13 0,-1 14 15,0-28 1,-26 1 15,0 13-31,-14 0 32,14 0-32,-13 13 0</inkml:trace>
  <inkml:trace contextRef="#ctx0" brushRef="#br0" timeOffset="5529.47">19711 5781 0,'67'27'31,"-54"-27"-31,13 66 15,-26-53-15,0 0 0,0 0 16,14 1-16,-14 12 16,0-13-16,0 1 0,0-1 0,13 0 15,-13 0-15,0 0 16</inkml:trace>
  <inkml:trace contextRef="#ctx0" brushRef="#br0" timeOffset="5697">19698 6019 0,'13'0'16,"1"-13"0,39 13-16,-40-13 15,13 13-15,-12 0 0,12 0 0,14-13 31</inkml:trace>
  <inkml:trace contextRef="#ctx0" brushRef="#br0" timeOffset="6277.94">19817 6297 0,'14'27'15,"-1"-1"1,-13-13-16,13-13 0,-13 13 16,0 1-16,0-1 0,0 0 0,0 0 15,-13 14 1,-14-1-16,14-12 15,0-14-15,13-14 32,13 1-17,0 0-15,1 0 0,-1-1 16,0 1-16,0 0 0,0 13 16,1-27-16,-1 1 0,-13 13 15,0 0-15,0-14 16,-13 27-1,13-13-15,-14 0 0,1-1 16,0 14-16,0 0 0,13-13 0,-13 13 16,-1 13-16,1 1 15,0-1 1,0 0-16,13 0 0</inkml:trace>
  <inkml:trace contextRef="#ctx0" brushRef="#br0" timeOffset="6731.75">19844 6720 0,'-13'-13'15,"-1"13"-15,-12 13 16,13-13-16,-1 14 16,1-1-16,0 0 15,13 0 1,13-13-1,27 0 1,-40-13-16,13 13 0,14-13 16,-14 13-16,-13 13 15,13 0 1,-13 1 0,13-1-16,-13 0 0,0 0 15,13 0-15,-13 1 16,0-1-16,0 0 0,0 0 15,0 1-15,14-1 32</inkml:trace>
  <inkml:trace contextRef="#ctx0" brushRef="#br0" timeOffset="7092.1">19606 7117 0,'-14'14'16,"14"-1"-16,0 0 0,0 0 15,-13 0-15,13 1 16,0-1-16,-13 27 16,13-14-16,-13-13 0,13 0 15,0 1 1,13-14-1,0-14 1</inkml:trace>
  <inkml:trace contextRef="#ctx0" brushRef="#br0" timeOffset="7352.19">19751 7210 0,'-13'40'31,"26"-27"-16,-13 13-15,27-13 16,-54-105-16,67 184 0,-14-92 16,-12 0-16,-1 0 15,0-13-15,0 0 0,0 0 32,-26 0-32,0-1 15,-40 28 1,40-14-16,0 13 15,-1 0-15,1 0 16,0 0-16,0-13 0</inkml:trace>
  <inkml:trace contextRef="#ctx0" brushRef="#br0" timeOffset="18558.96">20161 3744 0,'106'-13'15,"-79"13"-15,39-14 16,-27 14-16,94-26 0,-80 26 16,0 0-16,-14-13 0,14 13 0,-13 0 15,13-14-15,-14 14 0,94-13 16,-80 13-1,-27-13-15,1 13 0,-1 0 0,14 0 16,-27 0-16,27-13 16,-27 13-1,0 0-15,0 0 0,0 0 16,-13-13-16,14 13 16,-1 0-1</inkml:trace>
  <inkml:trace contextRef="#ctx0" brushRef="#br0" timeOffset="18881.69">21087 3400 0,'14'13'16,"38"14"-16,-25-14 15,26 13-15,-14 1 16,41 26-16,-54-27 16,27 40-1,-40-39-15,-13-14 0,14 0 16,-14 14-16,0-14 0,-27 66 15,14-52-15,0-1 0,-53 54 16,26-67 0,27 0-16,-40 27 15,40-27-15,-1-13 0</inkml:trace>
  <inkml:trace contextRef="#ctx0" brushRef="#br0" timeOffset="19523.12">22159 3360 0,'-53'0'16,"53"27"0,0-14-16,13 0 0,-13 0 15,27 27-15,-14-14 0,13 1 0,-12-14 16,-1 14-16,0-14 0,27 40 16,-40-40-16,13 0 15,-13 0-15,-13 1 16,-14 12-1,14-26-15,-13 13 16,-1-13-16,14 0 0,0 0 16,-1 0-16,1 0 15,0 0 1,0 0-16</inkml:trace>
  <inkml:trace contextRef="#ctx0" brushRef="#br0" timeOffset="19967.88">22304 3691 0,'53'-27'16,"-39"27"-16,-14-13 0,13 13 0,13-26 15,-26 13 1,13 13-16,-13-14 0,0 1 15,0 0 1,-13 26 15,0-13-31,13 13 16,0 1 0,0-1-16,13 0 15,14 0 1,-1-13-1,1 0 1,-14 0 0,0 0-16,0 0 0,14 13 15,-14-13-15,0 14 16,0-14-16,-13 13 16,14-13-16,-1 13 15,0-13-15,0 0 16,1 0-16,25-13 15,-26 13 1,1-13-16</inkml:trace>
  <inkml:trace contextRef="#ctx0" brushRef="#br0" timeOffset="20351.86">23006 3400 0,'-14'-13'0,"1"13"0,-13 13 15,12-13 1,1 13-16,0 0 0,-40 40 31,53-40-31,0 1 0,-13-1 0,13 0 16,0 0-16,13 1 0,-13-1 16,13-13-16,0 13 15,1-13-15,39-26 16,0-27-1,-40 26-15,26-39 16,-12 40-16,-14-1 0,0 1 0,-13 13 16,14-1-16,-1 1 0,-13 0 15,-13 39 1,-1-12-16,-12 65 16,13-53-16,-1-12 15,14 65 1,0-53-16,0-12 15,0-1-15,0 0 0,0 0 0,0 1 16,0-1-16</inkml:trace>
  <inkml:trace contextRef="#ctx0" brushRef="#br0" timeOffset="21100.1">21537 5398 0,'13'0'16,"-39"-14"-1,-1 14 1,1 0-16,-1 0 0,-12 0 0,12 0 16,-26 0-16,0 0 0,14 14 15,-14-14-15,0 0 0,-79 13 16,39 0-16,67 0 16,-14-13-16,13 0 0,1 13 15,13-13-15,-14 0 0,-12 14 16,25-14-16,1 0 0,0 0 31</inkml:trace>
  <inkml:trace contextRef="#ctx0" brushRef="#br0" timeOffset="21361.05">20849 5239 0,'-40'13'0,"-118"93"31,145-80-31,-1-12 0,1-1 0,13 13 0,-13-13 16,26 27-1,-13-27-15,13 1 0,1-1 16,-1 0-16,0 0 0,0-13 0,14 13 15,-1-13-15,1 14 0,78-14 32,-52 0-32</inkml:trace>
  <inkml:trace contextRef="#ctx0" brushRef="#br0" timeOffset="24906.91">22595 5212 0,'14'-13'0,"-1"13"0,0-13 16,0 0-1,-13-1 17,-13 14-32,0 0 15,-14 0-15,14 0 0,0 0 16,0 0-16,-1 0 0,1 14 15,-13-1 1,13 0-16,26 14 16,0-14-16,-13 0 15,13 0-15,27 40 16,0-13 0,-27-27-16,-13 14 15,0-14-15,-13-13 0,-27 26 16,27-13-1,-1-13-15,-12 14 0,0-14 0,12 13 16,1-13-16,-13 0 0,12 0 16,1 0-16,0 13 15,0-13-15,0 0 0</inkml:trace>
  <inkml:trace contextRef="#ctx0" brushRef="#br0" timeOffset="25505.42">22635 5490 0,'27'-13'0,"-1"0"15,-13-1 1,14 1-16,-27 0 0,13 0 15,-13 0-15,13 13 0,-13-14 0,0 1 16,13-13-16,-13 12 16,0 1-16,0 0 15,-13 13 1,-13 13 0,12 14-1,14-14 1,0 0-16,0 0 15,0 1 1,14-14 0,-1 0-16,13-14 15,-12 14 1,-1 0-16,0 0 16,0 0-16,14 14 15,-14-1 1,0-13-1,-13 13-15,13-13 0,-13 13 16,14 0 0,12-13 31,-13 0-32,1 0 1,-1 14-16,0-14 0,0 0 15,1 13 1,-1-13-16,13-13 16,-13 13-16,1-14 15,-1 14-15</inkml:trace>
  <inkml:trace contextRef="#ctx0" brushRef="#br0" timeOffset="25804.08">23283 5278 0,'27'-39'0,"-54"78"15,54-65 1,-27 39 0,0 0-16,13 1 0,-13-1 15,0 0 17,-13-13-32,0 0 15,-1 13-15,1-13 16,0 14-16,-14-14 0,-12 26 15,26-13 1,13 1 0,13-1-1,0-13-15,0 0 0,0 0 0,1 0 16,39 13 0,-27-13-1,-13 0-15,0 0 0,1 0 0</inkml:trace>
  <inkml:trace contextRef="#ctx0" brushRef="#br0" timeOffset="28197.41">18772 8189 0,'-13'0'0,"26"13"62,27 0-46,-27-13-16,0 0 0,1 0 15,12 0-15,0 0 0,54 0 16,-40-13-16,-1 13 16,1 0-16,-14 0 0,14-13 0,-13 13 15,-1 0-15,14-13 0,26-1 16,-40 14-16,1 0 15,-14-13-15,0 13 0,14 0 0,-14-13 16,0 13-16,0-13 0,1 13 16,38-27-1,-38 27-15,-14-13 0,26-13 16,-13 12-16,1 1 16,-14 0-16,13 0 15,0-1-15,-13 1 0,0 0 16,0 0-16,0 0 0,0-14 15,0 14 1,-13 13-16,13-13 0,0-1 0,-13 1 16,-1 0-1,1 0-15,0 13 0,0-14 0,-1 14 0,-12-13 16,-14 0-16,27 13 16,0-13-16,-14 13 0,1-13 15,13 13-15,-14 0 0,14-14 16,-53 1-16,13 0 15,27 13-15,-1 0 0,1-13 16,-1 13-16,1-14 0,-1 14 16,-79-13-1,67 0-15,-1 13 0,0-13 0,1 13 16,-1-14-16,0 1 0,-13 13 16,14-13-16,-67 13 15,53-13-15,-53 0 0,53 13 0,0 0 16,0 0-16,0-14 0,1 14 15,-1 0-15,-106-13 16,66 13-16,54 0 16,-1-13-16,13 13 0,-12 0 0,12 0 15,1 0-15,-107-13 16,107 13 0,-14 0-16,27 0 0,-13 0 15,-54 0-15,54 0 16,-14 0-16,14 0 0,12 0 15,-12 0-15,-40 0 16,53 0-16,-14 0 0,-39 0 16,53 0-16,-14 0 15,14 13-15,-13-13 16,-14 0-16,27 0 0,-14 0 0,1 0 16,13 0-16,-1 13 0,-12-13 15,13 0-15,-27 0 16,0 0-16,27 0 0,0 0 15,-14 0-15,14 0 0,0 0 0,0 0 16,-1 0-16,-12 0 0,13 0 16,0 0-16,-14 0 0,14 0 15,0 0-15,-1 0 0,-12 0 0,13 0 16,-1 0-16,1 13 0,0-13 16,-27 14-1,27-14-15,0 0 0,-14 13 16,14-13-16,0 13 0,0 0 15,-14 14 1,1-1-16,13-13 16,-1 1-16,1-1 0,13 0 15,-13 0-15,0 14 0,13-14 0,-14 0 16,-12 27-16,13-14 16,13 1-16,0-14 15,-13 14-15,13-1 16,0 14-1,13-27-15,-13 0 0,13 0 16,-13 14-16,13-14 0,0 0 0,1 0 16,12 1-16,-13-1 0,53 27 15,-39-27-15,-1 0 0,14 0 16,66 14 0,-80-14-16,14-13 0,-13 0 0,105 13 31,-92-26-31,-1 13 0,14 0 0</inkml:trace>
  <inkml:trace contextRef="#ctx0" brushRef="#br0" timeOffset="42808.14">18825 10200 0,'-13'0'0,"0"0"16,26 13 31,27-13-47,12 0 15,-25 0-15,39-13 16,-26 13-16,105-66 15,-118 52 1,-14 1-16,0 0 0,0 0 16,1-1-16,-1-25 15,0 25-15,-13 1 16,-26 40 15,12 12-31,-12 14 16,0-13-16,-1 26 0,14-39 15,0 26 1,-1-1-16,1-38 0,0 12 0,13-13 16,0 14-16,-13-27 0,13 13 15,0 0-15,-14 1 0,14-1 0,0 0 16,27-13 15</inkml:trace>
  <inkml:trace contextRef="#ctx0" brushRef="#br0" timeOffset="43152.04">19341 10279 0,'-13'-13'16,"0"26"-16,-1-13 15,14 13-15,0 1 0,0-1 0,-13-13 16,13 13-16,0 0 0,0 0 0,13 1 16,1 12-1,-14-13-15,13 1 0,0-14 0,0 13 16,14-13-16,-14 0 16,0 0-16,-13-13 15,0-27 1,0 27-16,0-1 15,-13 1-15,13-13 16,-13 13-16,13-1 16,-13 14-16,-1 0 15,1 14 1</inkml:trace>
  <inkml:trace contextRef="#ctx0" brushRef="#br0" timeOffset="43919.06">19566 10319 0,'-13'0'15,"-1"0"32,14 13-31,0 0 0,-13 0-1,13 1-15,0-1 31,0 0-15,13-13 0,1-13-1,-1 13-15,0 0 16,0-13-16,1 13 16,-14-14-16,13 14 0,0-13 15,0 13 1,1 0-1,-1 13 1,-13 1 0,0-1-16,13 0 15,-13 0-15,13-13 16,0 14 0,1-14-16,12-14 15,-13 14 1,1-13-1,-14 0-15,13 0 0,0-1 16,-13 1-16,0 0 16,13 0-1,1 0 1,-1 13 0</inkml:trace>
  <inkml:trace contextRef="#ctx0" brushRef="#br0" timeOffset="84781.36">18891 11007 0,'-13'132'31,"13"-119"-31,-13 146 31,13-133-31,0 1 0,0-14 16,-13 0-1,13 1-15</inkml:trace>
  <inkml:trace contextRef="#ctx0" brushRef="#br0" timeOffset="85181.7">18918 11007 0,'26'0'0,"14"13"16,-27-13-16,14 26 0,-1 1 16,0 12-1,-12 28 1,-14-1-16,-14-27 15,1-12-15,0-1 16,0 1-16,-14 13 0,-26-1 16,40-26-16,-13 1 15,-14-1 1,27-13-16,0 13 16,-1-26-16,1 13 15,13-13-15</inkml:trace>
  <inkml:trace contextRef="#ctx0" brushRef="#br0" timeOffset="85388.32">19169 11298 0,'-13'106'16,"13"-80"0,0-13-1,-13 0-15,13 1 0,0-1 16</inkml:trace>
  <inkml:trace contextRef="#ctx0" brushRef="#br0" timeOffset="85577.51">19196 11139 0,'-14'-13'16</inkml:trace>
  <inkml:trace contextRef="#ctx0" brushRef="#br0" timeOffset="86431.49">19500 10914 0,'0'0'0,"-27"13"16,27 1-16,0 25 16,0-12-16,0-1 0,14 225 31,-14-211-15,0 40-16,0-54 0,0 53 15,0-39 1,0-27-16,0 1 0,-14 12 0,-12 0 31,13-26-15,-1 0-16,1-13 15,13 0-15,0 0 16,13 0-16,-13-14 16,14 14-16,-1-27 0,27-39 15,-27 39 1,13-13-16,-13 27 15,14-54-15,-1 1 16,-26 39 0,14 1-16,-14 25 15,13 14-15,-13-13 0,0 0 0,0 0 32,26 26-32,-26 13 15,14 14-15,-1 13 16,-13 0-1,13-27-15,-13 27 16,0 0-16,0-13 0,-13 26 16,0-40-1,-1 14-15,-12-13 16,13-14 0,-1-26 15,14-14-16,14 14 1,-1 0 0,0-1-16,14 1 15,12-26 1,1 25-16,79-52 16,-93 40-1</inkml:trace>
  <inkml:trace contextRef="#ctx0" brushRef="#br0" timeOffset="87072.62">20399 11020 0,'-13'-13'15,"132"-14"32,-79 54-16,-53 12-15,-1-25 0,-52 65-1,53-66-15,-40 53 31,53-52-31,0-1 16,0 0-16,66 13 31,-52-12-31,38-14 16,-12 0-16,-13 0 16,-1-14-16,27 1 31</inkml:trace>
  <inkml:trace contextRef="#ctx0" brushRef="#br0" timeOffset="87323.57">20294 11165 0,'264'-13'78,"-158"0"-47</inkml:trace>
  <inkml:trace contextRef="#ctx0" brushRef="#br0" timeOffset="87600.36">20770 11112 0,'79'53'172,"-158"-92"-125,66 25-32</inkml:trace>
  <inkml:trace contextRef="#ctx0" brushRef="#br0" timeOffset="88050.85">20981 11086 0,'14'40'16,"-28"13"-1,14-40 1,0 0 0,27-39 31,-27 12-47,13 14 15,0-13 1,1 13-16,-1 13 15,0-13 1,0 14 0,1-1-16,-14 0 15,13 0 1,-833-66 0,1653 106-1</inkml:trace>
  <inkml:trace contextRef="#ctx0" brushRef="#br0" timeOffset="88557.62">21352 11046 0,'-40'80'31,"53"-54"-15,1-13-16,-1-13 0,-13 14 16,26-14-16,-12 0 0,25 0 15,-26 0-15,1-14 16,-1 14-16,13-13 15,-12-13-15,-755 12 0,1495 14 16,-754-26 0,0 13-16,0 0 15,-13-1-15,-1 14 0,-12-13 32,-14 26-32,27 1 15,-40 38 1,53-25-16,-26 13 15,26-27 1,0 0-16,39 40 16,-436-225-16,847 370 15,-437-198-15,1 0 0,12 0 16,-13 0-16,40 0 31,-39 0-31</inkml:trace>
  <inkml:trace contextRef="#ctx0" brushRef="#br0" timeOffset="91209.68">20042 10253 0,'0'-14'15,"-13"41"1,13-14-1,0 0-15,0 1 16,-13 12-16,13 0 16,0-12-1,0-1 1,26-26 0,-13-14-1,1 14-15,-1 0 16,0 0-16,0 13 0,1-14 0,-1 1 15,0 13 1,0 0-16,0 13 16,1 1-16,-1-1 15,-13 0 1,13-13-16,-13 13 0,13 0 16,1 1-1,-1-14-15,0 0 16,0 0-16,1 13 15</inkml:trace>
  <inkml:trace contextRef="#ctx0" brushRef="#br0" timeOffset="91865.64">20585 10186 0,'-14'0'0,"54"0"15,-13-13 1,-1 13-16,-13 0 0,27-13 16,0 13-1,-1-13-15,-12 13 16,-14 0-16,0 0 16,14 0-1,-14 13-15,-13 0 16,0 0-16,13 14 15,-13-14-15,0 27 16,0 0-16,0-1 0,-13-12 16,13-14-16,0 13 0,0-12 15,0-1-15,13 53 16,-13-53-16,0 0 16,0 1-16,0 12 31,0-13-16</inkml:trace>
  <inkml:trace contextRef="#ctx0" brushRef="#br0" timeOffset="92345.32">20757 10491 0,'0'-13'31,"13"65"-15,0-38-1,-13 12 1,13 14-16,0-14 16,-13-13-1,0 1-15,14-1 16,-14 0-16,13-13 0,-13 13 15,13-26 1,0 13-16,14-13 0,-1 0 16,-12-1-16,-1 1 15,53-13-15,-53 13 16,14-1-16,-14 14 0,0-13 16,14 0-16,-1 0 15,-13 13-15,0-14 16,1 1-16,-1 13 15</inkml:trace>
  <inkml:trace contextRef="#ctx0" brushRef="#br0" timeOffset="95193.13">19116 10636 0,'27'13'47,"-1"1"-32,-13-14-15,1 13 0,12-13 16,-13 0-16,14 13 0,-14-13 0,40 13 16,0 1-1,-27-14-15,1 0 0,39 13 0,-40-13 16,40-13-16,-39 13 16,52 0-16,-39-14 15,0 14-15,-1-13 0,-12 13 0,52-13 16,-52 0-16,25-1 15,-25 1-15,-14 13 16,14-13-16,-1 13 0,40-40 16,-53 40-16,40-26 15,-39 13-15,12-1 16,1 1-16,-14 0 16,0 0-16,0 0 15,0-1-15,1 14 0,-14-13 16,13 13-16,13-40 15,-12 27 1,-14 0-16,13 13 0,-13-13 16,13-1-1,-13 1-15,0 0 16,0 0 0,0 0-16,0-1 15,0 1 1,0 0-16,0 0 15,-13-1 1,13 1-16,-13 0 0,-1-14 16,14 14-1,-13 0-15,-27-40 0,27 40 16,-13 0-16,13-1 16,-1-12-16,-25-1 0,-14-12 15,13 12-15,27 14 16,-14 0-16,1 0 0,-14-14 15,0 14-15,1-14 16,26 14-16,-27 0 16,-13-13-16,13 12 15,14 1-15,-27 0 16,0 0-16,-26-1 16,52 1-16,-52 0 15,39 13 1,14-13-16,-14 13 15,0 0-15,-13 0 16,40 0-16,0 0 16,-40 0-1,40 0-15,0 0 0,-27 13 16,27-13-16,-1 13 16,-25-13-16,25 13 15,-25 1-15,26-14 0,-27 13 16,0 0-16,27 0 15,-14-13-15,-12 27 16,26-14-16,-14 0 0,-26 27 16,13 0-1,1 13-15,12 26 16,14-39-16,0-14 16,13 1-16,0-1 0,0-13 15,13 67 1,-13-54-16,0 1 0,13-1 0,1 27 15,-1-13 1,13-1-16,-26-25 16,40 12-16,-40-13 15,13 0-15,0 1 0,27-1 16,-13 0 0,-1 0-16,14-13 15,13 0 1,-27 0-16</inkml:trace>
  <inkml:trace contextRef="#ctx0" brushRef="#br0" timeOffset="99548.24">18931 11642 0,'-27'0'16,"80"-14"0,-13 14-16,13 0 0,0 0 15,13-13-15,93 0 16,-67 13-16,1-13 0,0 13 16,12 0-16,147-13 0,-120-1 15,106 1-15,-39 13 0,-107-13 16,1 13-16,79-13 15,-40 13-15,-79 0 16,26 0-16,-26-14 16,-39 14-16,-1 0 0,0 0 15,0 0-15,-52 0 32,12 0-32,1 0 15</inkml:trace>
  <inkml:trace contextRef="#ctx0" brushRef="#br0" timeOffset="100192.4">19076 11734 0,'-13'0'15,"53"0"1,66 0-16,-53 0 16,13 0-16,13 0 0,1 0 15,12-13-15,160 13 16,-67 0-16,53 0 15,-159 0-15,-26 0 16,106 0-16,-133 0 16,14 0-16,-13 0 0,-1 0 15,-13 0-15,27 0 16,0 0-16,-27-13 0,0 13 16,0 0-1,0 0-15,1 0 16,-1 0-1,0 13 17,-13-26-17,13 26 173</inkml:trace>
  <inkml:trace contextRef="#ctx0" brushRef="#br0" timeOffset="103251.48">22437 10980 0,'13'0'0,"-40"0"32,14 0-32,-13 0 15,13 0-15,-14 13 0,14-13 0,0 0 16,-1 14-16,1-14 0,13 13 15,0 0 1,13 0-16,40 14 16,-26-27-16,-14 13 15,13 0-15,1 0 16,-1-13-16,-12 14 0,-1-1 0,0-13 16,-13 13-16,13-13 0,-13 13 0,-13 27 31,-13-40-31,12 13 15,1-13-15,-66 27 0,66-27 16,-14 0-16,14 0 0,0 13 16,-1-13-16,-25 0 15</inkml:trace>
  <inkml:trace contextRef="#ctx0" brushRef="#br0" timeOffset="104207.74">20267 12250 0,'-13'13'15,"0"14"1,13-14-16,0 0 16,0 1-16,0-1 15,0 13-15,-14-13 0,14 1 16,0-1-16,0 0 15,0 0 1,0-39 15,0 13-15,14-1-16,-14 1 0,13-26 16,-13 12-16,13 14 15,-13 0-15,0-1 0,13 14 16,-13-13-16,14 0 0,-14 0 15,26 26 17,-26 0-32,13 0 0,-13 1 15,13-1-15,-13 0 0,14 14 16,-1-14 0,-13 0-16,26 0 15,-12 0-15,-1 1 16,0-28-1,14 1-15,-14 0 16,-13 0-16,13 13 16,0-53-16,0 26 15,1 1-15,-1 0 16,-13 12-16,13-12 16,-13 13-1,13 39 16</inkml:trace>
  <inkml:trace contextRef="#ctx0" brushRef="#br0" timeOffset="105140.04">20558 13441 0,'-53'0'15,"40"0"-15,-27 13 16,27 0 0,0 1-16,13-1 15,0 0 1,13-13-1,0 13-15,1-13 0,-1 13 16,0-13-16,0 14 0,0-14 16,27 26-1,-27-13-15,-13 1 0,0-1 16,0 0 0,-26 13-16,-1-12 15,14-1-15,0-13 0,0 13 16,-14-13-16,1 13 0,13-13 15,-14 14-15,14-14 0,-14 0 16,14 0-16,0-14 16,0 1-1,26 0-15</inkml:trace>
  <inkml:trace contextRef="#ctx0" brushRef="#br0" timeOffset="106860.62">19288 12819 0,'13'-13'16,"-26"39"15,13-12-31,-13-1 0,13 0 16,-13 27-16,-1-1 15,14-12-15,-13-1 16,13 1 0,13-14-16,-13 0 0,0 0 15,14-13 1,-1 14-16,0-14 0,14 0 16,-14 0-1,27 0-15,-27 0 16,13 0-1,-13 0-15,1-14 16</inkml:trace>
  <inkml:trace contextRef="#ctx0" brushRef="#br0" timeOffset="107052.61">19328 13004 0,'13'-26'31,"93"-1"16,-93 27-47,0 0 16</inkml:trace>
  <inkml:trace contextRef="#ctx0" brushRef="#br0" timeOffset="107213.56">19288 12885 0,'199'-79'78,"12"79"-63</inkml:trace>
  <inkml:trace contextRef="#ctx0" brushRef="#br0" timeOffset="108107.88">21180 12766 0,'-27'13'15,"14"-13"1,0 27 0,13-14-16,0 14 15,0-14 1,0 0-16,0 0 15,13-13-15,0 13 16,1-13-16,12 0 16,-13-13-16,14 0 15,-14 0 1,0 13 0,0-13-16,1 26 15,12 13 16,-13-13-31,1-13 16,-1 0-16,27-26 16,-14 13-1,-13 13-15,0-27 16,1 14-16,-14 0 0,13 13 16,-13-13-16,13-27 15,-26 13-15,13 14 16,-13 13-1,-27 0 1,-13 13-16</inkml:trace>
  <inkml:trace contextRef="#ctx0" brushRef="#br0" timeOffset="108725.18">20452 12832 0,'-39'-26'15,"25"26"1,-25 13-16,25 0 15,-12 14-15,13-14 16,0 13-16,-1-12 16,14 12-16,0 1 15,14-27-15,-14 13 0,26 0 16,14 0-16,-1 1 16,-25-14-16,52 13 15,-53-13 1,13 0-16,-12-13 0,-1 13 15,13 0 1</inkml:trace>
  <inkml:trace contextRef="#ctx0" brushRef="#br0" timeOffset="111305.83">20690 12025 0,'-66'-39'16,"53"39"-16,-119-53 15,52 39 1,-12 1-1,12 13-15,41 0 0,-14 0 16,-225 0 0,172 13-1,-26 1-15,66-1 16,-186 27 0,120-14-16,79-13 0,-106 40 15,120-26-15,-54 12 16,14 14-1,39-13-15,-26 13 0,39-13 16,1-14-16,-27 40 16,27 14-16,-14 25 15,13 14 1,27-79-16,14 40 16,-14-41-16,26 41 15,-13-41-15,27 67 16,-27-66-16,14-1 0,12 41 15,1-14-15,26 27 16,-26-27 0,-14-27-16,41 41 15,-54-54-15,13 14 0,27 13 16,66 39 0,-53-52-1,27 26 1,-27-39-16,40 26 15,-27-40 1,40 13-16,0-26 16,-39 0-1,-40 0-15,-1 0 0,93 0 16,-26-13 0,-26 13-16,39-13 15,-80 13 1,28-13-16,38-14 15,-25 1 1,26-1-16,-40 1 16,-13 13-16,-14-1 15,54-25 1,-14 12 0,-65 14-16,25 0 15,-25 13-15,65-40 16,-39 14-1,26-27 1,-53 39 0,0 1-16,14-13 0,-1-1 15,53-39 17,-52 53-32,-1-13 0,41-27 15,-1-14 1,-53 54-1,53-53 1,-39 26-16,25-39 16,-25 53-1,26-120 1,-40 67-16,-13 26 16,-53-106-1,27 93 1,12 39-1,-52-92-15,40 66 16,-54-66 0,67 106-1,-40-53 1,27 26 0,-1 27-16,-12-27 0,12 27 15,-26-27-15,27 27 16,-67-40-16,-13 27 15,27-1 1,-53 14 0,92 0-16,-198 0 15,198 13 1,-145 39 0,79-12-1</inkml:trace>
  <inkml:trace contextRef="#ctx0" brushRef="#br0" timeOffset="111734.62">20439 12462 0,'13'13'31</inkml:trace>
  <inkml:trace contextRef="#ctx0" brushRef="#br0" timeOffset="112036.05">21537 12581 0,'13'26'46</inkml:trace>
  <inkml:trace contextRef="#ctx0" brushRef="#br0" timeOffset="113311.8">20783 12131 0,'13'-13'15</inkml:trace>
  <inkml:trace contextRef="#ctx0" brushRef="#br0" timeOffset="115440.62">22132 12409 0,'40'0'15,"-13"-13"-15,-1 13 0,-13 0 16,27 0-16,13 0 16,-13 0-16,-14 0 15,-13 0-15,0 0 0,1 0 0,12 13 16</inkml:trace>
  <inkml:trace contextRef="#ctx0" brushRef="#br0" timeOffset="115643.57">22291 12554 0,'93'0'47,"-27"0"-47,-40 0 16,1 0-16,-14 0 0,0 0 0,14 0 15,-1 0 1</inkml:trace>
  <inkml:trace contextRef="#ctx0" brushRef="#br0" timeOffset="117039.14">19897 13057 0,'53'-53'16,"-40"40"-16,-13-13 15,26-67-15,-26 27 16,0 26-16,0 0 0,-13 1 0,0-1 15,-53-79 1,39 79-16,-12 27 0,12-13 0,-13 12 16,-39-12-16,39 26 15,-13 0-15,14 0 0,-14 13 0,0 0 16,-13 14-16,-159 92 16,172-79-1,-66 118-15,92-105 16,-12 40-16,25-40 0,14-13 15,0-1-15,14 1 0,25 39 16,41 1-16,-41-54 16,14 1-16,93 25 15,-40-38-15,-53-14 16,-14 0-16,14-14 0,0 14 0,0-13 16,66 0-16</inkml:trace>
  <inkml:trace contextRef="#ctx0" brushRef="#br0" timeOffset="117832.21">20902 13229 0,'-26'-26'16,"-93"-14"-1,52 40-15,15 0 0,-41 13 16,-26 27-16,13 0 16,66-27-16,-52 40 15,52-14-15,-26 54 16,39-66-16,14 12 0,13 1 15,-13-14-15,13 14 16,0-14-16,13 41 0,27-1 16,-14-40-16,1 1 0,-1-14 15,14 13-15,0-12 0,13-1 16,-14 0-16,14-13 0,40 0 16,13-26-16,-53 12 0,-1 1 15,1-13-15,27-27 16,-14-13-16,-40 26 0,1 0 15,-14 1-15,0-1 0,-13-66 16,-13 66-16,0 14 16,-14-14-16,-12 1 0,-1-1 0,0 13 15,14 1-15,-14 13 0,-92-27 16,92 27 0,-13 13-16,0 0 15,40 0-15,0 13 16,13 0-16,26 14 15</inkml:trace>
  <inkml:trace contextRef="#ctx0" brushRef="#br0" timeOffset="118304.7">22291 14023 0,'13'13'0,"-39"-26"32,13 0-32,-14 13 0,1-14 15,-1 1-15,-12 0 0,-14 13 0,-27-26 16,27 26-16,-26-14 15,-14 1 1,67 0-16,-40 13 0,39-13 0,1 13 16,-14 0-16,14-14 0,-14 1 15,27 13-15,-14 0 16,14-13-16,0 13 0,0 0 16,-1 0-16,14-13 15</inkml:trace>
  <inkml:trace contextRef="#ctx0" brushRef="#br0" timeOffset="118588.56">21696 13666 0,'-66'0'15,"52"0"-15,-171 119 47,172-80-31,0-25-16,13 25 0,0-25 15,0-1-15,26 40 16,-13-27-16,14-13 0,-1 1 16,-12-1-16,52 13 15,-27-12-15,-12-1 16,-14-13-16,27 13 0,-27-13 15</inkml:trace>
  <inkml:trace contextRef="#ctx0" brushRef="#br0" timeOffset="119685.88">21974 14063 0,'13'0'15,"-40"13"17,-12-13-17,12 13-15,-12-13 0,-14 13 16,26-13-16,-65 14 15,39-1-15,0-13 0,-53 13 16,40-13-16,-53 13 16,-27-13-16,80 13 0,-278-26 31,199 0-31,78 13 16,15-13-16,-15 13 0,1-13 15,-40-1-15,-13 1 16,-53 0-1,67 0-15,65-1 0,-13 1 16,13 13-16,-52-26 16,-27-1-16,39 14 15,54 0-15,-1 0 0,1-1 16,-1 14-16,14-13 16,-40-13-16,27 12 15,-1-12-15,14 13 16,0-1-16,0 1 15,13 0-15,-27-27 16,14 27-16,13 0 16,-13 0-16,13-1 0,0 1 15,-14 0-15,14-27 16,0 27-16,0 0 16,0 0-16,0-1 15,0-12-15,14 13 16</inkml:trace>
  <inkml:trace contextRef="#ctx0" brushRef="#br0" timeOffset="120116.49">19209 13454 0,'-66'27'16,"39"-14"-16,14 0 0,0 0 15,13 0-15,-14 1 0,1-1 16,-13 27-16,13-27 16,-14 26-16,27-25 0,-13-1 0,0 13 15,13-12-15,-14-1 16,14 0-16,-13-13 15,13 13-15,27-52 32,-1 12-17,1-13-15,-14 27 16,0-13-16,0 13 0,0-1 0,40-25 16,-39 39-1,12 0-15,-13 0 0,1 0 16,-1-93-16,-13 199 0,13-93 15,27 14-15,-14-14 0,54 53 16,-54-53-16,53 27 16</inkml:trace>
  <inkml:trace contextRef="#ctx0" brushRef="#br0" timeOffset="123861.76">21444 12898 0,'-26'27'16,"13"-14"-16</inkml:trace>
  <inkml:trace contextRef="#ctx0" brushRef="#br0" timeOffset="124017.68">21206 13282 0</inkml:trace>
  <inkml:trace contextRef="#ctx0" brushRef="#br0" timeOffset="126051.36">18971 12951 0,'-106'0'16,"93"14"-16,-14-14 0,-39 13 15,-27 0-15,27 0 16,0 1-16,-93 12 16,-66 0-1,53 1-15,0-14 16,-105 14-16,78-14 16,93 0-16,1-13 15,-147 13-15,-92 0 16,93 1-1,26-14-15,119 0 16,0 0-16,-515-27 16,382 14-1,134 0-15,-1 13 0,-13-13 16,-252-14-16,-52-13 16,330 40-1,-132-26-15,120 26 16,-14-13-16,-397-27 15,317 14 1,67 26-16,39-14 0,-105 1 16,105 0-16,-211-14 15,119 14 1,-106 0 0,105 0-16,1-14 15,-79 1-15,92 13 16,0-14-1,-80 14-15,173 0 16,0 13-16,-80-14 0,13 1 16,67 0-16,-67 0 15,41 13-15,-1-27 16,0 14 0,-53 0-1,-13-14-15,119 27 16,-39-13-16,-14 0 15,-13 0 1,0 13-16,39-14 16,1 14-16,26-13 15,27 13-15,-14 0 16,0-13-16,-66 13 0,27-13 16,-14 0-1,54 13-15,-14 0 0,13-14 0,-52 1 16,-1 0-1,53 13-15,-13-13 0,-92-14 16,105 27-16,-52-13 16,52 0-16,-53-1 15,14 1-15,26 0 16,13 13-16,-52-13 0,-41-14 16,41 14-1,-54-13 1,1 12-1,79 14 1,39-13-16,-79 0 16,53 0-1,27 0-15,-1 13 16,14-14-16,-66-25 16,52 12-1,14 1 1,-27-14-1,14 14 1,13 12-16,0 1 16,-1 13 15,1 0-15,0 0-1</inkml:trace>
  <inkml:trace contextRef="#ctx0" brushRef="#br0" timeOffset="128460.71">5517 12012 0,'-27'27'15,"27"12"1,0-26-16,0 1 16,0-1-16,0 27 0,0 39 31,0-39-31,0-14 15,0 1-15,13-1 16,-13 0 0,-13-65 31,13 26-47,0-14 15,-13-39-15,13 53 16,0-27-16,-13 14 15,13 12-15,0-12 0,0-14 16,0 27 0,13-13-16,-13 12 15,0 1-15,13 0 16,0 13 0,1 0-1,12 13-15,-13-13 16,0 0-1,14 13-15,-14-13 16,0 0 0,1 14-1,-1-14 1,0 0 46,-13 13 1,-132-40 15,119 14-62,171 53 515,-144-40-515,12 0-1,0 0 1,-12 0-16,-1 0 15,13 0 1,-12 0-16,-1 13 16,0-13-1,0 0-15,1 0 32,-1 0-1,-40 0 63,27-13-94,-13 13 0,0 0 15,0 0-15,-14-13 16,14 13-16,-27-14 15,27 14 1,0 0-16,0 0 0,-1-13 16,1 13-16,0 0 0,-14 0 15,14 0 1,0 0-16,0 0 0,-1 0 16,1 0-1,0 0 1,0 0 15,0 0 0,-1 0 16,14 13-31,0 1-16,0-1 0,0 13 15,0 1 1,0-14-16,0 0 0,0 14 0,0-14 16,0 27-16,14 12 15,-14-38-15,0-1 16,0 0 0,0 0-16,0 1 15,0-1 1,0 0-1,0 0 79,-14-13 47,28-26-16,-1 13-125,0-14 15,13 1-15</inkml:trace>
  <inkml:trace contextRef="#ctx0" brushRef="#br0" timeOffset="132159.2">7038 7766 0,'-13'52'15,"-1"-12"-15,1-27 0,0 27 16,-13 13-16,-14 0 16,13 0-16,27-40 15,-13 0-15,13 14 16</inkml:trace>
  <inkml:trace contextRef="#ctx0" brushRef="#br0" timeOffset="132343.83">7144 7818 0,'-159'358'62,"146"-319"-62,-27 67 31</inkml:trace>
  <inkml:trace contextRef="#ctx0" brushRef="#br0" timeOffset="134983.7">23535 12211 0,'-53'0'16,"13"0"0,27 0-16,0 26 15,13 0 1,0-12-16,0 12 15,13 14-15,0-1 16,0-12-16,1-1 16,-14-12-16,0-1 15,0 0-15,0 0 0,0 1 16,0-1-16,-14-13 0,14 13 16,-39 13-16,12-26 0,-13 14 15,27-14-15,-26 0 16,25 0-16,-12 0 15,-1 0-15,14 0 16,13-14-16</inkml:trace>
  <inkml:trace contextRef="#ctx0" brushRef="#br0" timeOffset="144666.42">19817 8229 0,'27'0'31,"26"13"-15,-14 0-16,-25 0 15,12-13-15,40 13 16,-39 1 0,-14-14-16,13 0 0,-12 13 0,-1-13 0,0 0 15,0 0 1,0 0-16</inkml:trace>
  <inkml:trace contextRef="#ctx0" brushRef="#br0" timeOffset="144977.92">19950 8017 0,'-133'66'16,"107"-53"-16,13 14 0,-1-14 0,1 13 15,0-12-15,0 25 16,13-12-16,13-14 0,-13 13 0,13-12 16,14 12-16,-14 1 0,13-1 0,14-13 15,53 27 1,-67-27-16,0 0 0,14 1 15,0-1-15,-14-13 0,-12 0 16,12 0-16,-13 13 0</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9.858"/>
    </inkml:context>
    <inkml:brush xml:id="br0">
      <inkml:brushProperty name="width" value="0.025" units="cm"/>
      <inkml:brushProperty name="height" value="0.025" units="cm"/>
      <inkml:brushProperty name="ignorePressure" value="1"/>
    </inkml:brush>
  </inkml:definitions>
  <inkml:trace contextRef="#ctx0" brushRef="#br0">36 0,'0'4,"-4"4,0 4,0 3,1 3,-3-2,0-1,1 1,2-2</inkml:trace>
</inkml:ink>
</file>

<file path=ppt/ink/ink21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6:16:29.062"/>
    </inkml:context>
    <inkml:brush xml:id="br0">
      <inkml:brushProperty name="width" value="0.05292" units="cm"/>
      <inkml:brushProperty name="height" value="0.05292" units="cm"/>
      <inkml:brushProperty name="color" value="#0070C0"/>
    </inkml:brush>
  </inkml:definitions>
  <inkml:trace contextRef="#ctx0" brushRef="#br0">1416 3307 0,'-14'0'16,"41"0"-16,-1 0 15,1-13-15,26 13 0,0 0 0,-1 0 16,160-13-16,-53 0 15,-67-1-15,160 1 16,-186 13-16,13-13 16,186 0-1,-225 13-15,-14 0 16,-13 0-16,14 0 0,-14-14 0,13 14 16</inkml:trace>
  <inkml:trace contextRef="#ctx0" brushRef="#br0" timeOffset="283.37">1482 3360 0,'26'0'16,"1"0"-16,158 0 16,53 0-1,-26-13 1,-133 13-16,-26 0 0,106 0 31,-40 13-31,-106-13 16,27 0-16,-14 13 15,-13-13-15,-13 14 0</inkml:trace>
  <inkml:trace contextRef="#ctx0" brushRef="#br0" timeOffset="1610.33">5794 3201 0,'-13'0'0,"40"0"16,-1 0-16,80 0 16,-53 0-16,106 0 0,-93 0 15,26 0-15,-26 14 0,14-14 16,-1 0-16,-13 0 0,14 0 0,-27 13 0,13-13 15,-13 0-15,0 0 0,0 13 16,39-13-16,-52 0 0,-14 0 16,1 0-16,-14 0 0,0 0 15,0 0-15,1 0 0,-1 0 16</inkml:trace>
  <inkml:trace contextRef="#ctx0" brushRef="#br0" timeOffset="2282.81">2474 3731 0,'-27'0'15,"80"0"1,13 0 0,-13-14-16,14 14 0,131 0 15,-119 0-15,1-13 16,-1 13-16,0 0 0,120-13 16,-146 0-16,0 13 15,-14 0-15,14-14 0,0 14 16,-26 0-16,-1-13 0,-13 13 15,1 0-15,-1 0 0</inkml:trace>
  <inkml:trace contextRef="#ctx0" brushRef="#br0" timeOffset="12011.35">2633 4895 0,'26'13'0,"-13"-13"0,14 0 15,-14 0 1,13 0-16,-12 0 16,-1 0-1,0 0-15,-39 13 47,12-13-31,1 0-16,0 0 15,13 13-15,-13-13 16,0 0-16,52 0 47,-12-13-31,-14 13-1,0 0-15,0 0 16,-39 0 31,13 0-32,13 13 1,-14-13-16,1 0 16,0 0-1</inkml:trace>
  <inkml:trace contextRef="#ctx0" brushRef="#br0" timeOffset="13648.44">3215 4882 0,'26'0'16,"1"0"-1,-14 0 1,0 0-16,0 0 16,14 13-16,-14-13 15,-39 0 32,12 0-31,1 0-1,0 0 1,0 0-16,52 0 63,-25 0-63,-14-13 15,26 13 1,-13 0-1</inkml:trace>
  <inkml:trace contextRef="#ctx0" brushRef="#br0" timeOffset="17519.77">3876 4948 0,'-13'0'16,"53"0"-1,-27 13-15,13-13 16,14 0-16,13 0 0,-13 0 15,13 0-15,-1 0 0,15 0 0,-15 0 16,15 0-16,105 13 16,-67-26-16,-12 26 15,-67-13-15,1 0 16,-14 0-16,0 0 0,27 0 16,-27 0-16</inkml:trace>
  <inkml:trace contextRef="#ctx0" brushRef="#br0" timeOffset="20288.93">2725 4974 0,'0'27'47,"-13"-14"-47,13 27 31,0-27-31,0 26 16,13 14-16,-13-26 15,13-14-15,1 27 16,-14-27-16,13 0 16,13 14-1,-12-27-15,-1 13 0,0 0 16,0-13-16,1 0 0,-1 0 0,26 0 16,-25 0-1,25-13-15,27-14 16,-52 14-16,39 0 15,-40 0 1,0 0-16,0 13 0,-13-14 16,14 1-16,-1 13 0,0-26 15,0 26-15,0-14 0,1 1 16,-14 0-16,13 0 16,0 13-16,-13-14 0,13 14 15,-13-13-15,14 0 16,-1 0-1,-13 0 17,13 13-17,-39 0 63</inkml:trace>
  <inkml:trace contextRef="#ctx0" brushRef="#br0" timeOffset="20780.04">3096 5014 0,'39'0'63,"-25"0"-47,12-13-16,-13 13 0,0 0 15,1 0 1,12 0-16,-13-14 15,1 28 1,12-1 0,-26 0-16,13 0 15,-13 1-15,0-1 16,0 0-16,0 0 0,0 0 0,0 1 16,14 12-16,-14-13 0,0 1 0,0-1 15,0 0-15,0 14 16,0-14-16,0 0 0,0 0 0,0 0 15,0 1-15,0-1 0</inkml:trace>
  <inkml:trace contextRef="#ctx0" brushRef="#br0" timeOffset="25690.93">4882 4551 0,'-14'-13'16,"1"-1"-16,0 14 15,0 0-15,-1 0 0,1 0 16,0 0-16,-14 27 16,14-14-16,-13 40 0,13-27 15,-1 1-15,1-1 0,13 1 16,0-1-16,-13 1 0,13-1 0,13 1 16,-13-1-16,0 1 0,40 25 15,-27-25-15,0-14 16,0 0-16,1 1 0,-1-1 0,0-13 15,0 13-15,1-13 0,-1 0 16,40 13-16,-40-13 16,0 0-16,-13-13 0</inkml:trace>
  <inkml:trace contextRef="#ctx0" brushRef="#br0" timeOffset="26306.75">5199 4471 0,'13'0'16,"1"0"-1,-1 0-15,40 53 16,-14-13 0,-12 26-16,-14 0 15,-13-39-15,0-1 16,0 14-16,-13 0 0,0-1 0,-1-12 15,-12 12-15,-1 14 0,14-26 16,-13-1-16,-14 40 0,14-39 0,12-14 16</inkml:trace>
  <inkml:trace contextRef="#ctx0" brushRef="#br0" timeOffset="33897.18">8070 4842 0,'0'13'78,"13"-26"16,-13 0-78,13-1-1,-13 1 1,13 13-16,1-13 16,-14 0-16,26-14 31,14 14-31,-14 0 15,1 0 1,-14 13-16,0 0 0,0-14 16,1 14-16,-1 0 0,13 0 15,-12 0-15,-1 0 0,40 0 16,-40 0-16,13 0 16,-12 0-16,-1 14 0,0-14 15,27 13 1,-14 0-16,-13-13 0,1 0 15,-14 13-15,13-13 0,0 13 16,0 1-16,1-1 16,-14 0-1,13-13-15,-13 13 16,13 1 0,0-14 15,-13 13-16,14-26 95,-14-1-79,0 1-31,13 0 16,-13 0-1,13-1-15,0 1 16,0 0 0,14 0-1,-1 0-15,-26-1 16,14 14-16,-1 0 0,0-13 15,0 13-15,1-13 0,-1 13 16,13-13-16,-13 13 16,1 0-16,-1 0 0,0 0 15,0 0-15,1 0 16,-1 0-16,13 0 0,-12 13 16,-1-13-16,0 0 0,0 13 15,27 0 1,-27 1-16,0-1 0,1 0 15,-1-13 1,0 26-16,0-26 0,-13 14 16,14-14-16,-14 13 15,13-13-15,-13 13 0,0 0 16,13-13-16,-13 14 16,13-1-1,0 0 32</inkml:trace>
  <inkml:trace contextRef="#ctx0" brushRef="#br0" timeOffset="34765.12">8070 4987 0,'0'27'31,"0"13"-15,0-27-1,-13 13 1,13-13-16,0 1 0,0-1 15,0 0-15,0 0 16,0 1 0,-14-1-16,14 0 31,14-26 141,-1 13-172</inkml:trace>
  <inkml:trace contextRef="#ctx0" brushRef="#br0" timeOffset="35506.21">8652 5001 0,'0'0'15,"13"0"-15,0-14 0,1 14 16,-1 0-16,0 0 0,0 14 15,0-14-15,1 13 16,-14 0-16,0 14 16,0-14-1,-14 0-15,14 0 0,-13 0 16,0 1-16,0-14 16,13 13-16,-13-13 0,13 13 0,-14 0 31,14 1 0,27-14-15,-14 0-16,13 0 15,-12 0-15,-1 0 16,0 0-16,0 0 16,1-14-16,-1 14 0,0 0 15,27-13-15,-27 0 16</inkml:trace>
  <inkml:trace contextRef="#ctx0" brushRef="#br0" timeOffset="36222.26">9221 4987 0,'53'0'15,"-40"14"-15,0-14 16,0 13-16,-13 0 15,14-13-15,-28 27 16,14-14 0,-13 0-1,26 0 1,1-13 0,-14 13-16,26 1 15,-26-1 1,0 0-16,0 0 15,0 1 1,-13-14-16,0 13 0,-1 0 16,-12-13-16,13 0 15,-1 0-15,1 13 16,0-13-16,0 0 0</inkml:trace>
  <inkml:trace contextRef="#ctx0" brushRef="#br0" timeOffset="37678.97">8387 5067 0,'-13'13'31,"0"0"-31,13 0 0,-13 1 0,-1-1 16,14 0-16,-13 0 0,0 1 15,13-1-15,-27 27 16,27-27-16,-13 0 15,0 0 1,13 0-16</inkml:trace>
  <inkml:trace contextRef="#ctx0" brushRef="#br0" timeOffset="38148.01">8268 5093 0,'27'40'32,"-27"-27"-32,13 0 0,27 40 31,-40-39-31,13-1 0,13 0 16,-12 13-16,-1-12 15,0-14-15,0 0 0,0 13 16,1-13-16</inkml:trace>
  <inkml:trace contextRef="#ctx0" brushRef="#br0" timeOffset="38619.87">9075 5054 0,'0'-14'16,"-13"28"-16,-13 12 16,26 0-1,-14-12-15,1-1 16,0 13-16,13-12 16,-13-1-16,13 0 15</inkml:trace>
  <inkml:trace contextRef="#ctx0" brushRef="#br0" timeOffset="38855.16">8943 5054 0,'26'13'16,"-12"0"-16,-1 0 16,0 0-16,14 1 15,25 25 1,-52-25-16,27-14 16,-27 13-16</inkml:trace>
  <inkml:trace contextRef="#ctx0" brushRef="#br0" timeOffset="40087.44">9300 4855 0,'0'-26'16,"13"26"0,40-67-1,-40 54-15,14 0 0,-14 0 16,14 0-16,26-1 15,-40 14-15,0-13 0,27 13 16,-14 0-16,-13 0 16,1 0-16,12 0 0,-13 13 0,1 1 15,25-1-15,-26 0 16,14 27-16,-14-27 0,0 27 16,1-14-1,-14 1 1,0-14-16,13 0 0,-13 0 15,0 0 1,0 1-16,0-1 0,13-13 16,0 13-1</inkml:trace>
  <inkml:trace contextRef="#ctx0" brushRef="#br0" timeOffset="40632.6">9856 5120 0,'-27'26'32,"14"-13"-32,0 14 15,0-14 1,13 0-1,13-13-15,0 0 16,13 0 0,1 0-16,-1 0 15,-12 0-15,12 0 0,1 0 16,-1 0 0,0-13-16,-12 0 15</inkml:trace>
  <inkml:trace contextRef="#ctx0" brushRef="#br0" timeOffset="40845.68">9975 5120 0,'-13'0'0,"26"0"0,-40 26 15,14-13 1,13 14-16,0-14 0,0 14 15,0-1-15,-13-13 16,13 0-16,0 1 16,0 25-1,0-25-15,-13-14 16</inkml:trace>
  <inkml:trace contextRef="#ctx0" brushRef="#br0" timeOffset="41197.15">9604 5054 0,'0'26'31,"-13"-26"-31,0 40 16,13-27-16,-13 0 0,-14 40 15,14-26 1,13-14-16,-13 13 16,0-13-1</inkml:trace>
  <inkml:trace contextRef="#ctx0" brushRef="#br0" timeOffset="41437.69">9419 5093 0,'40'27'15,"-27"-14"-15,80 66 16,-80-65-1,13-1-15,-12 0 0,-14 0 16,13-13-16,27 40 16</inkml:trace>
  <inkml:trace contextRef="#ctx0" brushRef="#br0" timeOffset="42872.33">5120 4921 0,'26'0'15</inkml:trace>
  <inkml:trace contextRef="#ctx0" brushRef="#br0" timeOffset="43065.32">5093 4948 0,'40'0'32,"-27"0"-32,14 0 0</inkml:trace>
  <inkml:trace contextRef="#ctx0" brushRef="#br0" timeOffset="47576.94">11602 3321 0,'0'-14'47,"13"28"187,-13-1-234,13 13 16,-13-13-1,0 27 1,0-27-16,0 14 0,0-14 15,0 13-15,0-12 16,0-1 0,0 0-1</inkml:trace>
  <inkml:trace contextRef="#ctx0" brushRef="#br0" timeOffset="47979.17">11602 3321 0,'0'-40'0,"13"40"15,0-13-15,-13-1 16,14 14-16,39-13 16,-40 13-16,0 0 15,0 0-15,14 0 16,-27 13-16,13-13 0,0 14 15,-13-1-15,-13 0 16,0 14 0,0-14-16,-1 0 15,1-13-15,0 13 16,0-13-16</inkml:trace>
  <inkml:trace contextRef="#ctx0" brushRef="#br0" timeOffset="48257.99">11946 3162 0,'-13'26'16,"-1"-26"-1,1 53-15,13-40 16,0 14-16,0-14 0,-13 27 16,13-27-16,0 0 0,0 0 0,13 27 15,0-13 1,1-14-16,-1-13 16,0 0-1,0 0-15,1 0 0</inkml:trace>
  <inkml:trace contextRef="#ctx0" brushRef="#br0" timeOffset="48491.32">12184 3188 0,'0'-13'15,"-13"39"16,13 1-31,0-14 0,-13 40 32,13-40-32,0 14 0,0-14 15,0 0-15,0 0 0,0 14 16,13-27 0,-13 13-16</inkml:trace>
  <inkml:trace contextRef="#ctx0" brushRef="#br0" timeOffset="48707.41">12330 3175 0,'0'-13'15,"-14"66"-15,1-27 16,26-26-16,-13 13 15,0 1-15,0-1 0,0 40 32,0-40-32,0 0 0,14-13 15,-14 13-15</inkml:trace>
  <inkml:trace contextRef="#ctx0" brushRef="#br0" timeOffset="48911.64">12131 3334 0,'40'0'32,"-14"0"-17,-12 0-15,12-13 0,-13 13 16,0 0-16,27-14 15,-13 14-15,-27-13 16</inkml:trace>
  <inkml:trace contextRef="#ctx0" brushRef="#br0" timeOffset="49224.74">12369 2990 0,'80'66'16,"-67"-53"-16,27 27 0,-14 13 15,-26-40-15,13 27 16,-13 13-16,0-14 15,0-25-15,-13 12 16,0 14 0,13-14-16,-13 1 15,39-27 1</inkml:trace>
  <inkml:trace contextRef="#ctx0" brushRef="#br0" timeOffset="49464.89">12859 3228 0,'79'-40'16,"-52"40"-16,12-13 16,1 13-16,13-13 15,-40 13-15</inkml:trace>
  <inkml:trace contextRef="#ctx0" brushRef="#br0" timeOffset="49663.92">12898 3307 0,'14'0'31,"12"0"-15,-13 0-1,1 0-15,-1 0 0,0 0 0,40-13 16,0 0-1,-40 0-15,14 13 16</inkml:trace>
  <inkml:trace contextRef="#ctx0" brushRef="#br0" timeOffset="50075.22">13533 2990 0,'-39'39'16,"26"-12"-16,13-1 15,0 27 1,13-39-16,0 12 15,13-13-15,1 0 16,26 14 0,-40-40-1,0 13-15,14 0 0,-14-40 16,-13-13 0,0 27-1,0 12-15,0 1 16,-13-13-16,-14-1 15,14 14 1,0 13 0,0 0-1</inkml:trace>
  <inkml:trace contextRef="#ctx0" brushRef="#br0" timeOffset="50250.27">13785 3029 0,'0'-13'16</inkml:trace>
  <inkml:trace contextRef="#ctx0" brushRef="#br0" timeOffset="50615.09">14076 2871 0,'66'39'16,"-92"28"15,-14-15-15,13-25-16,14-27 16,0 26-16,0-12 0,-1-14 15,1 13 16,26 0-31,67-26 32,-27 0-17,13-1 1,-53 1 0</inkml:trace>
  <inkml:trace contextRef="#ctx0" brushRef="#br0" timeOffset="50968.63">14592 2831 0,'-53'0'16,"26"0"-1,14 0 1,0 13-16,13 1 16,26 12-1,14 14 17,-40-27-32,13 13 15,-13-12-15,-13 12 31,0-13-15,-27 14 0,27-14-16,-27 13 15,1-12-15</inkml:trace>
  <inkml:trace contextRef="#ctx0" brushRef="#br0" timeOffset="52488.67">11906 3625 0,'265'39'15,"-212"-39"-15,264 14 16,-237-14-16,-1 0 15,80 0-15,-14 13 16,146-13 0,-225 0-16,1 0 0,78 0 15,67-27 1,-14 1-16,-132 13 16,1 0-16,52-27 15,105-40 1,-131 41-16,-14 12 15,1-12-15,39-27 16,-13 13 0,-27 0-16,-39 26 15,-14 1-15,67-54 16,-14-25 0,-66 25-1,1-52 1,-41 13-1,1 13 1,13 53-16,-14-13 16,-39-13-1,53 65-15,-80-52 16,-119 0 0,-52 13-1,198 40 1,0 0-16,-146-14 15,80 14-15,13 0 16,-27 0-16,-145 13 16,145 0-1,67 13-15,13-13 0,-66 13 16,66-13 0,-120 13-16,80 0 15,67 1-15,-160-1 16,146 0-16,-52 0 15,-41 1 1,14 12 0,92-13-16,-39 0 15,13 1-15,26-1 16,-53 27-16,14 13 16,-80 79 15,93-53-31,40-39 15,-27 26 1,-14 66 0,28-26-16,39-79 15,-27 52 1,27 40 0,14-40-1,-1-65-15,0 25 0,199 133 31,-173-145-15,186 52 0,-40-26-1,-118-40-15,158 1 16,-54-28-16,-91 14 16,12-13-16</inkml:trace>
  <inkml:trace contextRef="#ctx0" brushRef="#br0" timeOffset="55655.84">12382 4961 0,'0'26'16,"14"-12"-16,-14 12 0,0 1 16,0-1-16,0 0 0,0 1 15,0-1-15,0 1 0,0-1 16,0-12-16,13 12 0,-13 0 0,0-12 0,0-1 16,0 13-16,0-12 15,0-1-15,0 0 0,0 0 16</inkml:trace>
  <inkml:trace contextRef="#ctx0" brushRef="#br0" timeOffset="56071.36">12316 4948 0,'40'-53'16,"-14"53"-16,-12 0 0,12 13 16,-13-13-16,40 13 0,-39 0 15,12-13-15,-13 14 0,0-1 16,1 0-16,-1 0 0,0 1 16,-13 12-16,-13-13 15,13 14-15,-13-14 0,-1 0 16,-12 14-16,13-14 0,0-13 15,-1 13-15,1 0 0,0-13 16,0 14-16,-1-14 0,1 0 16,0 0-16</inkml:trace>
  <inkml:trace contextRef="#ctx0" brushRef="#br0" timeOffset="56348.11">12793 4842 0,'-14'0'0,"-12"13"16,-1 0-16,27 14 0,-13-14 16,0 13-16,0 1 0,-14 66 15,14-80-15,13 13 16,0 1-16,0-14 0,0 27 15,0-27-15,13 27 16,1-40-16,-14 13 0,13 0 16,26 13-1,-25-26-15,-1-13 16,0 13-16</inkml:trace>
  <inkml:trace contextRef="#ctx0" brushRef="#br0" timeOffset="56588.23">13018 4882 0,'13'26'31,"-13"-13"-15,0 14-16,0 12 15,-13-25-15,13 39 16,0-40-16,-14 0 0,14 13 16,0-12-16,0-1 15,0 0 1</inkml:trace>
  <inkml:trace contextRef="#ctx0" brushRef="#br0" timeOffset="56793.5">13203 4868 0,'0'-13'16,"0"53"-16,0-14 16,0 14-1,0-27-15,0 14 0,0-14 0,0 0 16,0 0-16,0 1 15,0 12-15,0 0 16</inkml:trace>
  <inkml:trace contextRef="#ctx0" brushRef="#br0" timeOffset="56985.17">12991 5067 0,'53'-13'16,"-27"13"-16,14-14 15,-13 1 1,-1 13-16,40-13 16,-53 0-16</inkml:trace>
  <inkml:trace contextRef="#ctx0" brushRef="#br0" timeOffset="57247.34">13282 4723 0,'27'0'16,"-1"13"-16,-79-26 0,132 52 15,-65-25-15,25 52 16,-25-53-16,-14 14 16,0-14-16,0 26 0,-14 28 15,1-54 1,0 27-16,0-27 16,13 0-16,-14 0 15</inkml:trace>
  <inkml:trace contextRef="#ctx0" brushRef="#br0" timeOffset="57461.55">13639 4855 0,'80'-13'16,"-67"0"-16,53 26 15,-66 0-15</inkml:trace>
  <inkml:trace contextRef="#ctx0" brushRef="#br0" timeOffset="57653.25">13613 5040 0,'13'0'0,"40"-13"32,-40 13-32,14 0 15,26-13-15,-40 13 16,0 0-16,0-13 0,14 13 0,-14 0 15</inkml:trace>
  <inkml:trace contextRef="#ctx0" brushRef="#br0" timeOffset="58084.87">14129 4643 0,'-53'93'31,"53"-80"-31,66 120 31,-40-120-31,27-13 16,-26 13-16,-14-13 0,27-13 15,-14 13 1,-26-13-16,27-27 16,-27 27-16,0-1 15,-14 14-15,1-39 16,0 25-16,0 1 15,-27 0 1,14 13-16,12 0 16,1 0-16,0 13 15</inkml:trace>
  <inkml:trace contextRef="#ctx0" brushRef="#br0" timeOffset="58276.98">14526 4736 0,'13'0'16,"-13"13"15</inkml:trace>
  <inkml:trace contextRef="#ctx0" brushRef="#br0" timeOffset="58633.39">14883 4643 0,'-146'27'15,"107"-14"1,39 0 0,13 1-1,27-1 1,-14 13-16,0-13 15,1 14 1,-27-14 0,0 0-16,-40 14 15,-105 39 17,118-66-32,-39 40 15,40-27-15,-14 0 0</inkml:trace>
  <inkml:trace contextRef="#ctx0" brushRef="#br0" timeOffset="59829">12846 5464 0,'52'13'16,"-25"-13"-16,79 0 16,39 0-16,27 0 15,-79 0-15,13 0 0,-14 0 16,120 0-16,225-27 15,-332 27 1,-12-13-16,0 0 0,-1 0 0,93-14 16,-92 1-16,66-14 15,-14-13-15,40-53 16,-132 80 0,40-53-16,-14-1 15,1-39 1,-67 79-16,0-39 15,-13 39-15,0 1 0,0-1 0,-53-119 16,14 67 0,-14 25-1,-13-12-15,39 39 0,-13 1 16,1 12-16,-213-118 16,199 118-16,-66-12 15,53 25-15,-66-25 16,53 25-16,-67-25 15,53 39-15,14-13 0,-14-1 16,-12 14-16,12 0 0,-13 0 0,0-13 0,14 26 16,-14-13-16,-423 40 15,410-27 1,-67 14-16,107-14 16,-172 40-16,79-13 15,79-1-15,-66 14 16,27 13-1,66-39-15,-53 39 0,53-26 16,26-1-16,-132 107 16,146-107-16,-67 94 15,0 39 1,54-40 0,39-79-16,-14-13 15,14 52-15,40 67 16,-27-119-16,54 39 15,-28-52-15,1 12 16,66 1-16,-40-27 16,0 14-16,80-14 0,-80-13 15,53 13-15,-66-13 0,13 0 16,26-13-16,-52 13 16,92 0-1,-105 0-15,-14 0 16,14 0-16,12 0 31,-26 0-15,1 0-1,-1 0 1,0 0 62,0 0 31,14 0-93,-1 0 0,67 0-1,-67 13-15</inkml:trace>
  <inkml:trace contextRef="#ctx0" brushRef="#br0" timeOffset="60558.01">13467 5583 0,'14'-14'15,"-41"67"17,14-26-32,-27 39 15,14-40-15,-1 14 0,-79 92 16,1 1-1,38-41-15,-52 27 16,80-92 0,-54 65-16,0-25 15,67-54 1,-27 27-16,13-27 16,-13 13-1,27-13-15,0-13 16,12 14-1,1-28 1,13 1 0</inkml:trace>
  <inkml:trace contextRef="#ctx0" brushRef="#br0" timeOffset="60921.91">12647 6231 0,'-66'53'16,"26"13"-1,14-40-15,13 1 0,-1-1 16,1 41-16,0-41 15,0 40-15,13-26 16,0-27-16,0 27 16,13-27-16,-13 0 15,66 53 1,-40-52-16,-12-14 0,12 13 16,14-13-16,0 0 15,-27 0-15,40 0 16,-40 0-16,27 0 15,-27 0-15</inkml:trace>
  <inkml:trace contextRef="#ctx0" brushRef="#br0" timeOffset="61917.48">11800 7276 0,'0'-13'0,"0"39"47,0 14-47,0-14 16,0 27-16,0-39 16,0 38-16,0-38 0,-13 39 15,13-40-15,0 0 16,0 0-16,0 14 15,0-14 1</inkml:trace>
  <inkml:trace contextRef="#ctx0" brushRef="#br0" timeOffset="62216.19">11721 7236 0,'40'-53'16,"-1"53"-1,-12 14 1,-14-1-16,0 13 0,1-12 16,-1 12-16,-13-13 0,0 0 15,0 27-15,-13-27 16,13 14-16,-27-1 0,1 14 15,-1-27-15,14 0 16,13 1-16,-26-14 16,12 13-16,14 0 15</inkml:trace>
  <inkml:trace contextRef="#ctx0" brushRef="#br0" timeOffset="62545.49">11946 7422 0,'26'0'16,"-26"13"-16,14 93 15,-14-80 1,-14-13-16,14 1 15,0-28 32,0-12-31,14-1-16,-1 1 16,0 26-1,0-13-15,-13-1 0,40 1 16,-14 0-1,-12 13 1</inkml:trace>
  <inkml:trace contextRef="#ctx0" brushRef="#br0" timeOffset="62961">12184 7646 0,'40'-39'15,"-27"39"-15,13-66 16,-12 52 0,-28 14-16,14-13 15,-13 13 1,0 13 0,0 1-16,13-1 15,0 0-15,0 0 16,0 1-16,0-1 15,13 0-15,0-13 16,0 13-16,1-13 16,-1 0-16,13 0 0,1 0 15,-14 0-15</inkml:trace>
  <inkml:trace contextRef="#ctx0" brushRef="#br0" timeOffset="63473.07">12647 7448 0,'-40'0'15,"1"53"17,25-27-17,14-12-15,14-1 0,-14 0 16,0 0-16,13-13 0,13 14 16,-12-14-1,-1 0-15,13 0 16,-12 0-16,-1-14 0,0 14 15,13-13 1,-12 0-16,-1 0 0,-13-1 16,13 14-1,-39 14 17,12-1-32,14 0 15,-13 0 1,26 14-1,-13-14-15,14 0 16,-1-13 0,0 0-16,14 0 15,-14 0 1,-13-13-16,13 13 0</inkml:trace>
  <inkml:trace contextRef="#ctx0" brushRef="#br0" timeOffset="64217.24">13044 7210 0,'0'13'15,"0"0"1,0 14-16,0-14 0,0 27 16,0-14-16,0 14 15,13-14-15,-13 1 16,0-14-16,0 0 15,13 0-15,-13 1 16,-13-14 0,0 0-1,0 13-15,-14-13 16,27 13 0,-13-13-16,-13 13 0,-1 1 15,27-1 1,-13-13-1,39 0 1,1 0-16,-1-13 16,27-14-1,-40 27-15,14-13 16,-14 0-16,0 13 0,14-14 16,-14 14-16,0 0 15,-13 14 1,13-14-16,-13 13 0,14-13 15,-14 13 1,13 0 0</inkml:trace>
  <inkml:trace contextRef="#ctx0" brushRef="#br0" timeOffset="64360.1">13242 7289 0,'-13'-13'15,"0"26"1,0-13 0</inkml:trace>
  <inkml:trace contextRef="#ctx0" brushRef="#br0" timeOffset="64643.18">13401 7355 0,'0'40'15,"0"-13"1,0-14-16,0 0 31,27-13 16,-14-13-47,0 13 16,0-13-1,1 13 1,-1-14-16</inkml:trace>
  <inkml:trace contextRef="#ctx0" brushRef="#br0" timeOffset="64903.86">13573 7355 0,'13'40'16,"-13"-27"-16,-13 27 15,0-14-15,-14 1 16,1 13-1,13-27-15,26-26 32,0-1-17,14-12-15,-14 13 16,0-1-16,14-12 16,-14 13-1,-26 39 16</inkml:trace>
  <inkml:trace contextRef="#ctx0" brushRef="#br0" timeOffset="65220.88">12356 7924 0,'304'-26'16,"-145"13"0,13-27-16,0 13 15,53-25 1,-159 38-16,53-25 16,-66 12-16,66-26 15,-53 0-15,-26 14 16,-14-54-1,-26 80-15,-13-14 0,-27-26 16,27 40-16,-172-40 31,132 53-31,0-13 16,-132 0-16</inkml:trace>
  <inkml:trace contextRef="#ctx0" brushRef="#br0" timeOffset="67944.35">2738 5120 0,'27'79'15,"-27"-66"-15,0 1 16,13-1-16,-13 0 0,27 27 15,-14-27-15,0 0 16,14-13-16,-14 0 16,0 0-16,0 0 0,0 0 15,14 0-15,13-13 0,-27 0 16,13 13-16,1-14 0,-14 1 16,13 13-16,-12-13 0,12-13 15,14 12-15,-27 1 16,0 13-16,0-13 15,1 13-15,-1-13 16,0 13-16,-13-14 16</inkml:trace>
  <inkml:trace contextRef="#ctx0" brushRef="#br0" timeOffset="68228.06">3188 5014 0,'27'0'15,"26"40"1,-40-27-16,0 0 15,0 13-15,27 27 16,-40 14 0,0-54-16,0 13 0,0 1 15,0-1-15,-13-13 0,0 54 16,-1-41 0</inkml:trace>
  <inkml:trace contextRef="#ctx0" brushRef="#br0" timeOffset="78533.38">17687 2130 0,'14'-27'15,"-14"54"1,0-14 0,0 27-16,0-27 15,0 27-15,0-27 0,0 13 0,-14 1 16,14-1 0,0 14-1,0-27-15,0 0 16,14 1-1</inkml:trace>
  <inkml:trace contextRef="#ctx0" brushRef="#br0" timeOffset="78899.69">17621 1945 0,'13'-14'0,"1"14"16,-41 14-16,80-28 16,53 54-1,-53 0-15,13 13 16,-39-27-16,12 27 15,-12 26 1,-27-39-16,0 0 16,-14-14-16,1 1 0,-26 26 15,25-27-15,-39 14 16,14-14-16,-1 1 16,14-14-16,12-13 0,1 13 15,0-13-15,-14 13 0,14-13 16</inkml:trace>
  <inkml:trace contextRef="#ctx0" brushRef="#br0" timeOffset="80185.12">4128 5292 0,'-14'0'16,"28"-14"0,-1 1-16,-13 0 15,13 13-15,0-13 16,14-14-1,-14 14 1,0 26 15,0-13-31,-13 14 0,0 12 16,0-13-16,14 40 16,-14-40-16,0 1 15,0 12-15,0-13 0,0 14 16,13-14-16,-13 0 15,0 0-15,0 1 16</inkml:trace>
  <inkml:trace contextRef="#ctx0" brushRef="#br0" timeOffset="80383.75">4207 5450 0,'-27'0'16,"54"0"-1,-27 0 17,13 0-32,14-13 15,-14 13-15,13 0 16,-13 0-16,1 0 16,12-13-16,-13 13 0,1-13 15,65 0 1</inkml:trace>
  <inkml:trace contextRef="#ctx0" brushRef="#br0" timeOffset="80877.42">4948 5292 0,'13'-14'16,"0"14"-16,27 0 15,-27 27 1,-26 13 0,-14 13-1,14-40-15,0 13 16,0-26-16,-1 13 16,1 14-16,0-27 15,13 13-15,0 0 47,13-13-31,0 0-16,14 0 15,-14-13-15,14 13 16,-14 0-16,0 0 0,0-13 16,27 0-1</inkml:trace>
  <inkml:trace contextRef="#ctx0" brushRef="#br0" timeOffset="81248.95">5133 5212 0,'0'-13'16,"13"40"15,0-14-15,-13 0-16,0 0 15,0 0 1,27-26 31,-14 13-32,0-13 1,1 13-16,-1 0 0,0 13 16,0-13-1,14 13 1,-14-13-16,0 0 16,14 0-1,-27-13-15</inkml:trace>
  <inkml:trace contextRef="#ctx0" brushRef="#br0" timeOffset="81567.14">5477 5146 0,'0'-13'15,"0"39"17,13-12-17,-26-41 32,13 54-47,-13-27 16,-27 26-1,27-13-15,-14 1 32,27-1-32,0 0 0,14-13 31,38-13-16,-12 0-15,-27 13 16,14-14 0</inkml:trace>
  <inkml:trace contextRef="#ctx0" brushRef="#br0" timeOffset="82357.84">6085 5292 0,'80'-14'15,"-67"14"-15,-13 27 16,0-1 0,-13-12-1,13-1 1,13 0 0,0-13-16,-13 13 0,13-13 15,14 14 1,-14-1-1,-13 13-15,-13-13 16,0-13-16,-1 14 16,14-1-16,-13-13 15,0 0-15,0 13 0,0-13 16,-1 0-16,1 0 16,0 0-16</inkml:trace>
  <inkml:trace contextRef="#ctx0" brushRef="#br0" timeOffset="82686.49">6271 5226 0,'13'0'0,"13"13"16,-12 13-1,-14-13 1,0 1 0,13-1-16,-13-40 62,13 14-62,0 0 16,14-13-1,-14 26-15,0-14 16,14 1-16,-1-13 16</inkml:trace>
  <inkml:trace contextRef="#ctx0" brushRef="#br0" timeOffset="82969.47">6575 5093 0,'13'-13'31,"-13"53"-15,0-1 15,13-25-15,-13-1-1,-13 0-15,0-13 16,13 13-16,-40 1 16,80-147-16,-106 279 15,53-133-15,-1-13 0,1 13 16,26-13 15,14 0-15,-1 0-16,-13-13 0,14 13 0,-14 0 15,27 0 1,-14 0-16</inkml:trace>
  <inkml:trace contextRef="#ctx0" brushRef="#br0" timeOffset="83503.83">7408 5384 0,'14'-13'16,"-54"66"0,27-53-16,-1 26 15,1-12 1,13-1-16,0 0 15,0 0 1,13-13-16,1 14 0,25-14 16,-25 13-1,-1-13-15,0 0 0,13 0 16,-12 0 0,12-13-16</inkml:trace>
  <inkml:trace contextRef="#ctx0" brushRef="#br0" timeOffset="83705.64">7488 5411 0,'-14'13'16,"1"0"0,13 14-1,0 12-15,13-12 16,-13-14-16,0 0 0,0 0 15,14 27 1,-14-27 0,0 1-16</inkml:trace>
  <inkml:trace contextRef="#ctx0" brushRef="#br0" timeOffset="86077.51">1257 9737 0,'53'-14'15,"-27"14"-15,27-13 0,-13 13 16,13 0-16,0 0 0,92 0 15,106 13 1,-65 14-16,-67-14 0,0 0 16,0 1-16,145 12 0,14-13 15,-132 0-15,-1-13 0,14 14 16,0-14-16,0 0 16,158 0-16,-158 0 0,0 0 15,158 0-15,-158 0 0,79 0 16,-132 0-16,0 0 15,-14 0-15,80 0 0,-40 13 16,-26-13-16,-79 0 16,-1 13-16,1-13 0,-14 0 15</inkml:trace>
  <inkml:trace contextRef="#ctx0" brushRef="#br0" timeOffset="86809">5874 9644 0,'291'0'15,"66"13"1,-159-13 0,-92 0-16,0 0 15,0 0-15,79 0 0,-92 0 16,105 14-16,-145-14 15,40 13-15,-40-13 16,-14 13 0,-25 0-16</inkml:trace>
  <inkml:trace contextRef="#ctx0" brushRef="#br0" timeOffset="89341.21">6681 10623 0,'-13'0'15,"52"0"-15,-12 0 16,65 0-16,-39 0 0,40 0 16,185-13-16,-186 13 15,40 0-15,1-13 16,-1 13-16,225 0 0,-145 0 15,-106 0-15,0 0 16,-14 0-16,173 13 16,-186-13-16,-13 0 0,0 13 15,40-13-15,-79 13 0,12-13 16</inkml:trace>
</inkml:ink>
</file>

<file path=ppt/ink/ink21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6:18:02.848"/>
    </inkml:context>
    <inkml:brush xml:id="br0">
      <inkml:brushProperty name="width" value="0.05292" units="cm"/>
      <inkml:brushProperty name="height" value="0.05292" units="cm"/>
      <inkml:brushProperty name="color" value="#0070C0"/>
    </inkml:brush>
  </inkml:definitions>
  <inkml:trace contextRef="#ctx0" brushRef="#br0">2858 3188 0,'39'-13'16,"1"13"-1,-27 0-15,14 0 16,-14-13-16,13 13 0,-13 0 16,27-13-1,0-1 1,-27 14-16,14-13 0,-14 0 15,0 0-15,0 13 0,14-27 16,-14 14 0,-13 0-16,13 13 0,-13-14 15,13 1-15,1-13 16,-14 13-16,13-1 16,-13 1-16,0 0 15,0 0-15,13-1 16,-13 1-16,0 0 0,0 0 15,0 0-15,0-14 16,-13 1-16,13-1 16,-13-13-16,-1 27 15,1-13 1,0-14-16,13 27 0,-13-14 16,-1 14-16,1 0 0,-13-14 15,26 14 1,-27 0-16,27 0 0,-39 0 15,39-1 1,-40 1-16,13 13 16,14 0-16,0 13 15,0-13-15,0 14 16,-40 12-16,26-13 16,14 0-16,-13 14 15,12-14-15,1 0 0,0 1 16,-14 12-16,14-13 0,-13 27 15,26 0 1,-14-27-16,14 40 16,-13-27-16,26 14 15,-13 13 1,0-13-16,14-27 16,-14 13-16,13 1 15,0-1-15,14-13 16,-14 1-16,13-14 15,1 0-15</inkml:trace>
  <inkml:trace contextRef="#ctx0" brushRef="#br0" timeOffset="1090.28">3929 2619 0,'0'-26'31,"-13"13"-31,0 13 16,13-14-16,-14 14 0,-25-26 31,12 13-31,14 13 0,13-13 16,-26 13-16,12-14 16,-12 14-16,-1 0 15,14-13-15,0 13 16,13 13-16,-13-13 0,-1 0 0,-25 14 15,12 12 1,14-13-16,0 0 0,0 14 16,-1-14-16,1 27 15,0 0-15,-14 39 16,27-66-16,0 14 16,-13 26-16,13-14 15,0-12-15,0-14 0,13 40 16,-13-40-16,14 40 15,-14-40-15,26 27 0,1 0 16,12-1 0,-12-26-16,-14 1 0,40 12 15,-40-26-15,14 13 0,26-13 16,-1 0-16,-25 0 16,-1 0-16,41-13 15,-28 0-15,14 0 16,13-14-16,-52 14 15,12 0-15,27-27 16,-40 0-16,0 27 16,1-13-16,-14-1 15,13 14-15,-13-27 0,0 1 16,-27-14 0,27 26-16,-13 1 0,0 13 15,13-14-15,-13 14 0,-1-14 0,-25 1 16,12-14-16,1 27 15,13 0-15,-14 0 16,-13-14-16,-26 1 16,40 26-16,-1-14 0,1 14 15,-1 0-15,1 0 0,0 0 0,-27 0 16,26 14-16,-13-1 16,14-13-16,13 13 15,-14 0-15,14 1 0</inkml:trace>
  <inkml:trace contextRef="#ctx0" brushRef="#br0" timeOffset="2143.94">4842 3162 0,'-13'0'16,"52"0"15,-12 0-15,-14 0-16,13 0 16,-12 0-16,39-13 0,-27 13 15,40 0-15,-39 0 16,-1 0-16,-13-14 15,27 14-15,-27 0 0,1 0 0,-1 0 16,0 0-16,0 0 16,0 0-1,1 0-15,12 0 16,-26-13 0,13 13-1,1 0 32,-14 13 78</inkml:trace>
  <inkml:trace contextRef="#ctx0" brushRef="#br0" timeOffset="3100.22">5834 3149 0,'53'0'31,"-40"0"-16,0 0-15,67 0 16,-54 13-16,1-13 16,-14 0-16,13 0 0,1 0 15,26 0-15,-14 0 16,-12 0-16,-14 0 16,14 0-16,-14 0 0,13 0 15,-12 0 1,-1 0-1,0 0 1,0 0 15,0 0-15,1 0 15</inkml:trace>
  <inkml:trace contextRef="#ctx0" brushRef="#br0" timeOffset="3606.93">6959 3188 0,'39'0'16,"-12"0"-16,79 0 15,-93 0-15,13 0 0,1-13 16,-14 13-16,0 0 0,14 0 16,-1 0-16,0 0 15,-12 0 1,-41 0 15,14 13-31,0-13 0,-14 13 16,1-13-16</inkml:trace>
  <inkml:trace contextRef="#ctx0" brushRef="#br0" timeOffset="4091.38">5106 3479 0,'0'13'16,"-13"14"-1,13-1 1,0 1 0,-13-14-16,13 0 0,0 1 0,0-1 15,-13 0-15,13 0 16,0 0-16,0 1 16,13-14-1</inkml:trace>
  <inkml:trace contextRef="#ctx0" brushRef="#br0" timeOffset="4449.01">5292 3426 0,'-27'0'15,"27"14"1,0-1 0,13-13-16,-13 13 0,14 0 15,-1 14 1,-13-14-1,-13 0-15,13 0 16,-14-13-16,1 14 16,-13-14-1,13 13-15,-1-13 16,1 0-16</inkml:trace>
  <inkml:trace contextRef="#ctx0" brushRef="#br0" timeOffset="5044.95">5834 3532 0,'27'0'16,"12"13"-1,-39 1 1,0 12-16,-13 1 15,0-14-15,0 0 0,-40 40 16,39-53 0,1 26-1,0-12-15,0-1 32,26-13-17,27 0-15,-27 0 16,27 0-16,26-13 31,-40-1-31,1 14 16,-14 0-16,0-13 15</inkml:trace>
  <inkml:trace contextRef="#ctx0" brushRef="#br0" timeOffset="5594.09">5966 3400 0,'0'53'32,"0"-40"-32,-13 0 15,26-13-15,-13 13 16,14-26 31,-14 0-32,26 13 1,-13 0 0,0 0-16,14 0 15,13 13 1,-27-13-16,0 0 16,0 0-16,40 0 15</inkml:trace>
  <inkml:trace contextRef="#ctx0" brushRef="#br0" timeOffset="6188.52">7011 3440 0,'14'0'16,"-1"0"-16,0 13 16,0 0-1,-13 0-15,0 0 16,0 1 0,0-1-16,14 0 15,-14 0 1,0 1-1,-27 12-15,1 1 16,12-14 0,-25 0-1,12 0 1,14-13-16</inkml:trace>
  <inkml:trace contextRef="#ctx0" brushRef="#br0" timeOffset="6488.02">7104 3347 0,'40'40'16,"-40"-14"-1,0-13 1,0 1 0,26-28-1,1 1 1,-14 0-16,13 0 16,27-27-16,-13 14 15,-14 12 1</inkml:trace>
  <inkml:trace contextRef="#ctx0" brushRef="#br0" timeOffset="7915.53">4921 5265 0,'0'27'31,"0"-14"-31,0 0 0,0 14 16,0-14-16,-13 0 0,13 0 0,0 27 31,13-27-31,-13 0 16,13-13-16,1 0 15</inkml:trace>
  <inkml:trace contextRef="#ctx0" brushRef="#br0" timeOffset="8447.31">5900 5278 0,'53'0'16,"-40"14"-16,-79-28 0,146 41 15,-80-1 1,-14-12-16,-12 12 16,-1 14-1,14-27-15,13 0 0,-13 0 16,0-13-16,13 14 15,-13-1-15,26 0 16,0-13 0,0 0-16,0 0 0,1 0 0,52-13 15,0 0 1,-40-1-16,14 1 0,-13 13 16</inkml:trace>
  <inkml:trace contextRef="#ctx0" brushRef="#br0" timeOffset="8891.82">7117 5252 0,'53'13'0,"-26"0"16,-27 1-16,13-1 15,-13 0 1,0 0-16,0 1 16,13-1-1,-13 0 1,13 0 0,-52 14 15,25-14-31,1-13 0,0 13 15,-13-13-15,26 13 16,-14-13 0</inkml:trace>
  <inkml:trace contextRef="#ctx0" brushRef="#br0" timeOffset="9495.34">8625 5226 0,'-26'13'32,"13"0"-32,-1 0 15,1-13-15,0 13 0,0 1 16,-14 12-16,1 1 15,13-27-15,13 13 0,-14 13 16,14-12 0,14-1-1,-1 0-15,0-13 0,27 0 16,-14 0 0,14 0-16,0 0 15,-1 0-15,-25-13 16,-1 13-16,0-13 15</inkml:trace>
  <inkml:trace contextRef="#ctx0" brushRef="#br0" timeOffset="9668.45">8572 5212 0,'-13'14'15,"0"-1"-15,39-40 16,-65 93-16,39-52 15,0 12-15,0 14 0,-13-27 0,13 53 16,0-26 0,0-14-1,0 1-15,13-14 0</inkml:trace>
  <inkml:trace contextRef="#ctx0" brushRef="#br0" timeOffset="10853.1">9327 5133 0,'198'40'16,"-158"-40"-16,132 13 15,-53 0-15,-13 0 16,-40-13-16,145 0 16,-158-13-1,0 13-15,0 0 0,93-40 16,-107 27-16,80-40 15,-79 40-15,-13-13 16,25-27-16,-25 26 16,-14-13-16,14-26 0,-27 40 15,0-40-15,-14 26 0,-25-53 16,12 54-16,-12-1 0,-14 0 16,-40-26-16,-26 13 15,53 27-15,-159-27 16,146 53-16,-93 0 15,-14 13 1,67 14-16,0-1 0,27 1 0,-14 12 16,13 1-16,-26 26 0,-53 106 15,146-146 1,-1 54-16,27-27 16,13-14-16,14 28 15,-1-41-15,1 1 0</inkml:trace>
  <inkml:trace contextRef="#ctx0" brushRef="#br0" timeOffset="17794.59">10253 7117 0,'79'80'0,"-53"-54"16,80 14-16,-53-27 15,-13 0-15,13 0 0,0 1 0,-14-14 16,80 13-16,-66-26 16,0 13-16,0 0 0,13-14 0,0 14 15,54-26-15,-15 0 16,-52 12-16,-13 1 0,13 0 0,-13 0 16,39-14-16,0-12 15,-52 12-15,39-13 16,-26 1-16,-1-27 15,-25 39-15,-1 1 0,-13-1 16,13-39-16,-26 0 16,-14 0-16,14 26 0,-27 0 15,14 1-15,-14-1 0,1 14 16,-14-14-16,0 13 0,0 1 0,0-1 16,0 1-16,-119-40 15,66 39-15,66 14 16,-12 13-16,-54-13 15,0 13-15,53 0 16,-13 13-16,-66 14 0,65-1 0,1 1 16,-53 25-16,-13 28 15,79-27-15,0-14 16,-106 147-16,146-107 16,13-26-1,0-13-15,13-1 0,1 1 0,52 39 16,0-12-16,53 25 15,-93-79-15,14 14 16,39 12 0,-39-25-16,-27-14 0,14 13 15</inkml:trace>
  <inkml:trace contextRef="#ctx0" brushRef="#br0" timeOffset="19942.91">11602 7607 0,'26'13'16,"-12"0"-16,12 27 15,-13-27-15,1 27 0,-1-14 0,0 1 16,-13-14 0,13 13-16,-13 1 0,0-14 15,0 14-15,0-14 16</inkml:trace>
  <inkml:trace contextRef="#ctx0" brushRef="#br0" timeOffset="20178.16">11708 7580 0,'-27'0'0,"1"14"16,-14 25-16,1 1 15,25-14-15,-12 1 0,13-1 16,-1 1-16,-25 26 16,12-14-16,14-25 15,0-1-15,0 0 0,-1 14 16</inkml:trace>
  <inkml:trace contextRef="#ctx0" brushRef="#br0" timeOffset="20371.87">11536 7607 0,'66'13'0,"-53"-13"16,-92-13-16,198 39 0,-106-13 0,0-13 15,14 14-15,-14-1 0,27 0 16,-27 0-16,13-13 0,-26 14 15,14-14-15</inkml:trace>
  <inkml:trace contextRef="#ctx0" brushRef="#br0" timeOffset="21787.03">13163 7408 0,'26'-13'15,"-12"26"-15,-1-13 0,0 0 0,0 0 16,1 27-16,-1-27 16,-13 13-16,0 0 15,-13 0-15,13 1 0,-14-1 0,-12 0 16,26 0-16,-13-13 15,13 14-15,-14-14 0,14 13 0,0 0 16,14 0 0,-1 1-16,0-14 15,0 13-15,1-13 16,-14 13-16,13 0 0,0 0 16,-26 1-16,0-1 15,-1 0-15,-25 14 16,12-27-16,1 13 0,-1 0 15,-12 0 1,25-13-16,1 0 16,0-13-16,26 0 15</inkml:trace>
  <inkml:trace contextRef="#ctx0" brushRef="#br0" timeOffset="21980.68">13705 7342 0,'0'27'16,"-13"12"-16,13-25 15,-13-1-15,13 13 0,-27 14 16,14 0-16,0-14 16,0 1-16,13-1 0,-13-13 0,-1 14 0,1-1 15,0-13-15,13 1 16,-13 12-16</inkml:trace>
  <inkml:trace contextRef="#ctx0" brushRef="#br0" timeOffset="22138.96">13481 7488 0,'0'-14'16,"0"28"-16,13-14 31,-13 13-31</inkml:trace>
  <inkml:trace contextRef="#ctx0" brushRef="#br0" timeOffset="22271.29">13811 7713 0</inkml:trace>
  <inkml:trace contextRef="#ctx0" brushRef="#br0" timeOffset="22814.77">13137 8149 0,'224'-26'15,"-118"12"1,-40 1-16,53-26 15,1 12-15,-54 1 0,40-27 16,-54 26-16,41-39 16,-14 0-1,-39 26-15,0-13 0,0 0 0,12-66 16,-25 66-16,-14-79 16,-13 0-16,-13 66 0,0 13 15,-14-13-15,1 13 0,-14 13 16,-53-39-16,41 39 15,-15 27-15,-158-40 0,146 53 16,0 13-16,-14 0 0,-92 27 16,0 39-16,13 14 15,0 92 1,92-66-16,67-66 16,0 13-16,0 0 0,26 1 15,27 65-15,52 0 16,-39-79-16,66 53 0,-53-66 15,-13-1-15,132 41 16,-79-41 0,-66-25-16,39-14 0,-26 13 15,-40-13-15,14-13 0,-1 13 16,1 0-16</inkml:trace>
  <inkml:trace contextRef="#ctx0" brushRef="#br0" timeOffset="24427.81">12025 8797 0,'14'-13'15,"-28"93"1,-12 39-16,13-53 16,-1 13-16,-39 212 0,27-66 15,0-119 1,-1 92-16,-13 93 15,40-224-15,-13-1 16,13 26-16,0-52 0,-13-14 16,13 14-16,0-27 15,0 14-15</inkml:trace>
  <inkml:trace contextRef="#ctx0" brushRef="#br0" timeOffset="24759.46">10782 10054 0,'238'13'15,"-146"-13"-15,768 40 32,-701-27-32,516 27 15,-503-27-15,357 14 16,-357-14-16,-13 0 16,158 0-16,107 1 15,-133-14 1,-212 0-16,53 0 0,-79 0 15,13-14 1</inkml:trace>
  <inkml:trace contextRef="#ctx0" brushRef="#br0" timeOffset="25668.06">12158 9962 0,'-27'13'16,"54"-26"31,-14 13-47,0-14 0,40 1 15,13-27-15,0 1 16,27-14 0,-40 26-16,39-26 0,14-26 15,-53 39-15,172-132 16,-106 93-1,-13 26-15,106-39 32,-120 65-32,-26 14 15,-26 13-15,-14 0 0,41 0 16,-14 13-16,-1 14 16,28 39-1,-27-13-15,-14 13 16,1 26-1,-13-52-15,-14 0 0,13 13 16,40 39 0,-13-39-16,53 13 15,26-13 1,-52-26-16,-27-14 16,79 13-1,-26-12-15,-40-1 16,-26-13-16,13 0 15,13 0 1,-53 0-16,27 0 31</inkml:trace>
  <inkml:trace contextRef="#ctx0" brushRef="#br0" timeOffset="26129.24">14618 9909 0,'-26'53'31,"26"-27"-15,-13 14-16,-1-1 16,-12 1-16,13 13 15,13-40 1,0 0-16,13 1 15</inkml:trace>
  <inkml:trace contextRef="#ctx0" brushRef="#br0" timeOffset="26321.27">14989 10107 0,'-14'40'16,"-12"-14"0,26-13-1,-13-13-15,-1 14 0,1-1 16,-13 0 0</inkml:trace>
  <inkml:trace contextRef="#ctx0" brushRef="#br0" timeOffset="26519.22">14962 10081 0,'-13'0'16,"-27"13"0,-92 27-1,92-27 1,14 0-16,-54 0 15,54 0-15,13-13 16</inkml:trace>
  <inkml:trace contextRef="#ctx0" brushRef="#br0" timeOffset="26666.93">14737 10041 0,'-13'53'15,"13"-27"1,0-12 0,40-1-1</inkml:trace>
  <inkml:trace contextRef="#ctx0" brushRef="#br0" timeOffset="26751.24">15134 10186 0,'27'27'0,"-27"-1"16,0-12-1</inkml:trace>
  <inkml:trace contextRef="#ctx0" brushRef="#br0" timeOffset="27346.66">12449 9750 0,'0'79'16,"-14"-26"-1,14-26-15,0 12 16,-13 14-16,13-26 0,-13 12 16,13-12-16,-13-1 15,13 1-15</inkml:trace>
  <inkml:trace contextRef="#ctx0" brushRef="#br0" timeOffset="27785.12">12197 9922 0,'-119'13'16,"80"0"-16,-41 14 16,54-27-1,-1 13-15,14-13 32,53 0-1,-14-13-16,1 0 1,-1 13-16,-13 0 16</inkml:trace>
  <inkml:trace contextRef="#ctx0" brushRef="#br0" timeOffset="29066.88">12078 9988 0,'-79'13'31,"66"-13"-31,-14 13 16,40 1 30,1-14-30,-14 13 15,-14 0-15,1 0 0,26-13 15,14 0-16,-1-13 1,-12 0 0,-1 13-1,0 0-15,-13 13 47,0 0-31,13-13-1,14-13 1,-14 13 0,0-13-1,0 13 1,1 0 0,-14 13-1,13 0 16,0-13-31,0-13 16,14-13-16,-14 12 16,0 1-16,0 0 15,1 0-15,-1 0 16,0-1 0,0 28 15,1-1-16,25-26 17,-26 13-17,14-14-15,-14 14 16,0-13 0,1 26-16,-1 1 31,-13-1-31,0 0 0,0 0 15,0 0 1,0 1-16,0-1 16,13-13-16,-13 13 15,27-26 1,-27 0 0,13-1-1,-26 41 16,-1 13-15,1-27 0,13 0-16,-13 0 15,26 1 1,14-28 15,-27 1-15,-14 0-1,1 13 1,-13 0 0,12 0-16,1 13 15,0 0-15,0-13 0,-1 14 16</inkml:trace>
  <inkml:trace contextRef="#ctx0" brushRef="#br0" timeOffset="29232.01">12250 10054 0</inkml:trace>
  <inkml:trace contextRef="#ctx0" brushRef="#br0" timeOffset="30497.62">14565 10120 0,'-13'53'16,"26"-53"0,27-13-1,-14-13-15,-12 26 16,-1-14-16,0-12 16,14 13-16,-14-14 15,-13 14-15,-13 13 31,-1 0-31,-12 13 16,13 0-16,-14 14 16,27-14-1,0 0-15,13 1 16,14-14 0,-14 0-16,0 0 15,1-14-15,12 14 16,-13 0-1,1 0-15,-1 14 16,-13-1 0,0 13-1,13-13-15,0 1 16,0-14 0,14 0-16,13-14 15,-14 1-15,14 13 16,-14-13-1,1 26 1,-14-13-16,0 13 16,0-13-1,1 14-15,12-14 16,0 0 0,1 0-1,-14-14-15,14 14 16</inkml:trace>
  <inkml:trace contextRef="#ctx0" brushRef="#br0" timeOffset="32459.19">13785 8109 0,'185'14'0,"-66"25"31,-79-25-31,-1-1 0,1 13 0,0-12 15,13 12-15,-14 0 0,80 67 16,-92-66 0,13 12-16,39 67 0,-53-27 15,-12 1-15,-1-41 16,-13 54-16,0-53 16,-13 52-16,13-12 15,0 12-15,-14-52 16,14 13-1,0-13-15,0-1 16,0-12-16,0-1 0,0-13 16,0 1-16,0-1 15,0 0-15,0 0 0,0 1 32</inkml:trace>
  <inkml:trace contextRef="#ctx0" brushRef="#br0" timeOffset="32866.79">14446 9313 0,'13'53'15,"-13"-40"-15,27 93 16,-1-53 0,-12-40-16,39 27 15,-27-40-15,0 13 16,1-13-16,-1 0 0,54-13 16,-54 13-16,27-13 15,-26 0-15,-14 13 16,26-14-16,-25 14 15,-1-13-15</inkml:trace>
  <inkml:trace contextRef="#ctx0" brushRef="#br0" timeOffset="34723.65">15729 10636 0,'14'13'31,"-14"1"-15,0-1-16,-14 27 15,14-14-15,0-13 16,0 27-16,-13-27 16,13 40-1</inkml:trace>
  <inkml:trace contextRef="#ctx0" brushRef="#br0" timeOffset="34947.71">15954 10570 0,'0'-13'15,"0"39"-15,14-12 16,-14-1-16,0 26 16,0-25-16,0 39 15,13-40-15,0 40 16,-13-27 0</inkml:trace>
  <inkml:trace contextRef="#ctx0" brushRef="#br0" timeOffset="35250.26">15716 10782 0,'53'-13'15,"-40"-1"-15,67 1 16,-41 13-1,-12-13-15,-14 13 0</inkml:trace>
  <inkml:trace contextRef="#ctx0" brushRef="#br0" timeOffset="35656.07">16179 10716 0,'-26'13'15,"13"53"1,13-53-1,13 27 1,0-27-16,0 0 0,14 1 16,-14-14-16,13 0 15,-26-14-15,14 1 32,-14 0-32,-14 0 0,14-14 15,-13 14-15,0 0 16,13 0-16,-13-1 0,-1 1 15,14 0-15,-13 13 16</inkml:trace>
  <inkml:trace contextRef="#ctx0" brushRef="#br0" timeOffset="35886.61">16497 10663 0,'0'-14'0,"39"14"16,-25 0-1,-1 0-15,0 0 0,0 0 16,1 0-16</inkml:trace>
  <inkml:trace contextRef="#ctx0" brushRef="#br0" timeOffset="36080.07">16457 10795 0,'27'0'32,"-14"0"-32,0 0 15,0-13-15,0 13 0,1 0 0,-1 0 16,40-13-16,-40 13 0,27 0 16,-14-14-16</inkml:trace>
  <inkml:trace contextRef="#ctx0" brushRef="#br0" timeOffset="37186.04">17185 10517 0,'13'-13'0,"-26"53"32,13-27-32,0 13 15,-14 14-15,14-27 16,0 0-16,0 14 0,-13-14 15,13 0-15,0 1 16,0-1-16,-13-13 0,13 26 16,0-52 15,0 13-15,13-14-16,0 14 0,54-106 15,-28 66 1,1 27-1,-27 26 17,0 13-32,-26 0 0,13 0 0,-26 14 15,13-14 1,-14 13-16,1 1 0,12-27 16,-12 26-16,13-13 15,-1-13-15,14 14 16,-13-1-16,26 0 15,-13 0 1,14-13-16,12 0 16,-13 0-16,14 0 0,-14 0 15,0 0-15,14-13 16,-14 13-16,27-26 16,-27 12-16,0 1 15,0 13 1,-13 13 15,0 1-15,14-1-1,-1-13-15,0 13 16,0-13-16,14 0 16,-1 0-1,-13 0 1,1 0-16,-14 13 0,13-13 0,-13 14 15,0-1-15,0 0 16,0 0-16,-13 14 16,-1-1-16,1-26 15,13 13-15,-13 1 0,0-14 16,13 13-16,-14-13 16,14-27 15,14 14-31,-1 0 0,13-27 15,1 1 1,-14 25-16,0 1 0,1 0 16,-1 0-16,0-1 0,0-12 15,0 13-15,1 0 16,-14-1 0,-27 28 30,27-1-30,0 0 0,13-13-1,14 13 1</inkml:trace>
  <inkml:trace contextRef="#ctx0" brushRef="#br0" timeOffset="37707.86">17859 10795 0,'67'-26'16,"-54"12"-16,26-25 16,-12-1-16,-1 0 15,-12 27 1,-14 0-16,0 0 0,13 13 0,-13-14 15,13 1 1,-26 40 0,0-14-1,13 0-15,-27 13 0,1 1 16,-1-1-16,1-12 0,-27 25 16,53-25-1,-13-14-15,52 0 31,-12-14-15,-14 1-16,13 13 16,-12 0-16,12-13 0,27 13 15,66-13 1,-106 13-16,40 0 16,-40 0-16,1 0 0</inkml:trace>
  <inkml:trace contextRef="#ctx0" brushRef="#br0" timeOffset="38432.37">17224 11099 0,'80'0'16,"12"0"0,-26 0-16,93 0 0,0 0 15,185-26 1,-251 13-16,79-1 15,-93-12-15,66-1 16,-12-12-16,-27-14 16,-54 26-16,-12 1 0,-13-1 15,26-25-15,-40 25 16,13-26-16,-26 40 16,0-14-16,-26-39 0,13 40 15,-14-14-15,1 1 0,-54-28 16,1 1-16,-27 0 15,53 26-15,-13 14 0,13-1 16,-225-78 0,133 65-16,-14 0 15,80 14-15,-14 13 16,0-1-16,1 1 0,-146-13 16,-199-1-1,331 40-15,0-13 0,1 0 16,-14 14-16,-106 12 0,13 1 15,14 12-15,-1 1 16,120-14-16,-93 14 16,92-13-16,1-1 0,-133 53 15,80-12 1,26-1-16,14 0 16,65-40-16,1 40 15,26-39-15,13 39 16,13-26-16,1-1 0,26 1 15,344 159 1,-159-133-16,40-13 16,-1-1-16,-144-38 15,144 12-15,-131-26 16,0 13-16</inkml:trace>
  <inkml:trace contextRef="#ctx0" brushRef="#br0" timeOffset="38891.86">19262 10742 0,'53'-13'0,"-14"13"15,-25 0-15,105-13 16,-80 13-16,-12 0 15,39-14-15,-13 14 16,-40-13-16</inkml:trace>
  <inkml:trace contextRef="#ctx0" brushRef="#br0" timeOffset="39134.14">19711 10504 0,'93'66'0,"-66"-26"16,-14-27-16,13 27 0,-26-27 16,0 66-1,-13-39 1,-13 0-16,12-27 0,-12 13 15,13-12 1</inkml:trace>
  <inkml:trace contextRef="#ctx0" brushRef="#br0" timeOffset="40224.33">20413 10226 0,'-67'-79'16,"54"105"0,0-13-1,13 1-15,0 39 16,0 26-16,-13-39 16,13 39-16,0-26 0,-13-13 15,13-1-15,-53 120 31,13-119-15,40-27-16,-27 0 0,14-13 16,-13 0-1,26-26 1,13-1-16,13 1 16,14-1-1,13 1-15,-26 13 0,105-40 16,-92 40-1,-14-1-15,0 14 0,1-13 16,-14 0-16,14 0 0,12-14 16,-25 27-16,-1-26 15,-13 13 1,-27-1 0,14 28-1,-27-14-15,14 13 16,13-13-16,-14 26 15,14 1 1,0-27-16,26 13 16,-13 0-16,40-13 15,-1 0 1,-25 0-16,-1 0 0,27-13 16,-14 0-16,0-14 15,1 14 1,-1 13-16,-26-13 15,14 13-15,-1 0 0,0 13 32,-13 0-32,13 0 0,-13 1 15,0-1-15,0 0 16,0 14-16,0-14 16,0 0-16,0 0 15,13 0-15</inkml:trace>
  <inkml:trace contextRef="#ctx0" brushRef="#br0" timeOffset="40458.99">21048 10597 0,'0'13'16,"0"0"0,0 0-16,-14 0 15,14 1 1,0-1-16,14-13 16</inkml:trace>
  <inkml:trace contextRef="#ctx0" brushRef="#br0" timeOffset="40882.86">20704 10332 0,'-14'0'0,"54"26"47</inkml:trace>
  <inkml:trace contextRef="#ctx0" brushRef="#br0" timeOffset="41235.83">21034 10491 0,'14'39'16,"-1"-12"-16,-13-14 16,-13 40-1,13-27-15,0-12 16,0-1-16,-14 0 0,14 0 15,0 1-15,27-28 47,-14-12-47,0 26 16,1-13-16,25-27 0,14 0 16,-26 14-16,12-1 15,-12 14-15,-14 0 0,13 0 16,-12 0-16,-1 13 15</inkml:trace>
  <inkml:trace contextRef="#ctx0" brushRef="#br0" timeOffset="42203.56">21921 10464 0,'-13'0'16,"-54"53"0,54-40-16,13 1 15,0-1-15,0 13 16,0-12-16,13-1 0,14 13 16,-1-13-16,27 14 15,-40-27 1,1 0-16,12 0 0,-13 0 0,1 0 15,-1 0-15,13-13 16,1-1-16,-14 1 16,0 0-1,0 0 1,-13 0-16,14-1 16,-28 41 46,14-1-46,-13-13-1,13 14 1,27-14 0,-27 0-16,13-13 0,0 14 15,14-14-15,12-14 16,-26 14-1,1-13-15,-1 13 0,-13-13 16,13 0-16,-13-14 16,0 1-1,-13 26-15,0-13 16,-1-1-16,1 14 16,0 0-1,0 0-15,0 14 16,13-1-1,0 0-15,13-13 16,40 13 0,-40-13-16,13 0 15,-12 0-15,-1 0 0,13 0 16,14-13-16,-27 13 0,14 0 16,-1-13-16,-13 13 15,1 0 1,-1 0-16,-13 13 15,0 0-15,0 14 16,0-14 0,0 13-1,0-12-15,0 12 16</inkml:trace>
  <inkml:trace contextRef="#ctx0" brushRef="#br0" timeOffset="42336.45">22490 10517 0,'-27'-13'0</inkml:trace>
  <inkml:trace contextRef="#ctx0" brushRef="#br0" timeOffset="42648.49">22622 10649 0,'-40'27'15,"27"-14"17,39-13-1,14-13-15,-27 13-16,27 0 15,-14 13 1,-12-13-16,-1 0 0,0 13 15,-26 14 1</inkml:trace>
  <inkml:trace contextRef="#ctx0" brushRef="#br0" timeOffset="42911.47">21246 10888 0,'516'39'15,"-450"-39"-15,14 0 16,78 14-16,-78-1 15,171 13 1,-172-26-16,-52 0 16,-14 13-16,13-13 15,-12 0-15</inkml:trace>
  <inkml:trace contextRef="#ctx0" brushRef="#br0" timeOffset="43152.23">21259 10980 0,'27'0'15,"-14"0"-15,106 13 16,-278-26-16,358 26 0,-133 1 16,13-14-16,-13 13 0,14-13 15,-14 13-15,53-13 0,-13 13 16,-53-13-16,-14 0 15,-12 0-15,79 0 16,-80 0-16,-13 0 16</inkml:trace>
</inkml:ink>
</file>

<file path=ppt/ink/ink21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6:19:21.307"/>
    </inkml:context>
    <inkml:brush xml:id="br0">
      <inkml:brushProperty name="width" value="0.05292" units="cm"/>
      <inkml:brushProperty name="height" value="0.05292" units="cm"/>
      <inkml:brushProperty name="color" value="#0070C0"/>
    </inkml:brush>
  </inkml:definitions>
  <inkml:trace contextRef="#ctx0" brushRef="#br0">23680 2143 0,'106'-13'16,"-80"13"0,1 0-16,13 0 0,-14 0 0,27 0 15,145 0 1,-145 0-16,-13 13 15,26-13-15,-39 13 0,-1-13 0,1 14 16,-1-14-16,-13 0 0,14 13 16,-14 0-16,27 0 0,-27 0 15,0 1-15,0-1 0,1 0 16,-1 0-16,0 14 0,0-14 16,-13 14-16,27 12 0,-27-12 15,13 12-15,0 28 0,0 38 16,1-38-1,-14-28-15,0 41 16,0-41-16,13 54 0,-13-53 16,13-1-16,-13 1 0,0 0 15,13 145 1,-13-145-16,0 12 0,0 41 16,0 13-16,-13-66 15,13 26-15,0 0 0,0 53 16,-13 13-16,13-79 15,-13 146-15,-1-133 16,-12 53-16,-1 13 16,-25 66-1,12-65-15,-13 12 16,27-79-16,-1 1 0,-26 78 16,-13 67-1,40-133-15,-27 146 16,39-146-16,-12 80 15,13-79-15,-14 158 16,-12 26 0,12-105-16,1-80 15,12 1-15,-12 105 0,-1-26 16,-12-14-16,12-39 16,-39 185-1,53-211-15,-14-1 16,-25 146-16,25-93 15,-26 66-15,40-131 16,-13 65-16,12-66 16,-25 119-16,25-132 15,-25 119 1,25-106-16,1-13 0,-26 132 16,25-132-1,1 27-15,0 12 16,0 1-16,-14-14 15,27-52-15,-13 65 16,0-52-16,13 0 16,0-14-16,0-13 15,-14 40 1,14-39-16,0 25 16,0-25-16,0-1 15,0 0 1,0 0-1,0 0 1,-13-13 0,-13 14-1,13-14-15,-54 13 16,15-13-16,-68 13 16,41 0-16,-119 14 15,-173 26-15,226-27 16,-1 1-16,-171 26 15,-14 13-15,-66 26 16,-264 80 0,449-119-16,-225 79 15,14 14-15,225-80 16,-358 133-16,410-146 0,-277 92 16,291-105-1</inkml:trace>
  <inkml:trace contextRef="#ctx0" brushRef="#br0" timeOffset="2103.04">6072 3453 0,'-13'0'16,"53"-13"-1,-14 13-15,1 0 16,-1 0-16,120 0 15,12 0 1,-118 0-16,66-14 0,-66 14 16,-14 0-16,40 0 15,-26 0-15,-14 0 0,-13 0 16,14 0-16,13 0 16,-27 0-1,0 0-15,0 0 0,1 0 16,-1 0-1,0 0 17,0 0-1,0 0 16</inkml:trace>
  <inkml:trace contextRef="#ctx0" brushRef="#br0" timeOffset="2836.48">15584 3797 0,'489'0'16,"-356"0"0,-1 0-16,0 0 0,133-13 15,-1-1-15,-171 14 16,39-13-16,-39 13 0,13-13 0,-14 13 15,199-13 1,-224-1-16,-28 14 0,27 0 16,-39 0-16,13 0 15,-27 0-15</inkml:trace>
  <inkml:trace contextRef="#ctx0" brushRef="#br0" timeOffset="4351.34">12237 5675 0,'145'53'0,"-39"-26"16,-40-1-16,80 14 16,-80-27-16,27 0 0,-14 1 15,106 12-15,14-13 16,-107-13-16,14 13 0,0-13 15,0 0-15,0-13 0,-14 13 0,14-13 16,-13 13-16,105-26 16,-118 12-16,12 1 0,-12 0 0,-1-14 15,80 1-15,-27-27 16,-66 40-16,40-40 16,-53 26-16,-13 1 0,-1 13 0,-12-14 15,26-26-15,-27 14 16,14-27-16,-27-14 15,0 1-15,-52-93 16,25 119-16,-12-13 16,-1 0-16,-12 13 0,-1-14 0,0-12 15,-52-53-15,-27 0 16,-14 12-16,-12 1 16,-1 14-1,93 65-15,-105-53 16,65 54-16,14-1 0,-93-39 15,106 52-15,-27 1 0,-92-27 16,92 26-16,-13 1 0,14 13 16,-14-1-16,-265-25 15,279 39-15,-40-14 0,26 14 0,-132 0 16,105 0-16,1 0 16,-119 14-16,132-1 0,-133 13 15,133 1-15,0-14 0,-238 53 16,119-13-1,26 0-15,0 13 16,133-53 0,0 14-16,-67 26 0,14 0 15,79-27-15,-93 54 16,107-54-16,-14 14 16,-53 65-16,13 15 15,67-81-15,13 1 16,-14 26-16,27-26 15,-13 52-15,40 14 16,-1-66 0,-13-14-16,14 1 0,-1-1 0,27 1 15,-13-1-15,39 1 0,53-14 16,14-13-16</inkml:trace>
  <inkml:trace contextRef="#ctx0" brushRef="#br0" timeOffset="5659.49">16960 5040 0,'26'0'16,"-13"-13"0,1 13-16,-1 0 15,0-13-15,0 13 16,1 0-16,-54 0 31,27 13-31,-14-13 16,14 0-16,-13 13 15,12-13-15,-25 14 0,12-1 16,14 0-16,-13-13 16,26 13-16,0 0 15,13 1 1,0-14-16,0 13 0,14-13 0,-1 0 16,14 13-16,13 0 15,-27-13-15,27 14 16,-26-14-16,-1 13 15,0 0-15,-12 0 16,-1 1-16,-26-1 16,-14 13-16,14-13 0,0-13 15,0 14-15,-1-1 16,-25 0-16,-1 0 16,-13 14-16,40-27 15,0 13-15,-14 0 16,14-13-1</inkml:trace>
  <inkml:trace contextRef="#ctx0" brushRef="#br0" timeOffset="5870.84">17423 5067 0,'0'26'32,"0"-13"-32,0 1 15,-27 25-15,27-12 0,-26-1 16,13 1 0,-1-14-16,14 0 0</inkml:trace>
  <inkml:trace contextRef="#ctx0" brushRef="#br0" timeOffset="6044.31">17238 5146 0,'-14'-26'16,"67"39"-1</inkml:trace>
  <inkml:trace contextRef="#ctx0" brushRef="#br0" timeOffset="6187.41">17582 5265 0,'13'-13'15</inkml:trace>
  <inkml:trace contextRef="#ctx0" brushRef="#br0" timeOffset="6728.44">16973 5662 0,'106'0'15,"-27"-13"-15,14 0 16,13-14-16,-40 14 16,0 0-16,-13-14 0,119-26 15,-80 14 1,-12-1-16,-14-13 16,-13 13-1,-27 14-15,1-40 0,-14 39 0,14-79 16,-54 1-1,-26-1 1,-225-119 0,186 185-16,-1 14 15,-79-14-15,80 27 0,-80 0 16,13 26 0,-66 53-16,106 0 15,66-26-15,13-1 0,14 14 16,-14 0-16,14 212 15,65-146 1,14-26 0,-26-54-16,12 1 0,41 53 15,-14-54-15,-13-26 16,-27 1-16</inkml:trace>
  <inkml:trace contextRef="#ctx0" brushRef="#br0" timeOffset="7215.96">17926 6006 0,'-14'66'15,"14"-39"1,0 92-16,-13-106 15,13 27-15,0-14 0,0-13 16,0 27-16,0-27 0,-13 14 16,13-14-16,13 0 15</inkml:trace>
  <inkml:trace contextRef="#ctx0" brushRef="#br0" timeOffset="7438.32">18468 6059 0,'0'0'15,"0"26"1,-13-12 0,13-1-16,-53 53 15,40-40-15,-1-12 0,1 12 16,0 1-1,-27 12-15,40-25 16,-13-1-16,0 0 0</inkml:trace>
  <inkml:trace contextRef="#ctx0" brushRef="#br0" timeOffset="7590.08">18243 6138 0,'26'14'47</inkml:trace>
  <inkml:trace contextRef="#ctx0" brushRef="#br0" timeOffset="7724.29">18521 6284 0,'13'0'16</inkml:trace>
  <inkml:trace contextRef="#ctx0" brushRef="#br0" timeOffset="8298.2">17978 6681 0,'133'26'16,"-80"-39"-16,0 13 0,-1-13 0,15 13 16,-14-13-16,79-14 0,-79 14 15,13 0-15,40-27 0,-53 13 16,79-52-1,-106 53-15,41-27 16,-28-13-16,-12 26 0,-1-26 16,-26 26-16,13-53 15,-26 14-15,-13-14 16,12 41-16,-25-1 0,12 13 16,-65-39-16,-80-27 15,92 92-15,14-12 16,-93 0-16,80 26 0,-66 0 15,65 13-15,1 0 0,-67 40 16,80-27-16,-53 54 16,0-1-1,79-26-15,-66 119 0,80-119 16,13 13-16,0-13 16,26 53-16,40 53 15,66-27 1,-27-79-16,-65-27 15,52 1-15,-26-14 16</inkml:trace>
  <inkml:trace contextRef="#ctx0" brushRef="#br0" timeOffset="12006.28">18468 4524 0,'0'-26'0,"0"13"16,13-1-16,14-12 16,-1 26-16,80-26 15,-14 12 1,-39 1-16,14 13 0,38 27 16,-65-1-1,0 14-15,-14 26 16,-26 0-16,-13 66 15,13-39 1,-13-40-16,26-14 16,0 81-16,0-81 15,1-12-15,39 26 0,13-14 16,-40-25-16,14-14 16,13-14-16,0 1 15,-27 0-15,27-27 16,-40 14-1,14 12 1,-14 14-16,0 14 16,-13 52-1,13 26-15,1 28 16,-1-54-16,13 53 16,1-53-16,26 119 15,0-13 1,-40-119-16,-13 0 15,0 66-15,-13-66 16,-40 66-16,0-53 16,26-39-16,-26 25 15,14-25-15,-14 13 16,-13-1-16,39-12 16,14-27-1,0 0-15</inkml:trace>
  <inkml:trace contextRef="#ctx0" brushRef="#br0" timeOffset="13804.05">19301 5887 0,'27'13'0</inkml:trace>
  <inkml:trace contextRef="#ctx0" brushRef="#br0" timeOffset="15808.09">5146 7038 0,'304'26'16,"-237"-26"-16,422 0 15,-238 0-15,-118 0 0,-1 0 16,14 0-16,-14 0 0,13 14 16,-12-14-16,78 0 0,-12 13 15,-93-13-15,-14 0 16,1 13-16,-14-13 0,120 13 16,-147 1-16,-12-14 0,0 13 15,-14-13-15,1 13 16,-1-13-16,-13 0 0,-13 13 15,27-13-15,-14 13 16,0-13-16,1 0 16</inkml:trace>
  <inkml:trace contextRef="#ctx0" brushRef="#br0" timeOffset="16357.99">9604 6853 0,'133'-14'16,"-80"1"-16,13 13 0,92 0 15,-78 0-15,-1 0 0,14 0 16,198-13 0,-185 13-16,-53 0 15,0 0-15,-14 0 0,-12 0 0,-1 0 16,1 0-16,-14 0 0,0 0 16,27 13-16,-27-13 15,0-13-15,0 13 16,1 0-16</inkml:trace>
  <inkml:trace contextRef="#ctx0" brushRef="#br0" timeOffset="17059.88">9816 8506 0,'40'0'16,"-14"0"-1,1 0-15,-1 0 0,14-13 0,-14 13 16,14 0-16,13 13 0,39-13 16,-52 0-16,26 0 15,-39 0-15,12 0 0,-12 0 16,-1 0-16,54 14 16,-54-14-16,-13 0 0,1 0 15,12 0 1,-13 0-16,-13-14 15,14 14-15,-14-13 16,0 0-16,0 0 16</inkml:trace>
  <inkml:trace contextRef="#ctx0" brushRef="#br0" timeOffset="17334.84">10332 8202 0,'106'0'16,"-40"13"-1,-26 1-15,-1-1 0,-12 0 16,39 40-16,-40-40 0,1 14 16,26 92-1,-53-93-15,0 1 16,-13 25-16,-40 28 15,39-67-15,-12 14 16,13-14-16,-1 0 16,1-13-16,0 0 0,0-13 15</inkml:trace>
  <inkml:trace contextRef="#ctx0" brushRef="#br0" timeOffset="17802.45">10821 6548 0,'225'53'16,"-92"-13"0,-14 13-16,-80-27 15,14 14-15,-13 13 16,-40 13 0,-13-39-16,-14-1 0,-12 14 15,-1-14-15,-106 80 16,41-40-1,12 0-15,53-39 0,1-1 16,-1 1-16</inkml:trace>
  <inkml:trace contextRef="#ctx0" brushRef="#br0" timeOffset="18519">10821 10279 0,'27'13'16,"13"-13"0,26 0-16,0 0 15,-40 0-15,14 14 0,92-14 32,-118 0-32,12 0 0,-13 0 15,0 0-15,1 0 16</inkml:trace>
  <inkml:trace contextRef="#ctx0" brushRef="#br0" timeOffset="18748.74">11165 10147 0,'40'0'16,"26"39"-1,-53-25-15,14-1 0,-14 13 16,27 14-16,-27-13 0,0-1 16,-13 14-16,-13-14 0,13 14 15,-26-14-15,-14 40 0,27-39 16,-14-1-16,14-12 16,-13 12-16,12 0 0,1-26 15</inkml:trace>
  <inkml:trace contextRef="#ctx0" brushRef="#br0" timeOffset="25155.22">12951 10636 0,'0'53'16,"0"-26"-1,-13-14-15,26 13 0,-26 1 0,13 12 16,0 1-16,0-13 0,0-1 0,0 1 16,-13 52-1,13-66-15,0 0 0,0 14 0,0-14 16,0 13-16,-13-12 15,26-54 17,-13 14-32,0 12 0,26-144 15,-12 105-15,-14 13 16,13 0-16,0 1 0,27-67 16,-27 79-1,0 14-15,0-13 0,1 12 16,-1 14-16,13 0 0,-12 14 15,-1-1-15,0 0 0,0 14 16,27 39-16,-14 0 16,-26-26-16,14-14 0,-14 14 15,13-14-15,-13 1 0,0-1 0,0-13 16,0 14-16,13-14 0,-13 0 16,0 14-16,0-14 0,0 0 15,0 0-15,0 1 16</inkml:trace>
  <inkml:trace contextRef="#ctx0" brushRef="#br0" timeOffset="25373.82">12885 10941 0,'-13'-14'15,"39"14"1,14 0-16,-27-13 16,14 13-16,-1 0 0,1-13 0,-1 13 15,1 0-15,-1-13 0,1 13 16,-1-14-16,14 14 0,-14-13 0,1 13 16,-1-13-16,1 13 0,12-13 15</inkml:trace>
  <inkml:trace contextRef="#ctx0" brushRef="#br0" timeOffset="25919.18">13533 10967 0,'-13'0'16,"0"13"0,0-26-1,0 0 1,13 0-16,-14-14 15,14 14 1,14-14-16,-14 14 16,0 0-16,0 0 15,26 26 1,-26 0 0,13-13-16,-13 13 0,13 1 15,1-1 1,-1-13-16,0 0 0,0 13 15,14-13-15,-14-13 16,0 13-16,0-13 16,-13-1-16,14-12 15,-14-1-15,13 1 16,-13-14-16,-13 27 16,13-13-16,0 12 0,0 1 15,0 0-15,0 0 16,13-1-1</inkml:trace>
  <inkml:trace contextRef="#ctx0" brushRef="#br0" timeOffset="26214.17">13745 10676 0,'0'66'15,"27"13"1,-14-65-16,0-14 0,13 13 16,-12-13-16,-1 0 0,0 0 15,14 0-15,-1 0 16,-13-13-16,1-1 0,-1 1 16,-26 0-16,13 0 15,0 0-15,-14-1 0,1 1 0,-27-13 16,14 12-16,13 1 15,-1 0-15,1 13 16,0 0-16,0 0 16</inkml:trace>
  <inkml:trace contextRef="#ctx0" brushRef="#br0" timeOffset="26581.22">14063 10623 0,'13'40'16,"-13"-1"-16,13-25 15,-13 12-15,27 14 16,-14-27-16,-13 0 0,13 0 16,13 1-1,-12-14 1,-1-14-16,0 1 16,-13 0-16,13-27 15,-13 27-15,0 0 16,0 0-16,0-1 0,14 1 15,-14-13 1,0 12 15</inkml:trace>
  <inkml:trace contextRef="#ctx0" brushRef="#br0" timeOffset="26957.1">14407 10583 0,'0'14'0,"0"-1"16,0 13-1,0-13-15,-14 14 0,14-14 0,0 14 16,0-14-16,-13 0 16,13 27-1,0-27-15,13-39 31,-13 12-15,14-12-16,-1-14 16,-13 27-16,13-14 0,0 14 0,0-13 0,1 13 15,-1-1 1,0 1-16,14 13 0,-14 0 16,0 13-16,-13 1 0,13-1 15,1 13 1,-14 1-16,13-14 0,-13 0 15,0 14-15,0-14 16,0 0 0</inkml:trace>
  <inkml:trace contextRef="#ctx0" brushRef="#br0" timeOffset="27127.86">14433 10702 0,'-26'0'15,"52"0"-15,-52-13 16,39 13 0,40-13-1,0 0 1,52-1 0,-91 1-1,12 13-15,1-13 0</inkml:trace>
  <inkml:trace contextRef="#ctx0" brushRef="#br0" timeOffset="27385.88">15068 10557 0,'26'0'16,"14"0"-1,-27 0 1,14 13-16,-14-13 16,0 0-16</inkml:trace>
  <inkml:trace contextRef="#ctx0" brushRef="#br0" timeOffset="27632.09">15121 10438 0,'40'13'15,"-27"0"-15,40 40 16,-40-40-16,13 27 15,-26-27 1,0 53-16,-13-13 16,-26 0-1,25-39-15,-25 12 16,12 0 0,14-12-16,0-14 0,-1-14 15</inkml:trace>
  <inkml:trace contextRef="#ctx0" brushRef="#br0" timeOffset="28268.75">15743 10530 0,'106'-13'31,"-80"26"-31,-26 14 15,-26 13 1,-1-1 0,1 1-16,12-27 15,-12 14-15,-1-1 16,27-13 0,14 1-16,-1-14 15,0 0-15,14 0 16,92-40-1,-93 27-15,1 13 0,12-14 16,-25 14-16,12-13 0,0 13 16,-12 0-1,-1 0-15,0 13 16,0-13-16,-13 14 0,14-14 16,25 0-1,-26 0-15,1 0 0,12 0 16,-13-14-16,1 1 15,-1 13-15,-13-26 16,-13-1-16,-1 14 16,-12 0-1,-14 0-15,27 13 16,-27-14-16,27 14 0,0 0 16,0 0-16,13 14 15</inkml:trace>
  <inkml:trace contextRef="#ctx0" brushRef="#br0" timeOffset="28940.54">16536 10530 0,'27'40'31,"-14"-13"-15,-13-1-1,13-26-15,-13 13 16,27-26-1,-14 13 1,-13-13-16,13 13 16,1 0-16,12-13 0,0 13 15,1-14-15,-14 14 16,14 0-16,-14 0 16,0 14-16,0-14 15,1 0 1,-1 0-16,0 0 0,0 0 31,0 0-15,1-14 15,-1 14-15,13 0-1,-12 0-15,12 0 16,-13 0-16,0 0 15,27 0 1,-13 14-16,-1-14 16</inkml:trace>
  <inkml:trace contextRef="#ctx0" brushRef="#br0" timeOffset="29416.25">17264 10544 0,'-53'-14'16,"-13"41"-1,53-14 1,26 0 0,13-13 15,-12-13-31,-1 13 0,0 0 15,0-13-15,1 13 16,-1 0-16,-13-13 16,13 13-16,0 0 15,1 13-15,-1-13 16,0 0 0,0 13-16,-13 0 15,13-13 1,-13 14-1,14-1 1,-1-26 15,-13-1-31,13 14 0,-13-13 16,13 13-16,-13-13 16,14 13-16,-14-13 0,13-1 15,-13 1-15,13 0 16,0 0-16,0 0 15,-13-1-15,14 14 0</inkml:trace>
  <inkml:trace contextRef="#ctx0" brushRef="#br0" timeOffset="29629.91">17568 10306 0,'0'-14'15,"0"41"1,0-14-1,-13 27 1,13-14-16,-13 1 16,0-14-16,-1 27 0,1-14 15,13-13-15,0 0 0,-13 1 16,13-1 0,0 0-16,13-13 0,53-264 0,-119 528 15</inkml:trace>
  <inkml:trace contextRef="#ctx0" brushRef="#br0" timeOffset="30000.43">17780 10411 0,'-79'0'16,"52"14"-16,14-1 15,0-13-15,-14 26 0,14-12 16,13-1-1,-13-13-15,26 13 16,0 0-16,14-13 16,-14 13-16,13-26 15,67-93-15,-159 212 16,119-119 0,-40 13-16,13 0 15,-12 13 1,-1-13-16,0 13 15,-13 1-15,13-14 16,-13 26 0,0-13-1,-13 1-15,13-1 16,-13-13 0,0 13-16,-1 0 15</inkml:trace>
  <inkml:trace contextRef="#ctx0" brushRef="#br0" timeOffset="30401.82">16087 11152 0,'211'-40'16,"-145"27"0,226-26-16,-213 25 0,66 1 15,-78 0-15,52 0 16,39-14 0,-144 27-16,-1 0 15,0 0-15,0 0 0,-39 13 16,-1-13-1</inkml:trace>
  <inkml:trace contextRef="#ctx0" brushRef="#br0" timeOffset="30606.16">16126 11192 0,'-13'13'0,"26"-26"15,1 39 1,-1-26-16,26-13 15,41 13-15,92-13 16,-119 0-16,119-1 16,-119 1-16,79 0 15,-39 26 1,-80-13-16</inkml:trace>
  <inkml:trace contextRef="#ctx0" brushRef="#br0" timeOffset="31020.3">16338 11708 0,'13'0'16,"-26"53"15,13-40-31,0 13 16,-13-12-16,13 12 0,-13 40 15,13-39 1,-14 12-16,14-25 16,0-1-16,0 0 0,0 14 15,-13-14 1</inkml:trace>
  <inkml:trace contextRef="#ctx0" brushRef="#br0" timeOffset="31296.85">16192 11972 0,'-26'14'16,"13"-1"-16,13 0 15,0 14-15,0-14 16,0 0 0,13 0-16,0 0 0,0-13 0,14 14 15,-1-14-15,14 0 16,-27-14 0,27 14-16,-27-13 0,0 13 0,1-13 15,25 0 1,-25 13-16,25-13 15,-12 13 1</inkml:trace>
  <inkml:trace contextRef="#ctx0" brushRef="#br0" timeOffset="32027.29">16206 12290 0,'0'-13'0,"26"13"16,-13 0-16,14 0 15,-14 13 1,-13 0-16,0 0 16,0 1-1,-13-1-15,13 0 0,0 0 16,-13-13-1,26 13-15,0-13 0,0 0 16,1 14-16,-1-14 16,0 0-16,0 0 0,-13 13 0,13-13 15,1 13-15,-14 14 16,-14-27 0,14 13-16,-13-13 0,0 13 15,-13 0-15,12-13 16,28-26 15,-1 13-31,0-1 16,0 1-16,0 0 0,1 13 15,-14-13-15,13 13 16,0 13 0,0 0-1,-13 0 1,14-13-16,-1 0 15,13 0-15,-12 0 0,-1 0 16,0 0-16,0-13 16,0-13-1,-26 12 1,13 1-16,0 0 16,0 0-1,13 13 1</inkml:trace>
  <inkml:trace contextRef="#ctx0" brushRef="#br0" timeOffset="32755.2">16814 12237 0,'-26'13'15,"26"0"1,0 14-16,0-1 16,0 14-1,0-27-15,0 27 0,-13-27 16,13 0-16,-14 1 0,1 12 15,0-13-15,0 1 16,-1-14 0,1-14-1,26 1-15,-13 0 16,14 0-16,-1 13 16,0-14-16,-13 1 0,53-27 15,-40 40-15,14-26 16,-14 26-1,0-13-15,0 26 47,-26 0-47,26 0 16,1 1 0,12-14 15,-13-14-31,1 14 15,-1 0-15,0 0 16,0 0 0,14 14 15,-14-1-31,0-13 16,-13 13-16</inkml:trace>
  <inkml:trace contextRef="#ctx0" brushRef="#br0" timeOffset="33239.72">16338 12634 0,'-26'13'16,"52"0"-16,27 1 15,0-14-15,0-14 16,158 1-1,41-13-15,-80-1 16,-13 1-16,-80 12 16,66-12-16,-39 0 15,-66 12-15,0 1 0,26-27 16,-53 14 0,0 13-16,0-40 15,-13 26-15,-13-12 0,0-1 0,-93-145 16,66 132-1,-132-53-15,106 80 16,-291-41 0,93 81-16,-1 25 15,146-12-15,-119 39 16,132-26-16,0 13 0,-66 39 16,27 67-1,79-40-15,66-13 16,13-53-16,132 119 15,-65-119-15,105 26 16,-79-53-16,-1 1 0,67-1 16,146-26-1,-199-26-15,-66 13 16,26-14 0</inkml:trace>
  <inkml:trace contextRef="#ctx0" brushRef="#br0" timeOffset="35239.55">13203 11126 0,'132'0'16,"-53"-14"-1,795-38 1,-782 52 0,133-14-16,-119 14 15,-66 0 1,-40 14-16</inkml:trace>
  <inkml:trace contextRef="#ctx0" brushRef="#br0" timeOffset="35487.36">13322 11271 0,'-27'13'0,"80"-26"16,27 13 0,-27 0-16,-1-13 15,81 13-15,-1-13 16,-66 13-16,40-13 15,-13 13-15,-27-14 16,-40 14-16,14 0 0,-27 0 16,0 0-16,14 0 15,-14 0-15,-952 53 0,1891-106 0,-938 53 16,12 0 0</inkml:trace>
  <inkml:trace contextRef="#ctx0" brushRef="#br0" timeOffset="36656.21">15544 10186 0,'199'-39'16,"-120"26"-16,583-93 16,-530 92-16,146 1 15,-14 0-15,-118 13 16,132 13-16,-14 14 0,-26-1 16,-132 1-16,-13-1 15,158 93 1,-172-53-16,-26 53 15,-39-92 1,-28-14-16,14 27 16,-13-14-16,-27 80 15,1-40-15,-14-13 16,40-26-16,-14-1 0,-26 40 16,-79 53-1,92-66 1,14-13-16,-1-27 15,14 0-15,-13 14 0,-27 12 16,0-25 0,40-1-16,-27 0 0,0-13 15,-13 13-15,-92 1 16,79-14-16,-186 26 16,160-26-16,-94 0 15,94 0-15,-120 13 0,14-13 16,13-13-1,79 13-15,13 0 0,-92-13 16,106 13-16,-93-13 16,26-14-16,14 1 15,79 12-15,-13 1 0,13 0 16,-80-40-16,-25-66 31,144 93-31,-25-27 16,26 13-16,13-119 15,39-13 1,-26 106-16,67-106 16,-40 119-16,-14 0 15,14-13-15,39-27 0,-39 41 16,39-15-16,-13 28 16,40-1-1,-13 27-15,-67 0 16,40 26-1,-26 0-15,-14-13 0</inkml:trace>
  <inkml:trace contextRef="#ctx0" brushRef="#br0" timeOffset="38951.53">18005 12369 0,'119'0'15,"-66"-13"1,-13 0 0,-27 13-16</inkml:trace>
  <inkml:trace contextRef="#ctx0" brushRef="#br0" timeOffset="39160.76">18574 12211 0,'13'13'0,"-13"0"16,13-13-16,-13 26 16,13-12-16,-13 12 15,27 14 1,-14-27-16,0 0 15</inkml:trace>
  <inkml:trace contextRef="#ctx0" brushRef="#br0" timeOffset="39836.43">19090 12211 0,'0'26'31,"0"-13"-15,0 0-1,0 1 1,13-14-1,13 0 1,-12 0-16,25 0 31,1 0-15,-14 13 0,-12-13-16,-1 0 0,27 13 31,-27-13-31,0 13 15,0-13 1,1-13 0,-1 13-16,13 0 15,-13-13-15,1 13 16,-1 0 0,0 0-16,0 0 15,1 0 1,-14 13-16,13-13 15,-13 13-15,13-13 32,0-13-17</inkml:trace>
  <inkml:trace contextRef="#ctx0" brushRef="#br0" timeOffset="39945.08">19553 12197 0,'-14'-13'16</inkml:trace>
  <inkml:trace contextRef="#ctx0" brushRef="#br0" timeOffset="40133.51">19606 12290 0,'13'40'16,"13"-27"15,-12-13-31,12 0 16,0 0 0,-131-53-16,237 106 15,-119-40-15</inkml:trace>
  <inkml:trace contextRef="#ctx0" brushRef="#br0" timeOffset="40636.15">18878 12621 0,'476'-40'15,"-410"27"-15,120-27 16,-133 27-16,52-27 16,-12-13-16,-27 0 15,-26 27-15,26-54 16,-40 41-16,41-94 15,-41 81-15,0-54 16,-12 66-16,-28 0 0,-12-52 16,0 52-16,-54-39 15,-211 13 1,199 52-16,-1 28 16,-26-1-16,-119 26 0,-172 120 15,238-66 1,92-40-16,-39 26 15,80-26-15,-54 93 16,93-54-16,13-52 16,40 52-16,-13-52 15,92 53-15,119-27 16,-105-53 0,-14-13-16,14-13 15</inkml:trace>
  <inkml:trace contextRef="#ctx0" brushRef="#br0" timeOffset="41100.49">20796 12343 0,'40'0'47,"-27"0"-47,0 0 0,1 0 15,-1 0-15,13 13 0,-12-13 16,12 0 0,0 0-16,-12 0 15,-1 0-15,0-13 16</inkml:trace>
  <inkml:trace contextRef="#ctx0" brushRef="#br0" timeOffset="41352.01">20995 12250 0,'39'27'31,"-25"-14"-31,12 27 16,-26-27-16,13 53 15,-13-53-15,-13 53 32,13-52-32,-13 12 0,26 0 31</inkml:trace>
  <inkml:trace contextRef="#ctx0" brushRef="#br0" timeOffset="41979.1">21749 12131 0,'0'40'16,"0"-27"-16,-13 0 16,13 14-16,0-14 0,-14 27 15,-12 26 1,26-53-16,-13 27 16,-1-27-1,1 13-15,13-12 16,0-1-1,-13 0 1,13 0 31,13-13-16,0 0-15,1 0-1,12 0-15,-13 0 16,14 0-16,12 0 16,-25-13-1,12 13-15,14-13 16</inkml:trace>
  <inkml:trace contextRef="#ctx0" brushRef="#br0" timeOffset="42167.92">21749 12369 0,'53'-13'16,"-40"13"-1,40 0 1,-172 13-16,264-26 0,-131 13 0,-1-13 15</inkml:trace>
  <inkml:trace contextRef="#ctx0" brushRef="#br0" timeOffset="42688.26">21788 12224 0,'-26'-27'16,"52"14"15,1 13-16,13 0-15,-1-13 16,14 13-16,13 0 16,-26 13-1,0-13-15,-27 0 16,0 13 0,0 1-16,-26-1 15,13 0-15,0 0 0,-13 27 16,0 0-1,-292-146-15,583 251 0,-317-92 16,-1 0 0,27-40-16,-1-13 15,1 27-15,0-27 16,0 0 0,0 0-16,13-13 15,0-14 1,13 1-16,0 12 31,13 1 0,-12 26-31,12-13 0,-13 14 16,14-14-16,26 26 16,-40-26-1,53 13 1,13-13-1,-65 0 1</inkml:trace>
  <inkml:trace contextRef="#ctx0" brushRef="#br0" timeOffset="43210.27">22450 12277 0,'-13'-14'16,"-1"14"-1,-65 67 32,79-54-47,13 66 31,1-79-31,105 0 32,-106 0-17,13 13 17,-13 1-32,27-14 31,-27 0-31,54-40 15,-28 13 1,-26 14 0,54-93-1,-54 93 1,-13 53 31,0-27-47,26 93 31,-26-93-31,0 14 16,0-14-1</inkml:trace>
  <inkml:trace contextRef="#ctx0" brushRef="#br0" timeOffset="43751.77">21564 12753 0,'383'26'16,"-317"-26"-1,252 14 1,-173-14-16,-79-14 16,1 14-16,184-39 15,-66-1 1,-92 0-16,-67 27 16,67-53-1,26-119 1,-79 92-1,-27 53-15,0-52 0,-13-1 16,-13 40-16,-93-132 16,53 145-16,-13 1 15,0 12-15,-80-26 0,-39 27 16,92 26-16,-264 40 16,238-14-16,-119 40 15,688 424-15,-1112-887 16,490 489-16,93-25 15,-66 105-15,118-120 16,1 15-16,26 12 0,26 53 16,1-105-1,65 65-15,-65-78 0,12-1 16,1 13-16,0-26 16,-1 13-16,28 1 0,-54-14 0,13 0 15,-13 0-15</inkml:trace>
  <inkml:trace contextRef="#ctx0" brushRef="#br0" timeOffset="44358.49">16140 13044 0,'330'0'15,"-224"0"1,397-26-1,-358 12-15,1 14 0,118-13 16,14 0 0,-159 0-16,-13 13 0,-13-14 0,-14 14 0,53-13 15,-39 13 1,-66 0-16,-14 0 0,0 0 0,0 0 16</inkml:trace>
  <inkml:trace contextRef="#ctx0" brushRef="#br0" timeOffset="44595.47">16788 13070 0,'436'-52'31,"-211"38"-31,-132 14 0,145-13 15,-119 13-15,-26 0 16,13 0-16,-1 0 0,-12 0 0,-14 13 16,146-13-16,-172 0 15,13 0-15,-13 0 0,-13 0 16</inkml:trace>
</inkml:ink>
</file>

<file path=ppt/ink/ink213.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24T07:05:37.245"/>
    </inkml:context>
    <inkml:brush xml:id="br0">
      <inkml:brushProperty name="width" value="0.05292" units="cm"/>
      <inkml:brushProperty name="height" value="0.05292" units="cm"/>
    </inkml:brush>
  </inkml:definitions>
  <inkml:trace contextRef="#ctx0" brushRef="#br0">2606 3956 0,'13'13'78,"1"-13"-62,12 0-1,14 0 1,-1 0 0,1 0-1,0 13 1,0-13 0,-14 0-1,0 0 16,-12 13-15,-41 14 15,1-1-15,13-26-16,-1 13 0,-12 1 16,-14 12-1,27-13-15,-27 14 16,-13 12-1,14-12 1,12-14 0,1 0-1,12 1 32,41-1-16,13-13-15,13 0 0,-40 0-16,79-13 15,-25 13 1,-28 0 0,1-14-1,-14 14 1,-12 0 15</inkml:trace>
  <inkml:trace contextRef="#ctx0" brushRef="#br0" timeOffset="764.99">2540 4154 0,'13'0'16,"0"0"-1,27 0 1,13 0 0,0-13-1,13 13 1,-13-13-1,-26 13 1,-1 0 0</inkml:trace>
  <inkml:trace contextRef="#ctx0" brushRef="#br0" timeOffset="12548.27">3492 4075 0,'14'0'15,"-1"0"-15,0 0 32,0-14-32,14 14 31,-14 0-31,0 0 0</inkml:trace>
  <inkml:trace contextRef="#ctx0" brushRef="#br0" timeOffset="12931.29">3413 4207 0,'27'0'15,"-14"0"-15,0 0 16,27 0 0,-1 0-1,-12 0 1,-1 0 0</inkml:trace>
  <inkml:trace contextRef="#ctx0" brushRef="#br0" timeOffset="14784.7">4683 3757 0,'-26'13'63,"26"1"-63,-27 25 16,14-26-16,-27 40 15,1 14 1,-1-15-1,13-25 1,14-14 0,0 0-1</inkml:trace>
  <inkml:trace contextRef="#ctx0" brushRef="#br0" timeOffset="15315.68">4458 3836 0,'0'14'32,"13"-1"-17,14 13 1,26 14-1,-27-13 1,14-1 0,-14 14-1,1-27 1,-14 0 15</inkml:trace>
  <inkml:trace contextRef="#ctx0" brushRef="#br0" timeOffset="16119.84">4379 3691 0,'13'13'15,"14"-13"1,12-13 0,27 13-1,-13 0 1,-13 0 15,-14-13-31,1 13 31,-14 0-15,0 0 0</inkml:trace>
  <inkml:trace contextRef="#ctx0" brushRef="#br0" timeOffset="17499.73">4789 3942 0,'40'-13'16,"-27"13"-1,13 0 1,1 0 0,-14 0-1,13 0 1,-12 0-1,-1 0 17</inkml:trace>
  <inkml:trace contextRef="#ctx0" brushRef="#br0" timeOffset="18448.8">5159 4101 0,'0'-26'47,"14"26"-32,-14-14 1,13-25 0,0 12-1,0-26 1,1 14 0,-14 12-1,13 1 1,-13 12-1,0 1 1,0 0 0,-13 26 31,13 0-32,-14 27-15,1 0 31,0 0-15,13 26 0,0-40-1,13 1 1,14-1 0,-14-13-1</inkml:trace>
  <inkml:trace contextRef="#ctx0" brushRef="#br0" timeOffset="18866.79">5411 3929 0,'0'-13'0,"0"0"31,0-1-31,0 1 16,0 0 0,0 0-1,-13 39 63,13-13-78,0 1 16,0 39 0,0-14-1,13 1 1,0 0 15,13-14-31,14-13 31,-13-13-15,-14 0-16</inkml:trace>
  <inkml:trace contextRef="#ctx0" brushRef="#br0" timeOffset="19748.72">5252 4114 0,'26'0'32,"-12"0"-17,12-13 1,-13 13-1,14 0 1</inkml:trace>
  <inkml:trace contextRef="#ctx0" brushRef="#br0" timeOffset="21148.6">5186 4088 0,'-27'13'31,"27"0"31,-13-13-46,13 14 0,-13-1-1,0 13 32,-1 1-31,1-1-1</inkml:trace>
  <inkml:trace contextRef="#ctx0" brushRef="#br0" timeOffset="21800.79">5345 4128 0,'13'-14'16,"0"14"0,0-13-1,1 0 1,12 13 0</inkml:trace>
  <inkml:trace contextRef="#ctx0" brushRef="#br0" timeOffset="23957.29">4180 4445 0,'27'0'31,"-14"0"-15,27 0 0,26-13-1,13 13 1,67-27-1,26 14 1,13 0 0,13 0-1,-65-1 1,-1 14 0,-26-13 15,-14 13-16,-12-13 1,-40 13 15,-14 0-31,0-13 16,1 13 0,-1 0-1,14-14 16,-27 14-15,1 0 0,-1 0-1,0 0 17,0 0-32,0 0 31,1 0-16,-1 0 17</inkml:trace>
  <inkml:trace contextRef="#ctx0" brushRef="#br0" timeOffset="26047.6">4445 4961 0,'-13'13'16,"0"-13"-1,-1 13 1,-12 1 0,13-14-1,-14 0 1,14-14-1,-14 1 1,14-13 0,13 12-1,13-12 1,-13 13 15,27 0-15,13-1-1,13 14 1,-14 0 0,27 0-1,-26 0 1,13-13 0,0 13-1,-13 0 1,-1 0-1,-12-13 1,-14 13 0,0 0-1</inkml:trace>
  <inkml:trace contextRef="#ctx0" brushRef="#br0" timeOffset="27381.97">5067 4657 0,'-13'26'16,"13"-13"-1,-27 27 1,1 26-1,-14 14 1,-26 39 0,0 0-1,13-40 1,26-26 0,1-13 15,13-14-16,13-13 1</inkml:trace>
  <inkml:trace contextRef="#ctx0" brushRef="#br0" timeOffset="28919.64">5001 5252 0,'26'-26'47,"-13"12"0,1 1-47,-1 0 0,0-14 15,0 14 1,0 0 0,1 13-1,-1 13 16,0 14-15,0-1 0,1-13-1,-1 1 1,0-14 15,0-14 0,-13-12-15,0-14 0,0 0-1,0 27 1,0 0-16,0-13 16,0 12-1,0 1 1,14 0 15,12 13-15,14-13-1,52 13 1,-26-14 0,1 1-1,-15 13 16,-38 0-15,12-13 0,-13 13-16,1 0 15</inkml:trace>
  <inkml:trace contextRef="#ctx0" brushRef="#br0" timeOffset="29681.67">5371 5133 0,'0'13'32,"-13"0"-1,13 14-15,0-14-1,-13 14 1,26-41 46,0 1-46,0 0 0,1 0-16,-1 13 0,0-14 15,27 1 16,-14 26-15,-13 1 0,1-14-1,-1 13 1,-13 13 0,0-12-1</inkml:trace>
  <inkml:trace contextRef="#ctx0" brushRef="#br0" timeOffset="32363.69">9036 3863 0,'13'13'63,"0"-13"-48,0 13-15,14-13 16,26 0-1,0 0 1,-40 0 0,13 0-1,-26 14 1,-26 12 15,-14 1 0,40-14-31,-53 26 16,0 14 0,-13 14-1,26-28 1,27-26-16,-27 14 16,27-1-1,26-12 16,27-1-15,0-13 0,39 0-1,14 0 17,-80 0-17,40-13-15,-40 13 0,14 0 31</inkml:trace>
  <inkml:trace contextRef="#ctx0" brushRef="#br0" timeOffset="32938.68">8864 4101 0,'0'0'0,"39"-13"63,-26 13-63,27 0 15,66-13 1,-13 13 15,-80-14-31,53 14 0,-53 0 16,27 0 0</inkml:trace>
  <inkml:trace contextRef="#ctx0" brushRef="#br0" timeOffset="34282.36">9657 3982 0,'27'0'15,"12"-13"16,-12 13-15,-1 0 0,-12 0-1</inkml:trace>
  <inkml:trace contextRef="#ctx0" brushRef="#br0" timeOffset="34481.36">9671 4101 0,'26'0'16,"0"0"-1,14-13 1,0 13-1</inkml:trace>
  <inkml:trace contextRef="#ctx0" brushRef="#br0" timeOffset="35866.65">10901 3651 0,'-27'13'0,"1"1"16,-14 25 0,27-25-1,-93 105 1,93-106 0,-66 93-1,39-67 1,27-12-1,-1-27 1</inkml:trace>
  <inkml:trace contextRef="#ctx0" brushRef="#br0" timeOffset="36164.65">10597 3757 0,'26'27'15,"-13"-27"-15,0 13 0,54 53 31,-14-13-15,-14 0 0,-12-27-1,-1-13 1</inkml:trace>
  <inkml:trace contextRef="#ctx0" brushRef="#br0" timeOffset="36700.98">10544 3559 0,'39'13'0,"-25"-13"15,25-13 1,54 13 0,-27 0-1,0 0 1,-26-14 0,-14 14-1</inkml:trace>
  <inkml:trace contextRef="#ctx0" brushRef="#br0" timeOffset="37166.14">11060 3876 0,'52'0'16,"-25"0"-1,13-13 1,-1 13 0,-25 0-1,12 0 1</inkml:trace>
  <inkml:trace contextRef="#ctx0" brushRef="#br0" timeOffset="38585.14">11430 4061 0,'13'-26'0,"0"13"15,-13-1-15,27-52 16,-1 13 0,1-13-1,-14 27 1,0 12 0,-13 1-1,14 12 16,-28 41 16,1 13-31,13-14 0,-26 27-1,26 0 1,13-27-1,0 1 1,14-27 0,-14 0-1,53-13 1,-40-14 0,1 1 15,-1-27-16,-12 13 1,-1 14 0,0-1-1,-13 14 1,0 39 31,-13-26-32,13 53 1,13-26 0,0-1-1,0 1 1,27-14 0,-27 0-1,14-13 1</inkml:trace>
  <inkml:trace contextRef="#ctx0" brushRef="#br0" timeOffset="39439.14">10438 4339 0,'26'13'16,"1"-13"-16,-14-13 0,119 13 16,106-13 15,-158 13-31,65-13 0,-65 13 0,237-14 16,-118 14-1,12-13 16,-78 13-15,-54 0 0,-66 0-16,0 0 15,14-13 1</inkml:trace>
  <inkml:trace contextRef="#ctx0" brushRef="#br0" timeOffset="41081.21">10689 4736 0,'-13'0'15,"0"0"1,-14 13-1,1-13 1,13-13 0,-1 0-1,14 0 1,14-14 0,-1 14-1,26 0 1,14 13-1,14 0 1,-15 0 0,-12 0-1,-27 0-15,14 0 32,-1 0-32,1 0 31,-14 0-31</inkml:trace>
  <inkml:trace contextRef="#ctx0" brushRef="#br0" timeOffset="41665.15">11351 4538 0,'-40'39'31,"40"-25"-31,-13-1 0,-53 66 16,-14 27 0,14-27-1,0 27 16,39-66-15,1-14 0,26-12-1</inkml:trace>
  <inkml:trace contextRef="#ctx0" brushRef="#br0" timeOffset="43784.77">11324 4961 0,'13'-13'31,"1"13"-31,-1-14 47,13 14-16,-12 14 0,-1-1-15,-13 0 0,13 0-1,0-13 1,0-13 15,-13-27-15,0 1-1,0-1 1,0 14 0,0 12-1,0 1 1,0 0-1,14 13 1,25-13 0,28 13-1,-1 0 1,53-14 0,-13 1-1,-54 13 1,-12-13-1,-13 13 1</inkml:trace>
  <inkml:trace contextRef="#ctx0" brushRef="#br0" timeOffset="44415.86">11655 4895 0,'0'13'15,"0"0"1,-13 0 0,13 14-1,-14-27 1,14 13-1,27-26 32,-27 0-47,26-14 16,14 1 0,-13 13 15,12 13-16,-26 26 1,14-13 0,-27 0-1,26 1 1,-26-1 0</inkml:trace>
  <inkml:trace contextRef="#ctx0" brushRef="#br0" timeOffset="46364.97">12779 4048 0,'27'-13'31,"-14"13"-15,27 0-16,-1 0 31,14 13-16,-26 0 1</inkml:trace>
  <inkml:trace contextRef="#ctx0" brushRef="#br0" timeOffset="46548.97">12779 4180 0,'27'0'16,"13"0"0,12-13-1,-25 13 1,-14 0 0</inkml:trace>
  <inkml:trace contextRef="#ctx0" brushRef="#br0" timeOffset="47166">13798 3691 0,'-13'26'32,"13"-12"-32,-27 65 31,14-13-16,0-39-15,0 52 16,-1-39 0,1-1-1,13-25 1</inkml:trace>
  <inkml:trace contextRef="#ctx0" brushRef="#br0" timeOffset="47615.97">14010 3797 0,'-14'13'32,"-12"13"-17,13 1 1,0 13 0,26 13-1,0-40 1,27 0-1,26-26 1,-40-14 0,-12-12-1,-14-1 1,-14 13 0,-12 1 15,-14 13-16,27 13 1</inkml:trace>
  <inkml:trace contextRef="#ctx0" brushRef="#br0" timeOffset="48265.24">14526 3810 0,'26'-13'0,"-13"13"16,1 0-1,-54 13 17,-13 0-17,0 14 1,13-14 0,27 13-1,26-12 16,1-1-15,25 13 0,-12-12-1,-14-1 1,-26 13 0,-14 1-1,-26-1 1,27-13-1,13-13 1,-1 0 0</inkml:trace>
  <inkml:trace contextRef="#ctx0" brushRef="#br0" timeOffset="48585.82">14790 3969 0,'27'-13'16,"-14"13"0,0-14-16,27 14 15,-1 0 1,-12 0 0,-14 0-1</inkml:trace>
  <inkml:trace contextRef="#ctx0" brushRef="#br0" timeOffset="49266">15319 3731 0,'-13'26'31,"13"14"-15,-13-27-16,-14 53 15,14-26 1,0 13-1,0-27 1,13-13 0</inkml:trace>
  <inkml:trace contextRef="#ctx0" brushRef="#br0" timeOffset="49684.68">15544 3770 0,'-26'14'31,"26"-1"-31,-13 13 15,13 14 1,13-14 0,13-12-1,27-1 1,-13-26 15,-14-14-15,-26 14-16,14-27 15,-28 1 1,1 25 0,-40-12-1,14 26 1,12 13 0,14 0-1</inkml:trace>
  <inkml:trace contextRef="#ctx0" brushRef="#br0" timeOffset="50016.71">15849 3744 0,'0'13'15,"-14"0"1,28 27-1,12-14 1,-13-26 0,0 14-16,40-14 15,-26-27 1,-14 1 0,-26-27-1,-14 13 1,-26 14-1,-13 26 1,-40 53 0,54-27-1</inkml:trace>
  <inkml:trace contextRef="#ctx0" brushRef="#br0" timeOffset="50681.71">13772 4326 0,'26'13'16,"0"-26"-16,120 13 15,66-13 1,145-1 0,159 1 15,-199 13-16,14 0 1,-133 0 0,-118 13-1,-40-13 1,-27 0 0</inkml:trace>
  <inkml:trace contextRef="#ctx0" brushRef="#br0" timeOffset="52084.25">14116 4643 0,'-27'14'32,"27"-1"-32,-13 40 15,-14-14 1,14 14 0,0-26-1,13-14 16</inkml:trace>
  <inkml:trace contextRef="#ctx0" brushRef="#br0" timeOffset="52648.34">14433 4670 0,'13'0'16,"-13"-13"-16,-13 13 31,-40 0-15,13 13 0,27 0-1,-13 0 1,52 14 15,-13-27-31,14 13 16,-1 0-1,-39 27 17,0-40-32,-40 26 31,27-12-16,-14-1 1,27-13 0,-1 13-1</inkml:trace>
  <inkml:trace contextRef="#ctx0" brushRef="#br0" timeOffset="53083.47">14909 4591 0,'-26'13'16,"13"0"-16,-1 0 15,-65 80 1,-53 52-1,-1 14 1,28-40 0,38-39-1,41-54 1,13 0 0</inkml:trace>
  <inkml:trace contextRef="#ctx0" brushRef="#br0" timeOffset="54217.32">14764 5106 0,'26'-13'31,"-13"0"-31,1 0 15,-1 13 1,13-13 0,-26-1-1,14 14-15,-1 14 47,-13-1-47,13 13 31,0 14-15,-13-27 0,13 0-1,1-26 32,-1 0-47,-13 0 0,13-27 16,-13 0-1,13-13 17,-13 40-32,14 0 15,12 0 1,14-1 0,52 1-1,54 0 16,-120 13-31,27-13 16,40 0 0,-40 13-1,0 0 1,-40-14 0,0 14-1</inkml:trace>
  <inkml:trace contextRef="#ctx0" brushRef="#br0" timeOffset="55864.13">15187 5080 0,'40'0'47,"-27"0"-32,13 0 1,-12 0 0,12 0-1,-13 13 1,-26 27 15,-13-14-15,12 27-1,1-53-15,0 40 32,0-14-32,13-12 15,0-1 16</inkml:trace>
  <inkml:trace contextRef="#ctx0" brushRef="#br0" timeOffset="56065.33">15121 5252 0,'26'0'31,"-12"0"-31,-1-13 0,40 13 32,-27 0-32,1 0 15</inkml:trace>
  <inkml:trace contextRef="#ctx0" brushRef="#br0" timeOffset="56649.33">15637 5146 0,'13'-13'16,"-39"26"31,-14-13-32,14 13 1,-1 1-1,14-1 1,26 0 15,-13 0-15,27 1-16,-14-1 0,0 13 16,-13-13-1,-26 27 16,-14-27-15,0 14 0,0-14-1</inkml:trace>
  <inkml:trace contextRef="#ctx0" brushRef="#br0" timeOffset="57765.33">16550 4180 0,'13'0'0,"0"0"16,40 0-1,13 0 1,-26 14 0</inkml:trace>
  <inkml:trace contextRef="#ctx0" brushRef="#br0" timeOffset="57949.33">16510 4313 0,'26'0'16,"-12"0"-16,-1 0 16,53 0-1,-13 0 1</inkml:trace>
  <inkml:trace contextRef="#ctx0" brushRef="#br0" timeOffset="59100.34">17727 3876 0,'40'-26'31,"-27"26"-31,0 0 0,14 0 16,39 13 0,-53-13-16,27 40 15,-53 13 1,-67 26 0,-12-13-1,12-26 1,27-14-1,40-13 17,79-13-17,14 0 17,-28 0-32,-38 0 0,65-13 15,-26 13 16,-13-13-15</inkml:trace>
  <inkml:trace contextRef="#ctx0" brushRef="#br0" timeOffset="59283.36">18190 4075 0</inkml:trace>
  <inkml:trace contextRef="#ctx0" brushRef="#br0" timeOffset="72048.82">18494 3863 0,'-39'0'16,"39"13"-16,-14-13 0,-12 13 15,0 14 1,12-14 0,1 0-1,26 14 1,1-14 15,25 0-15,-12 14-1,26-1 1,-27 1 0,-26-14-16,13 13 15,-13 1 1,-26-1-1,-1-13 1,-12-13 0,12-13-1,14 0 1,13-13 0,0-1-1,26 1 16,1-1-15,-1 1 0,27-14-1,-39 27 1,12-14 0,-26 1-1,-13-1 1,0 14-1,-14-13 1,1 26 0,12 0-1,1 13 1</inkml:trace>
  <inkml:trace contextRef="#ctx0" brushRef="#br0" timeOffset="72732.64">18891 3863 0,'0'0'0,"0"-13"0,-13 13 15,0-14 1,-14 14-1,-12 14 1,-1-1 0,0 27-1,27-14 1,0-13 0,26 1-1,27-14 16,-1-27-15,1 14 0,-13 13-1,-14 0 1,-13 40 0,0 12-1,-13 15 1,-1-14-1,14-27 1</inkml:trace>
  <inkml:trace contextRef="#ctx0" brushRef="#br0" timeOffset="73234.89">19143 4035 0,'-40'40'0,"13"-27"16,-39 40-1,40-27-15,-67 54 16,-39 25 0,39-12-1,40-53 1,40-14-1</inkml:trace>
  <inkml:trace contextRef="#ctx0" brushRef="#br0" timeOffset="73482">19275 4207 0,'-53'13'15,"13"0"1,1 14-16,-67 39 16,-66 53-1,79-26 1,-13-1-1,93-79-15,0 1 16</inkml:trace>
</inkml:ink>
</file>

<file path=ppt/ink/ink21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1-26T09:22:46.377"/>
    </inkml:context>
    <inkml:brush xml:id="br0">
      <inkml:brushProperty name="width" value="0.05292" units="cm"/>
      <inkml:brushProperty name="height" value="0.05292" units="cm"/>
      <inkml:brushProperty name="color" value="#0070C0"/>
    </inkml:brush>
  </inkml:definitions>
  <inkml:trace contextRef="#ctx0" brushRef="#br0">1759 10941 0,'0'13'125,"0"0"-109,0 13-16,-13 27 15,13 13 1,-13 67 15,0-27-15,13-27 0,13 0-1,0-39 1,0 0-1,14-27 1,-14 0 0,14-13-1,-14-13 1</inkml:trace>
  <inkml:trace contextRef="#ctx0" brushRef="#br0" timeOffset="649.02">1535 11284 0,'26'-13'63,"1"13"-63,12 0 15,1-13 1,0 13-1,-14 0 17,0-13-17,1 13 17</inkml:trace>
  <inkml:trace contextRef="#ctx0" brushRef="#br0" timeOffset="1736.25">2222 11298 0,'0'-14'0,"14"14"32,12 0-17,14 0 1,0-13-1,-1 26 1,-26-13 0</inkml:trace>
  <inkml:trace contextRef="#ctx0" brushRef="#br0" timeOffset="1982.06">2275 11430 0,'0'13'16,"27"-26"15,-1 13 0,14 0-15,-27-13-1,14 13 1,-1-13 0</inkml:trace>
  <inkml:trace contextRef="#ctx0" brushRef="#br0" timeOffset="2732.07">3360 11020 0,'-26'13'31,"-1"14"-15,14-14 0,-27 40-1,1 0 1,39-40-16,-27 13 16,14 1-1,-13-1 1,12-13-1,1-13 1</inkml:trace>
  <inkml:trace contextRef="#ctx0" brushRef="#br0" timeOffset="3116.13">3109 11060 0,'13'26'31,"0"-13"-15,14 14 0,12 12-1,-12-12 1,-1-1-1,1 1 1,-1-14 15,-12-13-15</inkml:trace>
  <inkml:trace contextRef="#ctx0" brushRef="#br0" timeOffset="3782.4">3003 10927 0,'26'-13'0,"14"13"15,-13-13 1,12 13 0,41-13-1,12 13 1,-65-14-16,12 14 15,14 0 1,-26-13 0,-14 13-1,13 0 1</inkml:trace>
  <inkml:trace contextRef="#ctx0" brushRef="#br0" timeOffset="4385.22">3532 11192 0,'27'-13'0,"-1"13"16,1 0 0,-1 0-16,14-14 15,-1 14 1,-12 0-1,-14 0 1,0 0 15,1 0-31,-1 0 32</inkml:trace>
  <inkml:trace contextRef="#ctx0" brushRef="#br0" timeOffset="5685.08">4035 11324 0,'26'-26'31,"-26"12"-15,27-25-1,-14-27 1,0-1 0,1 28-1,-1 12 1,-13 1 0,0 52 30,-13-26-46,13 53 16,0 0 15,0-13-15,13 0 0,0-40-1,13 0 1,14-14-1,-13-12 1,12-27 0,-12 0-1,-14 13 1,0 14 0,-13 13-1,0 39 16,0 1-15,0-14 0,13 53-1,1-26 1,-1-1 0,27-12-1,-14-27 1,-13 13-1</inkml:trace>
  <inkml:trace contextRef="#ctx0" brushRef="#br0" timeOffset="6699.91">2686 11721 0,'39'0'0,"-26"0"15,54 0 1,38 0-1,54-13 1,-13 0 0,-93 13-16,185-40 15,-40 13 1,80 1 0,-66 13-1,-54 0 1,41-1-1,-159 1 1,52 13 0,1-13-1,-40 13 1,-40 0 0,0 0-1,0 0 1</inkml:trace>
  <inkml:trace contextRef="#ctx0" brushRef="#br0" timeOffset="8566.31">3307 11906 0,'-26'0'47,"-1"13"-32,1 1 1,-27-1 0,27 13-1,-1-12 1,14-1 15,39 0 0,-12 0-15,12-13 0,-13 14-16,14-1 15,-14 0 1,-13 0-1,0 14 1,-27-14 0,-12 13-1,26-12-15,-27-1 16,-13-13 0,13 13-1,1-13 1</inkml:trace>
  <inkml:trace contextRef="#ctx0" brushRef="#br0" timeOffset="9682.51">3612 11774 0,'-14'26'16,"14"-12"-1,-39 52 1,-28 40 0,15-1-1,-41 41 1,40-53-1,0 12 1,27-65 15,12 13-15,-12-27 0,26-12-1</inkml:trace>
  <inkml:trace contextRef="#ctx0" brushRef="#br0" timeOffset="11115.26">3492 12462 0,'14'-27'46,"-1"14"-30,0-13 0,-13 12-1,13-12 1,1 13 0,-14 0-1,13-1 16,0 41-15,0-1 0,1-13-1,-1 1 1,0-14 0,-13 13-1,26-40 1,-12-12 15,-14-1-31,0 0 31,-14 1-15,14 12 0,0 14-1,14-13 1,-1 12-1,27 14 1,39-13 0,-66 13-16,93-13 15,26 0 1,-52-1 0,-1 1-1,-39 0 1,-14 13-1,-13 0 17</inkml:trace>
  <inkml:trace contextRef="#ctx0" brushRef="#br0" timeOffset="11849.26">3903 12290 0,'0'26'46,"0"-12"-30,0 12-16,0-13 31,0 14 1,13-41-1,0 14-31,-13-13 15,27-13 1,-14 26 0,0-13-1,0 26 1,0-13 0,1 13-16,-1 13 15,-13-12 1,0 25-1,0-25 1,13-14 0</inkml:trace>
  <inkml:trace contextRef="#ctx0" brushRef="#br0" timeOffset="13699.77">8784 10954 0,'13'-13'0,"-26"39"16,-27 40 0,1 0-1,-27 40 1,26-27 15,27-26-31,13-13 31,26-27-15,14 1 0,-14-14-1,14-14 1,-27 14-1,0-13-15</inkml:trace>
  <inkml:trace contextRef="#ctx0" brushRef="#br0" timeOffset="13998.87">8467 11218 0,'13'-13'0,"27"0"31,26 0-16,-13-1 1,-14 14 0,27 0-1,-52 0 1</inkml:trace>
  <inkml:trace contextRef="#ctx0" brushRef="#br0" timeOffset="15032.47">9036 11245 0,'0'-13'31,"26"13"-15,0-14 0,14 14-1,-27 14 1,1-14 0</inkml:trace>
  <inkml:trace contextRef="#ctx0" brushRef="#br0" timeOffset="15249.19">9036 11351 0,'-14'13'0,"41"-13"47,12 0-32,1 0 1,0-13 0,13 13-1</inkml:trace>
  <inkml:trace contextRef="#ctx0" brushRef="#br0" timeOffset="16048.44">10636 10954 0,'-13'-13'0,"-27"39"31,-26 27-15,27-13-1,-28 26 1,41-53-16,-1 27 16,-12-1-1,12-12 17,14-27-32</inkml:trace>
  <inkml:trace contextRef="#ctx0" brushRef="#br0" timeOffset="16349.43">10292 11007 0,'-13'-14'15,"26"41"17,14-1-17,12 14 1,1 0 0,13 13-1,-26-27 1,-14 1-1,0-14 1</inkml:trace>
  <inkml:trace contextRef="#ctx0" brushRef="#br0" timeOffset="16970">10319 10861 0,'53'-13'32,"-40"13"-32,13 0 15,27 0 1,40 0 0,-40 0-1,-27 0 1,1 0 15,-27 13-15</inkml:trace>
  <inkml:trace contextRef="#ctx0" brushRef="#br0" timeOffset="17532.24">10808 11192 0,'13'-13'16,"1"13"-1,25-14 1,1 14-1,13 0 1,-27 0 0,-12-13-16,-1 13 15,13 0 1</inkml:trace>
  <inkml:trace contextRef="#ctx0" brushRef="#br0" timeOffset="18584.09">11258 11271 0,'13'-13'47,"0"-13"-32,1-14 1,12-13 0,-13 0-1,1 27 1,-1-1-1,-26 54 32,-1-1-31,14 0 0,0-12-16,0-1 15,14 0 1,12 0-1,1-26 17,-14 13-32,26-40 15,-12 1 1,13-1 0,-27 0-1,0 27 1,-26 40 15,13-14-15,-27 66 15,41-52-31,-1 12 16,27-12-1,-14-14 1,14-13-1</inkml:trace>
  <inkml:trace contextRef="#ctx0" brushRef="#br0" timeOffset="19383.14">9988 11589 0,'26'0'16,"27"-13"15,119-1-15,-119 14-16,133-13 15,25 13 1,80-13 0,-119 0-1,53 13 1,-26 0 0,-94 0-1,-38 0 1,-28 0-1,-26 0 32</inkml:trace>
  <inkml:trace contextRef="#ctx0" brushRef="#br0" timeOffset="20900.12">10676 11840 0,'-13'0'0,"-14"-13"16,1 26 15,-27-13-15,0 13 0,27 1-1,12-1 1,14 0-1,14 13 1,12-12 0,27 12-1,-40 1 1,0-14 0,-26 27-1,-13-27 1,-27 13-1,-13 1 17,26-27-17,-13 0 1,40 0-16,0 0 16,-1 0-16</inkml:trace>
  <inkml:trace contextRef="#ctx0" brushRef="#br0" timeOffset="21332.67">11007 11734 0,'-27'14'31,"14"-1"-31,13 0 0,-13 0 16,-106 172-1,53-105 1,-54 105 0,28-40-1,39-65 1,13-27 0,27-40-1</inkml:trace>
  <inkml:trace contextRef="#ctx0" brushRef="#br0" timeOffset="23000.15">10742 12396 0,'13'-14'31,"1"1"-15,-1 0-1,0 0 1,-13 0 0,13 13-1,0 13 16,1 13-15,-14-13 15,13 14-15,-13-14 0,13-13-1,14-26 16,-14-14-15,0-13 0,-13 0-1,0 14 1,0 12 0,13 1-1,1 12 1,25 1-1,14 13 1,26-13 15,1 13-15,65-13 0,-78-1-1,-1 1 1,-27 13-1,-25 0 1,-1 13 15</inkml:trace>
  <inkml:trace contextRef="#ctx0" brushRef="#br0" timeOffset="24715.56">11218 12277 0,'0'26'62,"0"-13"-62,-13 27 32,13-14-17,0-12 32,27-41-31,-1 1-1,-13 13 1,14 13 15,-14 13-15,0 0 0,-13 13-1,13-12 1,1-14-1,-1 0 1</inkml:trace>
  <inkml:trace contextRef="#ctx0" brushRef="#br0" timeOffset="25549.69">12502 11364 0,'13'0'32,"0"0"-32,13-13 15,14 13 1,0 0 0,-27 0-1</inkml:trace>
  <inkml:trace contextRef="#ctx0" brushRef="#br0" timeOffset="25765.66">12435 11509 0,'14'14'15,"-1"-14"1,27 13 0,12-13-1,-12-13 1,0 13 0</inkml:trace>
  <inkml:trace contextRef="#ctx0" brushRef="#br0" timeOffset="39249.71">13970 10848 0,'-13'0'31,"-14"0"-15,14 0 0,-27 26-1,14-12 1,-1 12-1,14-13 1,0 1 15,39 12-15,-26-13-16,40 14 16,0 12-1,13 14 1,-40-26-1,-13 12 1,-13 1 0,-27-13-1,0-27 1,14-14 0,-1-12-1,27-1 1,14-12-1,25-14 1,1 26 15,0-26-15,-1 14 0,-12 12-1,-27 14 1,-13-27-1,-14 27 1,1 0 0,-1 26-1,1-13 1</inkml:trace>
  <inkml:trace contextRef="#ctx0" brushRef="#br0" timeOffset="39949.17">14288 10927 0,'-14'-13'0,"1"0"15,0 13 17,-40 13-17,26 0 1,-12 27-1,26-27 1,-1 14 0,28-14-1,-1-13 1,26-13 0,1-14-1,0 1 1,-27 13-1,0 13 17,-13 13-17,0 26 1,0 28 0,-13-1-1,-13 26 1,26-78-1,0-1 1</inkml:trace>
  <inkml:trace contextRef="#ctx0" brushRef="#br0" timeOffset="40732.21">14565 11112 0,'40'-13'16,"13"0"15,13 0-15,-13 13-1,-27-13-15,-12 13 16,25 0-1,-12-14 17</inkml:trace>
  <inkml:trace contextRef="#ctx0" brushRef="#br0" timeOffset="41283.21">15266 10848 0,'0'26'16,"0"14"-1,0-27-15,-26 67 16,13-27 0,0 13-1,-1-13 1,14-40 15</inkml:trace>
  <inkml:trace contextRef="#ctx0" brushRef="#br0" timeOffset="41816.11">15505 10901 0,'-27'0'15,"27"13"-15,-13 0 16,-14 27-1,14 26 17,13-39-17,13 12 1,14-12 0,13-27-1,26 0 1,-40-14-1,1-12 1,-27-27 0,-14 27-1,1-14 1,-13 0 0,-14 40-1,14 0 1,12 0-1</inkml:trace>
  <inkml:trace contextRef="#ctx0" brushRef="#br0" timeOffset="42416.56">15809 10901 0,'-13'13'16,"-1"0"-16,14 1 15,-13 25 1,13 1-1,0-27-15,27 27 16,-1-14 0,27 1-1,-13-27 1,13 0 0,-27-27-1,-26 1 1,0-27 15,-13 13-31,-14 1 31,-12 12-15,-14 14 0,-13 26-1,13 0 1</inkml:trace>
  <inkml:trace contextRef="#ctx0" brushRef="#br0" timeOffset="43383.28">13692 11549 0,'27'-13'15,"-1"13"1,-13 0 0,67 0-1,52-13 1,0-1 0,-79 14-16,119-13 15,40 0 1,185-14-1,-80 14 1,-79 0 0,80 13-1,-27-13 1,-119 13 0,40 0-1,-160 0 1,-12 0 15,-13 0-31,-14 0 47</inkml:trace>
  <inkml:trace contextRef="#ctx0" brushRef="#br0" timeOffset="44848.75">14195 11761 0,'-13'39'16,"13"-12"-1,-14 39 1,-12 0 0,0-13-1,26-40 1,-27 27-16,27-14 31</inkml:trace>
  <inkml:trace contextRef="#ctx0" brushRef="#br0" timeOffset="45615.78">14433 11827 0,'13'0'15,"0"0"-15,1 0 16,-1-13 0,0 13-1,-66 26 32,40-26-31,-40 27-1,27-14 1,-1 0 0,14 0-1,13 14 1,26-14-1,-12 27 1,12-27 0,-13 27-1,-26-14 1,-13 0 15,26-12-31,-27-1 0,1 0 16,13-13-1,-27 13 17</inkml:trace>
  <inkml:trace contextRef="#ctx0" brushRef="#br0" timeOffset="45772.18">14512 12065 0</inkml:trace>
  <inkml:trace contextRef="#ctx0" brushRef="#br0" timeOffset="47884.13">14936 11827 0,'13'0'31,"-40"-13"16,14 13-32,0 0-15,-27 13 16,14 0 0,-1 0 15,1 1-15,26 12-1,13-13 1,14 14-1,-1-14 1,14 13 0,13 14-1,-40-13 1,-13 12 0,0-12-1,-27-1 1,-12 1-1,-14-27 17,26-14-17,14 1 1,13 0 0,0 0-1,0-14 1,40-12-1,-14 12 1,1 14 0,-1-14-1,1 1 1,-27 13 0,13-1-16,-13-25 15,0 26 1,-13-14-1,-14 14 1,14 13 15,-13 0-15,12 13-16</inkml:trace>
  <inkml:trace contextRef="#ctx0" brushRef="#br0" timeOffset="48332.27">15094 11853 0,'0'27'16,"0"-1"-1,-13 27 1,0 0 0,13 0-1,-13-13 1,13-14-1</inkml:trace>
  <inkml:trace contextRef="#ctx0" brushRef="#br0" timeOffset="49832.51">15610 11655 0,'14'0'0,"-41"13"47,27 0-47,-13 1 16,-53 91-1,-14-12 1,-92 132-1,53-80 1,-39 41 0,25-28-1,67-78 1,13-27 0,27-14-1,13-25 1</inkml:trace>
  <inkml:trace contextRef="#ctx0" brushRef="#br0" timeOffset="51049.07">15399 12475 0,'13'-13'47,"-13"0"-31,26-14 15,-12 1-15,-1 12-1,0 14 32,0 40-31,1-13 0,-14 12-1,13-12 1,-13-14-1,0 0-15,13-13 16,0-39 15,1-14-15,-14 13 0,0-13-1,0 40-15,0 0 16,0-27-1,26 13 1,0 14 15,41-13-15,65-1 0,0 1-1,-13-1 1,-53 27-1,-52-13-15,25 13 16,1 0 0,-27-13-1,-13 26 32</inkml:trace>
  <inkml:trace contextRef="#ctx0" brushRef="#br0" timeOffset="53001.06">15994 12290 0,'0'-13'0,"13"13"16,1 0 0,-1 0-16,13-14 15,1 14 1,-14 0 0,0 0-1,-53 0 32,1 14-16,-1-14-15,0 13 0,14 0-1,13 0 1,-1-13-16,-12 14 15,26-1 1,-13 0 0,0-13-1,39 0 63,-13 0-62,0 0-16,14 13 31,-14 0-15,0 27 0,-13 0-1,-26-14 1,-1 1-1,-12-1 1,-14-13 0,0-26-1,26 13 1</inkml:trace>
  <inkml:trace contextRef="#ctx0" brushRef="#br0" timeOffset="53982.17">17502 11271 0,'27'-13'0,"-1"13"31,27 0-15,-27 0 0,1 0-1</inkml:trace>
  <inkml:trace contextRef="#ctx0" brushRef="#br0" timeOffset="54216.17">17410 11456 0,'26'0'16,"-13"0"-1,40 0 1,13 0-1,-26 0 1</inkml:trace>
  <inkml:trace contextRef="#ctx0" brushRef="#br0" timeOffset="55283.4">19381 10954 0,'-13'66'15,"13"-40"1,-27 54-1,1 12 1,-1-12 0,1-41-1,12 1 1,14-27 0</inkml:trace>
  <inkml:trace contextRef="#ctx0" brushRef="#br0" timeOffset="55500.39">19487 11298 0</inkml:trace>
  <inkml:trace contextRef="#ctx0" brushRef="#br0" timeOffset="57152.08">19791 10980 0,'26'0'15,"-12"0"-15,25-13 16,1 13-1,26 0 1,-53 0 15,14 0-15</inkml:trace>
  <inkml:trace contextRef="#ctx0" brushRef="#br0" timeOffset="57666.36">19831 10980 0,'-14'13'16,"-12"27"15,-1 0-15,14-1 0,-13-12-1,26-1 1,0-12 15,39-28-15,-25 14-1,-1 0-15,13 0 16,14 27 0,-14-1-1,-26-12 1,0 12-1,-39 14 1,26-40-16,-27 26 31,-13-13-15,26-13 0,1-13-1</inkml:trace>
  <inkml:trace contextRef="#ctx0" brushRef="#br0" timeOffset="58283.33">20320 10914 0,'-26'13'0,"-1"1"15,14-1-15,-27 53 32,14-13-17,-1 13 1,27-26 0,0-27-16,27 13 15,-1-12 1,1-14-1,-14-14 1,-26 1 0,-14 0-1,-13 0 1,1 26 0,26-13-16,-14 0 15</inkml:trace>
  <inkml:trace contextRef="#ctx0" brushRef="#br0" timeOffset="69282.03">18852 11205 0,'13'0'78,"13"-13"-62,1 13 0,26 0-1,26-13 1,-13 13-1,-26 0 1,-14 0 0,-12 0-1,-1 0 1</inkml:trace>
  <inkml:trace contextRef="#ctx0" brushRef="#br0" timeOffset="71600.64">20743 11112 0,'-13'14'16,"0"-1"-16,-14 0 0,-25 27 15,-81 66 1,-39 13 0,80-40-1,65-66 1,-52 67-16,13-41 15,52-12 1</inkml:trace>
  <inkml:trace contextRef="#ctx0" brushRef="#br0" timeOffset="71900.75">20889 11205 0,'13'0'0,"-39"13"32,-1 1-32,-132 105 15,1-14 1,-28 41-1,67-53 17,14-1-17,52-52 1,26-14 0,27-12-1</inkml:trace>
</inkml:ink>
</file>

<file path=ppt/ink/ink21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1-27T03:48:44.364"/>
    </inkml:context>
    <inkml:brush xml:id="br0">
      <inkml:brushProperty name="width" value="0.05292" units="cm"/>
      <inkml:brushProperty name="height" value="0.05292" units="cm"/>
      <inkml:brushProperty name="color" value="#0070C0"/>
    </inkml:brush>
  </inkml:definitions>
  <inkml:trace contextRef="#ctx0" brushRef="#br0">12951 2408 0,'-13'13'125,"0"0"-109,-14 14 15,-25 39-16,-1-13 1,-14 13 0,15-26-1,12 12 1,27-38 0,-1-1-16,-12 13 31</inkml:trace>
  <inkml:trace contextRef="#ctx0" brushRef="#br0" timeOffset="966.59">12647 2421 0,'-13'0'0,"26"13"46,14 27-30,25 0 15,-38-27-31,25 40 16,28 0 0,-28-27-1,1 14 1,-14-27-1,-26 0-15,14-13 16,-14 13-16,13-13 16,-13 14-1</inkml:trace>
  <inkml:trace contextRef="#ctx0" brushRef="#br0" timeOffset="2101.69">13018 2222 0,'-14'0'16,"28"-13"46,-1 13-46,26 0 15,-25 0-15,12 13-1,-26 1 1,0 12 0,-13-13-1,0 1 1,13-1-16,-14 0 16,1-13 15,26 13-16,1-13 1,39-13 0,-14 13 15,14-13-15,-40 13-16</inkml:trace>
  <inkml:trace contextRef="#ctx0" brushRef="#br0" timeOffset="3118.84">12330 2593 0,'13'0'0,"0"0"47,0 0-47,14 0 32</inkml:trace>
  <inkml:trace contextRef="#ctx0" brushRef="#br0" timeOffset="3753.17">12369 2514 0,'27'0'62,"-14"13"-46,0-13 15,0 13-15,1-13 0,-1 13-1,0-13 1,0 13 31,-13 1-32,0-1 1,-26 27 0,-27 26-1</inkml:trace>
  <inkml:trace contextRef="#ctx0" brushRef="#br0" timeOffset="9430.83">12991 4511 0,'13'0'32,"-39"13"46,13 14-63,-1-14-15,-39 40 16,14-13 0,-27 26-1,52-53-15,1 0 16,-13 14-1,-1-14 1</inkml:trace>
  <inkml:trace contextRef="#ctx0" brushRef="#br0" timeOffset="9810.09">12726 4577 0,'27'14'31,"13"12"-15,-27-13-16,27 27 16,-1 0-1,-12-14 1,-14 0-1,13-26 1,-26 14 0</inkml:trace>
  <inkml:trace contextRef="#ctx0" brushRef="#br0" timeOffset="10509.25">13097 4286 0,'26'13'0,"-12"-13"15,-1 14 1,-13-1 0,0 0-1,-13 14 1,-1-1 0,1-13-1,0-13 1,13 14-1,13-1 17,14-13-17,-1 0 1,0 0 0,1 0-1</inkml:trace>
  <inkml:trace contextRef="#ctx0" brushRef="#br0" timeOffset="11344.87">13322 4643 0,'0'-13'0,"0"0"31,13 13-31,27 0 15,-14 0 1,1 0 15,-1 13-15</inkml:trace>
  <inkml:trace contextRef="#ctx0" brushRef="#br0" timeOffset="11576.91">13295 4776 0,'27'13'15,"-14"-26"1,13 13-1,1 0-15,-14 0 16,14 0 15,-14-14-31</inkml:trace>
  <inkml:trace contextRef="#ctx0" brushRef="#br0" timeOffset="12777.78">14261 4167 0,'-13'-13'16,"-14"26"-1,1 14 1,-1 12-1,-12 41 1,-1 39 0,27-66-1,13 13 1,0-53-16,40 27 16,-14-27-1,27 0 1,-40-13-1</inkml:trace>
  <inkml:trace contextRef="#ctx0" brushRef="#br0" timeOffset="13445.72">14446 4247 0,'13'0'0,"-13"-14"16,27 14 0,13 14-1,-14-1 1,-13-13-16,1 39 16,-14-12-1,-27 13 1,-13 13-1,14-40 1,-1 13 15,14-13-15,40-13 31,12-13-32,-25 13-15,39-13 16,-27 13 0,0-13-1</inkml:trace>
  <inkml:trace contextRef="#ctx0" brushRef="#br0" timeOffset="14079.34">14790 4194 0,'27'0'16,"-14"0"-16,40 13 31,-27 0-15,1 14 0,-27-1-1,-14 0 1,1 14-1,-26-13 1,39-14 0,-14-13-1,1 13 1,40 0 15,-1-13-15,0 0-1,1 0 1,-14 0 0,14-13-1</inkml:trace>
  <inkml:trace contextRef="#ctx0" brushRef="#br0" timeOffset="14513.91">15108 4260 0,'26'0'31,"1"-13"-15,12 13-1,1 0 1,-14 0 0,-12-14-1,-1 14 1</inkml:trace>
  <inkml:trace contextRef="#ctx0" brushRef="#br0" timeOffset="15364.54">15518 4114 0,'13'-13'15,"0"13"1,1 0-16,-1 13 31,0 14-15,-26-1 0,-14 1-1,1-1 1,13-13-1,13 1 17,26-14-17,1 13 1,-14-13-16,13 13 16,-13 0-1,-13 27 1,-26-14-1,-14-12 1,1 12 15,25-26-15,1 0 0</inkml:trace>
  <inkml:trace contextRef="#ctx0" brushRef="#br0" timeOffset="15964.08">15941 4154 0,'-13'26'0,"-14"-12"16,-12 12-1,12 1 1,14-14-1,-27 13-15,14-13 16,13 14 15,52-14 1,1 0-17,-27-13-15,53 0 16,-13-13-1,14 13 1,-54 0-16,13 0 16,1-13-1</inkml:trace>
  <inkml:trace contextRef="#ctx0" brushRef="#br0" timeOffset="16314.71">15888 4180 0,'-13'27'47,"13"-14"-47,0 53 16,-13-13-1,-14 0 1,14-13-1,13-14 1,0 1 0</inkml:trace>
  <inkml:trace contextRef="#ctx0" brushRef="#br0" timeOffset="16848.8">16087 3929 0,'39'40'16,"14"39"-1,13 27 1,-39-13 0,-27-41-1,-13 15 1,-27-14-1,13-27 1,1-26 15,-14 0-15</inkml:trace>
  <inkml:trace contextRef="#ctx0" brushRef="#br0" timeOffset="17883.21">16285 3770 0,'13'0'0,"1"0"16,25 14 0,-12 12-1,-27-13 1,-14 27 15,1-14-31,0-12 16,0-1-1,26 0 1,0-13 15,27 0-15,0 0 0,-14 0-1,-13 0-15</inkml:trace>
  <inkml:trace contextRef="#ctx0" brushRef="#br0" timeOffset="18717">14142 4908 0,'40'-13'31,"-14"13"-31,120-27 31,131 14-15,14-13 0,133 12-1,-318 14-15,317-13 16,-158 26-1,12-13 1,-171 0 0,-79 0-16,26 0 15,-40 0 1</inkml:trace>
  <inkml:trace contextRef="#ctx0" brushRef="#br0" timeOffset="19850.98">14856 5120 0,'14'-14'0,"-1"14"16,13 14-1,1 12 17,-27-13-17,-27 27 1,1-13 0,-1-1-1,14-26 1,26 13 15,14-13-15,-1 13-1,-13 1 1,1-14-16,-1 39 16,-26-25-1,-14 25 1,-12-12-1,-1-27 1,27 13 0,-27-13-1,14 0 1</inkml:trace>
  <inkml:trace contextRef="#ctx0" brushRef="#br0" timeOffset="20401.57">15319 5173 0,'-26'26'0,"13"-13"0,-14 14 16,-12-1-1,39-13-15,-27 1 16,14-1 0,13 0-1,26-13 1,-12 0-1,38 13-15,28-26 32,12 13-17,-25 0 1,-41-13 0,1 13-1</inkml:trace>
  <inkml:trace contextRef="#ctx0" brushRef="#br0" timeOffset="20735.56">15319 5173 0,'0'26'16,"0"-13"-1,0 53 1,-13 14 0,13-27-1,-13 13 1,13-53-16,0 0 16</inkml:trace>
  <inkml:trace contextRef="#ctx0" brushRef="#br0" timeOffset="22137.08">16973 4379 0,'0'13'16,"0"27"-16,0 13 31,0-27-15,0 14 0,0-14-1,0-12 1</inkml:trace>
  <inkml:trace contextRef="#ctx0" brushRef="#br0" timeOffset="22420.36">16867 4485 0,'40'0'16,"0"0"-1,26-14 1,0 14-1</inkml:trace>
  <inkml:trace contextRef="#ctx0" brushRef="#br0" timeOffset="23387.46">17793 3995 0,'-26'27'15,"13"12"1,-27 41-1,13-1 1,14 0 15,26-26-15,14-26 0,-1-27-1,1 0-15</inkml:trace>
  <inkml:trace contextRef="#ctx0" brushRef="#br0" timeOffset="24075.75">17992 4088 0,'13'-13'0,"-26"26"16,39-26-16,-13 13 15,1 13 1,-1 13 0,-26 1-1,-14 12 1,14-39-16,-27 40 15,1-13 1,12-1 0,40-13 31,1-13-47,25 0 15,-26 0-15,14 0 16,26-13-1,-13 13 1</inkml:trace>
  <inkml:trace contextRef="#ctx0" brushRef="#br0" timeOffset="24606.26">18455 4061 0,'-14'40'15,"-12"-27"1,-14 14-1,1 12 1,12-12 0,27-14 15,27 0-15,26 1-1,26-1 1,0-13-1,-26-13 1,-26 13 15,-1 0-15,-26-14-16</inkml:trace>
  <inkml:trace contextRef="#ctx0" brushRef="#br0" timeOffset="24989.87">18468 4088 0,'0'26'31,"0"14"-16,-13 26 1,-1 0 0,1 0-1,13-26 1,0-27-16</inkml:trace>
  <inkml:trace contextRef="#ctx0" brushRef="#br0" timeOffset="25641.7">18746 4114 0,'26'0'31,"-13"0"-15,27 0 0,0-13-1,-14 13 1</inkml:trace>
  <inkml:trace contextRef="#ctx0" brushRef="#br0" timeOffset="26326.07">19129 3929 0,'-13'-13'16,"40"13"-1,-14 13 1,-13 14 15,-13-1-15,-14 0 0,1-12-1,12-1 1,28 0 15,12 0-15,1 14-1,12-1 1,-39-12 0,-13 12-1,-27 0 1,14-12-1,-1-1 1,14-13 0,13 13-1</inkml:trace>
  <inkml:trace contextRef="#ctx0" brushRef="#br0" timeOffset="26892.35">19487 3969 0,'13'-13'15,"-40"52"17,-12 1-17,25-27-15,-12 14 16,0-1 0,12-13-1,41 1 16,12-1-15,-12-13 0,26 0-1,26 0 1,-39-13 0,-14 13-1,-12 0-15</inkml:trace>
  <inkml:trace contextRef="#ctx0" brushRef="#br0" timeOffset="27175.59">19513 3982 0,'-13'26'31,"13"1"-15,-13 39 0,-1 13-1,1-26 1,13 0-1,0-40 1</inkml:trace>
  <inkml:trace contextRef="#ctx0" brushRef="#br0" timeOffset="27659.75">19685 3744 0,'26'0'0,"1"26"15,52 67 1,-39-14-1,-27 14 1,-26-14 15,-13-26-15,-14 0 0,0-40-1,14 1 1</inkml:trace>
  <inkml:trace contextRef="#ctx0" brushRef="#br0" timeOffset="28292.93">20002 3492 0,'14'-13'0,"-28"26"0,67-13 16,-26 27 15,-27-1-15,-27 14-1,1-13 1,13-1-1,-1-13 1,28 0 0,12-13-1,-13 0-15,27 0 16,13 0 0,0 0-1,-13 0 1</inkml:trace>
  <inkml:trace contextRef="#ctx0" brushRef="#br0" timeOffset="29132.01">17634 4643 0,'27'0'15,"66"-13"1,65 13 0,147-26-1,65 13 1,-26-1 0,53 1-1,13 26 1,-278-13-1,-39 0 1,-40 0 15</inkml:trace>
  <inkml:trace contextRef="#ctx0" brushRef="#br0" timeOffset="30428.97">18362 4921 0,'13'0'0,"-13"-13"0,40 13 32,-14 13-17,-12-13-15,-1 27 16,-13-1-1,-27 1 1,1-1 0,0 1-1,12-27 1,41 13 15,12 0-15,1-13-1,-27 13 1,-13 14 15,-26-1-15,-1-13 0,-25 1-1,-1-1 1,26-13-1,14 0-15</inkml:trace>
  <inkml:trace contextRef="#ctx0" brushRef="#br0" timeOffset="30912.04">18838 4961 0,'-26'26'16,"-1"-12"-1,14-14-15,-13 39 16,-1-25 0,14 12-1,0-13 1,26 0-1,13-13 1,-12 0 0,52 14-1,0-14 1,0-14 0,-13 14-1,-40-13 1,1 13-16</inkml:trace>
  <inkml:trace contextRef="#ctx0" brushRef="#br0" timeOffset="31212.54">18878 4974 0,'0'27'31,"0"12"1,-13 27-17,13 1 1,-13-28-1,13 14 1,-14-13 0</inkml:trace>
  <inkml:trace contextRef="#ctx0" brushRef="#br0" timeOffset="32530.86">20452 4339 0,'0'40'31,"-13"13"0,13-40-31,-13 40 16,0-13-1,-1-1 1,14-25 0,0-1-1</inkml:trace>
  <inkml:trace contextRef="#ctx0" brushRef="#br0" timeOffset="32780.71">20320 4471 0,'26'0'0,"1"0"16,39 0-1,-13 0 1,-40 0-16,40-13 16,-26 13-1</inkml:trace>
  <inkml:trace contextRef="#ctx0" brushRef="#br0" timeOffset="33014.36">20876 4511 0,'0'-13'15,"13"13"17</inkml:trace>
  <inkml:trace contextRef="#ctx0" brushRef="#br0" timeOffset="33214.06">21167 4485 0,'13'0'15,"0"0"17</inkml:trace>
  <inkml:trace contextRef="#ctx0" brushRef="#br0" timeOffset="33397.83">21365 4485 0,'13'0'15,"-13"-14"17</inkml:trace>
  <inkml:trace contextRef="#ctx0" brushRef="#br0" timeOffset="33566.41">21603 4485 0,'0'-14'16,"13"14"-1,1 0 1</inkml:trace>
  <inkml:trace contextRef="#ctx0" brushRef="#br0" timeOffset="33714.87">21788 4485 0,'14'0'0</inkml:trace>
  <inkml:trace contextRef="#ctx0" brushRef="#br0" timeOffset="59506.13">17568 7144 0,'-13'26'47,"13"27"-31,-26 53-1,12-40 1,14-39-16,-26 52 16,13-39-1,-1-14 1</inkml:trace>
  <inkml:trace contextRef="#ctx0" brushRef="#br0" timeOffset="60375.99">17793 7170 0,'13'0'31,"27"-13"-15,13 13-1,-26-13 1,25 13-1,-25-13 1,-14 13 15,0 0-15</inkml:trace>
  <inkml:trace contextRef="#ctx0" brushRef="#br0" timeOffset="61124.68">17767 7197 0,'0'13'16,"0"0"-1,-13 27 1,13-14 0,-14 1-1,1-1 1,13 1-1,-13-27 1,13 13 15,26-13 1,1-13-17,-14 13 1,0 0-16,0 0 15,27 13 1,-13 13 0,-27-12-1,-14 12 1,-12-13 0,-1 14-1,-25-14 16,25 0-31,1-13 16,12 0 15</inkml:trace>
  <inkml:trace contextRef="#ctx0" brushRef="#br0" timeOffset="61615.4">18018 7369 0</inkml:trace>
  <inkml:trace contextRef="#ctx0" brushRef="#br0" timeOffset="62660.28">18256 7197 0,'27'0'63,"-14"0"-47,13 13-1,-12-13-15,-14 13 16,13 14-1,-40 25 1,1-12 0,-14 0-1,14 0 1,13-27 0,-1-13-1,28 13 16,12-13-15,14 0 15,-27 0-31,13 0 16,14-13 0</inkml:trace>
  <inkml:trace contextRef="#ctx0" brushRef="#br0" timeOffset="88802.43">18693 7223 0,'-13'-13'188,"13"0"-173,-14 13 1,1-14 0,0 1-1,0 13 1,-14 0 0,14 0-1,-13 0 1,-1 13-1,14-13 1,-14 27 0,14-14 15,13 0-15,0 14-1,0-14 1,13 0-1,1-13 1,-1 0-16,0 0 16,27 0-1,-14-13 1,-13 13 0,14-26-1,-14 12 1,14 1-1,-14 26 48,-13 14-32,0-14-31,0 27 16,-13-1-1,13 1 1,-14-13 0,14-1-1,0-13 1</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0.685"/>
    </inkml:context>
    <inkml:brush xml:id="br0">
      <inkml:brushProperty name="width" value="0.025" units="cm"/>
      <inkml:brushProperty name="height" value="0.025" units="cm"/>
      <inkml:brushProperty name="ignorePressure" value="1"/>
    </inkml:brush>
  </inkml:definitions>
  <inkml:trace contextRef="#ctx0" brushRef="#br0">86 0,'-3'7,"-1"5,-4 4,0 2,-2 2,1 1,-2-4,2-1,2 0,-2-2,2-5</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1.505"/>
    </inkml:context>
    <inkml:brush xml:id="br0">
      <inkml:brushProperty name="width" value="0.025" units="cm"/>
      <inkml:brushProperty name="height" value="0.025" units="cm"/>
      <inkml:brushProperty name="ignorePressure" value="1"/>
    </inkml:brush>
  </inkml:definitions>
  <inkml:trace contextRef="#ctx0" brushRef="#br0">53 1,'0'3,"-3"5,-2 4,-2 3,-4 3,0 1,2 1,2-3</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2.321"/>
    </inkml:context>
    <inkml:brush xml:id="br0">
      <inkml:brushProperty name="width" value="0.025" units="cm"/>
      <inkml:brushProperty name="height" value="0.025" units="cm"/>
      <inkml:brushProperty name="ignorePressure" value="1"/>
    </inkml:brush>
  </inkml:definitions>
  <inkml:trace contextRef="#ctx0" brushRef="#br0">84 1,'-4'0,"0"3,-1 5,-1 0,-1 3,-2 3,0 2,-1 1,1 2,-2-3,2-4</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2.966"/>
    </inkml:context>
    <inkml:brush xml:id="br0">
      <inkml:brushProperty name="width" value="0.025" units="cm"/>
      <inkml:brushProperty name="height" value="0.025" units="cm"/>
      <inkml:brushProperty name="ignorePressure" value="1"/>
    </inkml:brush>
  </inkml:definitions>
  <inkml:trace contextRef="#ctx0" brushRef="#br0">44 0,'0'3,"-4"5,0 4,-1 3,-1-1,-1 1,-2 1,0-3</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3.605"/>
    </inkml:context>
    <inkml:brush xml:id="br0">
      <inkml:brushProperty name="width" value="0.025" units="cm"/>
      <inkml:brushProperty name="height" value="0.025" units="cm"/>
      <inkml:brushProperty name="ignorePressure" value="1"/>
    </inkml:brush>
  </inkml:definitions>
  <inkml:trace contextRef="#ctx0" brushRef="#br0">28 1,'0'6,"-3"6,-5 4,-1 3,2-2</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5.186"/>
    </inkml:context>
    <inkml:brush xml:id="br0">
      <inkml:brushProperty name="width" value="0.025" units="cm"/>
      <inkml:brushProperty name="height" value="0.025" units="cm"/>
      <inkml:brushProperty name="ignorePressure" value="1"/>
    </inkml:brush>
  </inkml:definitions>
  <inkml:trace contextRef="#ctx0" brushRef="#br0">78 1,'-3'0,"-5"0,-1 3,-2 1,1 4,-1-1,-3 3,2 0</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55.383"/>
    </inkml:context>
    <inkml:brush xml:id="br0">
      <inkml:brushProperty name="width" value="0.05" units="cm"/>
      <inkml:brushProperty name="height" value="0.05" units="cm"/>
      <inkml:brushProperty name="color" value="#E71224"/>
      <inkml:brushProperty name="ignorePressure" value="1"/>
    </inkml:brush>
  </inkml:definitions>
  <inkml:trace contextRef="#ctx0" brushRef="#br0">245 0,'-7'10,"0"0,0 0,0 1,1-1,1 1,0 1,1-1,-6 20,-10 25,-123 259,126-286,11-17</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56.452"/>
    </inkml:context>
    <inkml:brush xml:id="br0">
      <inkml:brushProperty name="width" value="0.05" units="cm"/>
      <inkml:brushProperty name="height" value="0.05" units="cm"/>
      <inkml:brushProperty name="color" value="#E71224"/>
      <inkml:brushProperty name="ignorePressure" value="1"/>
    </inkml:brush>
  </inkml:definitions>
  <inkml:trace contextRef="#ctx0" brushRef="#br0">123 24,'-7'7,"1"-2,0 0,0 0,1 0,0 1,0 0,0 0,1 0,0 0,0 1,1 0,-1 0,1 0,1 0,-1 0,0 9,2-12,0 0,0 0,1 0,0 0,-1 0,2 0,-1 0,0 0,1 0,0-1,0 1,0 0,0 0,0 0,1-1,0 1,0-1,0 0,0 1,0-1,4 4,-3-5,0 0,1 0,-1 0,1 0,-1-1,1 1,0-1,0 0,0 0,0 0,-1-1,1 1,0-1,0 0,0 0,0 0,0-1,0 1,0-1,0 0,5-2,-3 1,0-1,0 0,0 0,0 0,0-1,-1 1,1-2,-1 1,0 0,-1-1,1 0,-1 0,0 0,0-1,0 1,-1-1,0 0,0 0,-1 0,1 0,2-13,-4 15,0 0,-1 0,1 0,-1 0,0 0,0 0,0 0,0 0,-1 0,1 0,-1 0,0 0,-1 1,1-1,-1 0,1 1,-1-1,0 1,0-1,-1 1,1 0,-1 0,1 0,-1 0,0 0,0 1,0-1,-1 1,1 0,-1 0,1 0,-1 1,0-1,1 1,-1 0,-7-2,0 1,0 0,0 1,0 0,0 1,0 0,0 0,0 1,0 1,0 0,1 1,-1 0,0 0,-17 9,14-5</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7:21.678"/>
    </inkml:context>
    <inkml:brush xml:id="br0">
      <inkml:brushProperty name="width" value="0.025" units="cm"/>
      <inkml:brushProperty name="height" value="0.025" units="cm"/>
      <inkml:brushProperty name="ignorePressure" value="1"/>
    </inkml:brush>
  </inkml:definitions>
  <inkml:trace contextRef="#ctx0" brushRef="#br0">52 0,'-4'7,"0"5,0 4,-2-1,-1 0,1 2,2 0,-2 1,0 1,1-3</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1.698"/>
    </inkml:context>
    <inkml:brush xml:id="br0">
      <inkml:brushProperty name="width" value="0.025" units="cm"/>
      <inkml:brushProperty name="height" value="0.025" units="cm"/>
      <inkml:brushProperty name="ignorePressure" value="1"/>
    </inkml:brush>
  </inkml:definitions>
  <inkml:trace contextRef="#ctx0" brushRef="#br0">237 1,'-23'14,"1"2,0 1,2 0,0 2,1 0,-23 30,-5 4,45-52,0 1,0 0,1 0,-1 0,0 0,1 0,0 0,-1 0,1 1,0-1,0 0,0 1,1-1,-1 1,1-1,-1 1,1 2,0-3,1-1,0 1,-1-1,1 1,0-1,0 0,0 1,0-1,0 0,0 0,1 0,-1 0,0 0,1 0,-1 0,0 0,1 0,-1-1,1 1,-1-1,1 1,0-1,-1 1,1-1,-1 0,1 0,0 0,1 0,30 3,0-3,0 0,0-2,-1-2,35-7,-60 10,10-2</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2.353"/>
    </inkml:context>
    <inkml:brush xml:id="br0">
      <inkml:brushProperty name="width" value="0.025" units="cm"/>
      <inkml:brushProperty name="height" value="0.025" units="cm"/>
      <inkml:brushProperty name="ignorePressure" value="1"/>
    </inkml:brush>
  </inkml:definitions>
  <inkml:trace contextRef="#ctx0" brushRef="#br0">134 1,'-3'18,"0"0,-1 0,-1 0,0-1,-1 1,-16 28,4-4,8-18,-9 23,-15 56,30-86</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3.151"/>
    </inkml:context>
    <inkml:brush xml:id="br0">
      <inkml:brushProperty name="width" value="0.025" units="cm"/>
      <inkml:brushProperty name="height" value="0.025" units="cm"/>
      <inkml:brushProperty name="ignorePressure" value="1"/>
    </inkml:brush>
  </inkml:definitions>
  <inkml:trace contextRef="#ctx0" brushRef="#br0">40 2,'-2'1,"0"0,0-1,0 1,1 0,-1 0,0 0,0 0,1 0,-1 0,0 0,1 1,-1-1,1 1,0-1,-1 1,1-1,0 1,0 0,0 0,0-1,0 1,1 0,-1 0,0 0,1 0,-1 0,1 0,0 0,0 2,-2 4,1 0,1 0,-1 0,1-1,0 1,3 11,-3-17,0 0,1 0,0 1,-1-1,1 0,0 0,0 0,0 0,0 0,1 0,-1 0,0 0,1 0,-1-1,1 1,0-1,0 1,0-1,-1 0,1 1,0-1,0 0,1 0,-1 0,0-1,0 1,0 0,5 0,-2-1,-1 0,1-1,-1 1,1-1,-1 0,0 0,1-1,-1 1,0-1,0 0,0 0,0 0,0 0,4-4,-5 3,1 1,-1-1,0 0,0 0,0 0,-1 0,1 0,-1-1,0 1,0-1,0 0,0 0,-1 0,1 1,1-8,-3 9,0-1,0 0,0 0,-1 1,1-1,-1 0,1 1,-1-1,0 0,0 1,0-1,0 1,0-1,-1 1,1 0,-1-1,0 1,0 0,1 0,-1 0,0 0,-1 1,1-1,0 1,0-1,-5-1,-10-5,0 3</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3.548"/>
    </inkml:context>
    <inkml:brush xml:id="br0">
      <inkml:brushProperty name="width" value="0.025" units="cm"/>
      <inkml:brushProperty name="height" value="0.025" units="cm"/>
      <inkml:brushProperty name="ignorePressure" value="1"/>
    </inkml:brush>
  </inkml:definitions>
  <inkml:trace contextRef="#ctx0" brushRef="#br0">73 1,'-4'3,"0"0,0 0,0 0,0 1,1 0,-1 0,1 0,0 0,0 0,0 1,1-1,0 1,0 0,0-1,0 1,1 0,-1 0,0 8,2-11,-1 1,1 0,-1-1,1 1,0-1,0 1,1 0,-1-1,0 1,1-1,-1 1,1-1,0 1,0-1,0 1,0-1,0 0,1 1,-1-1,1 0,-1 0,1 0,0 0,0 0,0-1,0 1,0-1,0 1,0-1,1 0,-1 1,0-1,1 0,-1-1,1 1,-1 0,4 0,-5-1,1 1,0-1,-1 0,1 1,0-1,-1 0,1 0,0 0,0 0,-1 0,1-1,0 1,-1-1,1 1,-1-1,1 1,0-1,-1 0,1 0,-1 1,0-1,1 0,-1 0,0-1,1 1,-1 0,0 0,0-1,0 1,0-1,0 1,0 0,-1-1,1 0,0 1,-1-1,1 1,-1-3,1 0,-1 1,0 0,-1 0,1 0,0-1,-1 1,0 0,0 0,0 0,0 0,0 0,0 0,-1 1,0-1,1 0,-1 1,0-1,0 1,-5-4,2 2,0 0,0 1,-1 0,1 0,-1 0,0 1,0 0,1 0,-2 0,1 1,-10-1,-2 0</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3.880"/>
    </inkml:context>
    <inkml:brush xml:id="br0">
      <inkml:brushProperty name="width" value="0.05" units="cm"/>
      <inkml:brushProperty name="height" value="0.05" units="cm"/>
      <inkml:brushProperty name="color" value="#E71224"/>
      <inkml:brushProperty name="ignorePressure" value="1"/>
    </inkml:brush>
  </inkml:definitions>
  <inkml:trace contextRef="#ctx0" brushRef="#br0">328 0,'0'4,"0"3,0 5,-3 4,-5 5,-4 2,-3 5,-3 6,-4 5,-6 5,-1 2,-2 0,-2 2,0-1,0-2,-1-1,5-9</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5.099"/>
    </inkml:context>
    <inkml:brush xml:id="br0">
      <inkml:brushProperty name="width" value="0.05" units="cm"/>
      <inkml:brushProperty name="height" value="0.05" units="cm"/>
      <inkml:brushProperty name="color" value="#E71224"/>
      <inkml:brushProperty name="ignorePressure" value="1"/>
    </inkml:brush>
  </inkml:definitions>
  <inkml:trace contextRef="#ctx0" brushRef="#br0">266 0,'-22'13,"1"1,0 1,1 1,0 1,1 0,1 2,1 0,1 1,0 0,2 1,0 1,2 0,-15 36,25-54,1 0,0 0,-1 0,2 0,-1 0,0 0,1 0,0 0,0 0,0 1,1-1,-1 0,1 0,0 0,0 0,0 0,1 0,-1 0,1 0,4 6,-5-8,1 0,0 0,0 0,0 0,0 0,1 0,-1 0,0-1,1 1,-1-1,1 0,0 0,-1 0,1 0,0 0,-1 0,1-1,0 1,0-1,0 0,0 0,0 0,-1 0,1 0,0-1,0 1,0-1,-1 0,1 0,0 0,2-1,-3 1,-1 1,0-1,1 1,-1-1,0 1,0-1,1 0,-1 0,0 0,0 0,0 1,0-1,0-1,0 1,0 0,-1 0,1 0,0 0,-1-1,1 1,0 0,-1 0,0-1,1 1,-1-1,0 1,1 0,-1-1,0 1,0-1,0 1,0 0,-1-1,1 1,0-1,-1 1,1 0,-1-1,1 1,-1 0,-1-3,0 0,-1-1,-1 1,1-1,-1 1,1 0,-1 0,0 0,0 1,-7-5,-6-2</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6.012"/>
    </inkml:context>
    <inkml:brush xml:id="br0">
      <inkml:brushProperty name="width" value="0.05" units="cm"/>
      <inkml:brushProperty name="height" value="0.05" units="cm"/>
      <inkml:brushProperty name="color" value="#E71224"/>
      <inkml:brushProperty name="ignorePressure" value="1"/>
    </inkml:brush>
  </inkml:definitions>
  <inkml:trace contextRef="#ctx0" brushRef="#br0">116 14,'-5'1,"0"0,0 1,0-1,1 1,-1 0,1 0,-1 0,1 1,0-1,-1 1,1 0,1 1,-1-1,0 1,1-1,0 1,0 0,0 0,0 1,-2 4,1-2,0-1,1 1,-1-1,1 1,1 0,0 0,0 1,0-1,1 0,0 1,0-1,0 1,2 7,-1-12,1 0,0-1,-1 1,1 0,1-1,-1 1,0-1,0 0,1 1,-1-1,1 0,0 0,0 0,0 0,0 0,0 0,0-1,0 1,5 2,-2-2,0 0,0-1,0 1,0-1,0 0,0 0,1-1,-1 1,0-1,7-1,-6 1,0-1,0 1,0-1,0-1,-1 1,1-1,-1 0,1 0,-1-1,1 1,-1-1,0 0,-1-1,1 1,0-1,-1 0,0 0,0-1,6-8,-8 9,0 0,0 0,-1-1,1 1,-1 0,0-1,-1 0,1 1,-1-1,0 1,0-1,0 1,-1-1,1 0,-1 1,0-1,0 1,-1 0,0-1,1 1,-1 0,-4-5,1 2,0 0,0 1,-1 0,0 0,0 1,-1-1,1 1,-1 0,0 1,-1 0,-8-4,-1 1</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6.445"/>
    </inkml:context>
    <inkml:brush xml:id="br0">
      <inkml:brushProperty name="width" value="0.05" units="cm"/>
      <inkml:brushProperty name="height" value="0.05" units="cm"/>
      <inkml:brushProperty name="color" value="#E71224"/>
      <inkml:brushProperty name="ignorePressure" value="1"/>
    </inkml:brush>
  </inkml:definitions>
  <inkml:trace contextRef="#ctx0" brushRef="#br0">36 34,'-9'40,"8"-36,-1 0,1 0,0 0,0 0,0 0,1 0,-1 0,1 0,0 0,0 0,1 7,1-7,-1-1,0 1,1-1,0 1,0-1,0 0,0 0,0 0,1 0,0 0,-1 0,1-1,0 1,0-1,0 0,1 0,-1 0,5 2,-6-3,-1-1,1 1,-1-1,1 1,0-1,-1 1,1-1,0 0,-1 0,1 0,0 0,0 0,-1 0,1-1,0 1,-1-1,1 1,-1-1,1 1,0-1,-1 0,1 0,-1 0,0 0,1 0,-1 0,0 0,1 0,-1 0,0-1,0 1,0 0,0-1,0 1,-1-1,1 1,0-1,-1 1,1-1,-1 0,1 1,-1-3,1 0,0 0,0-1,-1 1,1 0,-1 0,0 0,0-1,-1 1,1 0,-1 0,0 0,0-1,0 1,-1 0,1 1,-1-1,0 0,0 0,0 1,-1-1,1 1,-5-5,0 2,1 0,-1 0,-1 1,1 0,-1 0,0 1,0 0,0 0,-12-3,4 2</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1:49.622"/>
    </inkml:context>
    <inkml:brush xml:id="br0">
      <inkml:brushProperty name="width" value="0.025" units="cm"/>
      <inkml:brushProperty name="height" value="0.025" units="cm"/>
      <inkml:brushProperty name="ignorePressure" value="1"/>
    </inkml:brush>
  </inkml:definitions>
  <inkml:trace contextRef="#ctx0" brushRef="#br0">1 1,'0'0</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29.804"/>
    </inkml:context>
    <inkml:brush xml:id="br0">
      <inkml:brushProperty name="width" value="0.025" units="cm"/>
      <inkml:brushProperty name="height" value="0.025" units="cm"/>
      <inkml:brushProperty name="ignorePressure" value="1"/>
    </inkml:brush>
  </inkml:definitions>
  <inkml:trace contextRef="#ctx0" brushRef="#br0">1 261,'289'-13,"-255"10,496-39,346-18,-462 32,103-2,-262 19,-92 2,91-9,105-2,-320 18,43-6,36-2,-16 11,-95-2,-11-2,-5-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4.037"/>
    </inkml:context>
    <inkml:brush xml:id="br0">
      <inkml:brushProperty name="width" value="0.025" units="cm"/>
      <inkml:brushProperty name="height" value="0.025" units="cm"/>
      <inkml:brushProperty name="ignorePressure" value="1"/>
    </inkml:brush>
  </inkml:definitions>
  <inkml:trace contextRef="#ctx0" brushRef="#br0">21 1,'2'0,"1"0,0-1,0 1,0 1,0-1,-1 0,1 1,0-1,0 1,-1 0,1 0,0 0,-1 0,1 0,-1 1,1-1,-1 1,0 0,0-1,0 1,0 0,0 0,3 4,-4-3,-1 0,1 0,-1 0,1 0,-1 0,0 0,0 0,0 0,-1 0,1 0,-1 0,0 0,1-1,-1 1,-1 0,1 0,0-1,-1 1,1 0,-1-1,0 1,-2 1,-25 27,24-27,0 0,1 1,0-1,0 1,0-1,1 1,-6 10,9-15,0 0,0 1,0-1,0 0,0 0,0 1,0-1,0 0,0 0,0 1,0-1,0 0,0 0,0 0,0 1,0-1,0 0,0 0,0 1,0-1,1 0,-1 0,0 0,0 1,0-1,0 0,1 0,-1 0,0 0,0 1,0-1,1 0,-1 0,0 0,0 0,1 0,-1 0,0 0,0 0,1 0,-1 0,17 1,15-5,29-11,-43 12</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2.088"/>
    </inkml:context>
    <inkml:brush xml:id="br0">
      <inkml:brushProperty name="width" value="0.025" units="cm"/>
      <inkml:brushProperty name="height" value="0.025" units="cm"/>
      <inkml:brushProperty name="ignorePressure" value="1"/>
    </inkml:brush>
  </inkml:definitions>
  <inkml:trace contextRef="#ctx0" brushRef="#br0">52 0,'0'3,"0"5,-4 0,0 3,-1 2,2 3,1 2,-3-3,0 0,0 1,2 0,-2 2,-1 0,1-2</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2.652"/>
    </inkml:context>
    <inkml:brush xml:id="br0">
      <inkml:brushProperty name="width" value="0.025" units="cm"/>
      <inkml:brushProperty name="height" value="0.025" units="cm"/>
      <inkml:brushProperty name="ignorePressure" value="1"/>
    </inkml:brush>
  </inkml:definitions>
  <inkml:trace contextRef="#ctx0" brushRef="#br0">1 1,'11'4,"0"1,0-2,1 1,-1-1,1-1,0 0,0-1,21-1,11-2,46-8,-7 0,101 7,-168 4</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3.536"/>
    </inkml:context>
    <inkml:brush xml:id="br0">
      <inkml:brushProperty name="width" value="0.025" units="cm"/>
      <inkml:brushProperty name="height" value="0.025" units="cm"/>
      <inkml:brushProperty name="ignorePressure" value="1"/>
    </inkml:brush>
  </inkml:definitions>
  <inkml:trace contextRef="#ctx0" brushRef="#br0">87 1,'15'0,"-5"-1,1 1,0 0,-1 1,1 0,17 5,-27-5,1-1,-1 1,1-1,-1 1,0 0,1 0,-1 0,0 0,1 0,-1 0,0 0,0 0,0 0,0 1,0-1,0 0,1 3,-1-1,-1-1,0 0,1 1,-1-1,0 0,0 1,0-1,-1 0,1 1,0-1,-1 0,0 0,1 0,-1 1,0-1,-1 2,-5 8,-1-1,1-1,-2 0,1 0,-1 0,-1-1,0 0,0-1,-1 0,-12 7,7-5,1 1,0 1,-22 24,36-36,1 1,-1-1,1 0,0 1,-1-1,1 0,0 1,0-1,-1 0,1 1,0-1,0 1,-1-1,1 1,0-1,0 1,0-1,0 1,0-1,0 0,0 1,0-1,0 1,0-1,0 1,0-1,0 1,0-1,0 1,0-1,1 1,-1-1,0 1,1 0,17 5,23-7,167-29,-187 27</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5.005"/>
    </inkml:context>
    <inkml:brush xml:id="br0">
      <inkml:brushProperty name="width" value="0.025" units="cm"/>
      <inkml:brushProperty name="height" value="0.025" units="cm"/>
      <inkml:brushProperty name="ignorePressure" value="1"/>
    </inkml:brush>
  </inkml:definitions>
  <inkml:trace contextRef="#ctx0" brushRef="#br0">19 4,'0'-3,"0"5,0 6,0 5,0 3,0 3,0 0,0 2,0-1,0 1,0-1,-4 0,0-1,-1 1,2-1,1-3</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5.318"/>
    </inkml:context>
    <inkml:brush xml:id="br0">
      <inkml:brushProperty name="width" value="0.025" units="cm"/>
      <inkml:brushProperty name="height" value="0.025" units="cm"/>
      <inkml:brushProperty name="ignorePressure" value="1"/>
    </inkml:brush>
  </inkml:definitions>
  <inkml:trace contextRef="#ctx0" brushRef="#br0">0 12,'10'0,"6"0,4 0,2 0,1 0,-1 0,-1 0,0 0,-1-3,0-2,-4 1</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5.933"/>
    </inkml:context>
    <inkml:brush xml:id="br0">
      <inkml:brushProperty name="width" value="0.025" units="cm"/>
      <inkml:brushProperty name="height" value="0.025" units="cm"/>
      <inkml:brushProperty name="ignorePressure" value="1"/>
    </inkml:brush>
  </inkml:definitions>
  <inkml:trace contextRef="#ctx0" brushRef="#br0">18 1,'5'11,"-1"0,0 0,-1 0,0 1,-1 0,0 0,-1-1,0 1,-2 24,-4 7,-14 60,4-19,12-67</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6.389"/>
    </inkml:context>
    <inkml:brush xml:id="br0">
      <inkml:brushProperty name="width" value="0.025" units="cm"/>
      <inkml:brushProperty name="height" value="0.025" units="cm"/>
      <inkml:brushProperty name="ignorePressure" value="1"/>
    </inkml:brush>
  </inkml:definitions>
  <inkml:trace contextRef="#ctx0" brushRef="#br0">0 39,'240'-9,"7"-1,-107 0,-8 0,-115 10</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6.980"/>
    </inkml:context>
    <inkml:brush xml:id="br0">
      <inkml:brushProperty name="width" value="0.025" units="cm"/>
      <inkml:brushProperty name="height" value="0.025" units="cm"/>
      <inkml:brushProperty name="ignorePressure" value="1"/>
    </inkml:brush>
  </inkml:definitions>
  <inkml:trace contextRef="#ctx0" brushRef="#br0">145 1,'-132'122,"131"-122,0 1,0 0,0-1,1 1,-1 0,0 0,0 0,1 0,-1 0,0-1,1 1,-1 1,1-1,-1 0,1 0,0 0,-1 0,1 0,0 0,0 0,0 0,0 1,0-1,0 0,0 0,0 0,0 2,1-2,0 0,1 1,-1-1,0 0,0 0,0 0,1 0,-1 0,1 0,-1 0,1 0,-1-1,1 1,-1 0,4 0,7 2,0-1,0 0,22 0,12-2,174-3,-202 0,-1-1</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7.736"/>
    </inkml:context>
    <inkml:brush xml:id="br0">
      <inkml:brushProperty name="width" value="0.025" units="cm"/>
      <inkml:brushProperty name="height" value="0.025" units="cm"/>
      <inkml:brushProperty name="ignorePressure" value="1"/>
    </inkml:brush>
  </inkml:definitions>
  <inkml:trace contextRef="#ctx0" brushRef="#br0">104 1,'-2'9,"0"0,0 0,-1 0,-1-1,-6 14,-11 30,1 34,-13 39,27-107</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8.679"/>
    </inkml:context>
    <inkml:brush xml:id="br0">
      <inkml:brushProperty name="width" value="0.025" units="cm"/>
      <inkml:brushProperty name="height" value="0.025" units="cm"/>
      <inkml:brushProperty name="ignorePressure" value="1"/>
    </inkml:brush>
  </inkml:definitions>
  <inkml:trace contextRef="#ctx0" brushRef="#br0">18 1,'0'7,"0"5,0 4,0 2,0 2,0 1,0 0,-3-1,-1 1,-1-2,2 1,0-4</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4.598"/>
    </inkml:context>
    <inkml:brush xml:id="br0">
      <inkml:brushProperty name="width" value="0.025" units="cm"/>
      <inkml:brushProperty name="height" value="0.025" units="cm"/>
      <inkml:brushProperty name="ignorePressure" value="1"/>
    </inkml:brush>
  </inkml:definitions>
  <inkml:trace contextRef="#ctx0" brushRef="#br0">53 0,'-4'3,"1"-1,-1 1,1 0,0 0,-1 0,1 0,1 0,-1 1,0-1,1 1,0 0,0 0,0 0,0 0,1 0,0 0,-2 7,3-9,-1 0,1-1,-1 1,1 0,0 0,0 0,0-1,0 1,0 0,0 0,1 0,-1-1,1 1,-1 0,1-1,-1 1,1 0,0-1,0 1,0-1,0 1,0-1,0 1,0-1,1 0,-1 1,0-1,1 0,-1 0,1 0,-1 0,1 0,0-1,-1 1,1 0,0-1,-1 1,1-1,0 0,0 1,0-1,-1 0,3 0,-2 0,0 0,-1 0,1 0,-1 0,1-1,-1 1,1 0,0-1,-1 1,1-1,-1 1,0-1,1 0,-1 0,1 0,-1 0,0 1,0-2,0 1,1 0,-1 0,0 0,0 0,-1-1,1 1,0-1,0 1,-1 0,1-1,0 1,-1-1,0 0,1 1,-1-1,0 1,0-1,0 1,0-1,0-3,0 2,0 1,-1-1,1 0,-1 0,0 0,1 0,-1 1,0-1,-1 0,1 1,0-1,-1 1,0 0,1-1,-1 1,0 0,0 0,0 0,0 0,-1 0,1 1,-3-3,-31-4,19 7</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9.116"/>
    </inkml:context>
    <inkml:brush xml:id="br0">
      <inkml:brushProperty name="width" value="0.025" units="cm"/>
      <inkml:brushProperty name="height" value="0.025" units="cm"/>
      <inkml:brushProperty name="ignorePressure" value="1"/>
    </inkml:brush>
  </inkml:definitions>
  <inkml:trace contextRef="#ctx0" brushRef="#br0">0 20,'7'-3,"5"-2,4 1,3 1,1 0,1 2,-4 0</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41.048"/>
    </inkml:context>
    <inkml:brush xml:id="br0">
      <inkml:brushProperty name="width" value="0.025" units="cm"/>
      <inkml:brushProperty name="height" value="0.025" units="cm"/>
      <inkml:brushProperty name="ignorePressure" value="1"/>
    </inkml:brush>
  </inkml:definitions>
  <inkml:trace contextRef="#ctx0" brushRef="#br0">55 0,'-3'7,"-1"5,0 4,0 3,2 1,-3-3,0 0,1-1,0 1,2 0,-3 2,0-1,1 2,0-4</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41.696"/>
    </inkml:context>
    <inkml:brush xml:id="br0">
      <inkml:brushProperty name="width" value="0.025" units="cm"/>
      <inkml:brushProperty name="height" value="0.025" units="cm"/>
      <inkml:brushProperty name="ignorePressure" value="1"/>
    </inkml:brush>
  </inkml:definitions>
  <inkml:trace contextRef="#ctx0" brushRef="#br0">1 23,'562'-15,"-529"12,-9 0,1 2,0 0,0 1,40 7,-48-3</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3.655"/>
    </inkml:context>
    <inkml:brush xml:id="br0">
      <inkml:brushProperty name="width" value="0.025" units="cm"/>
      <inkml:brushProperty name="height" value="0.025" units="cm"/>
      <inkml:brushProperty name="ignorePressure" value="1"/>
    </inkml:brush>
  </inkml:definitions>
  <inkml:trace contextRef="#ctx0" brushRef="#br0">152 16,'-5'-1,"0"0,0 0,0 0,-1 1,1 0,0 0,0 0,-1 0,1 1,0 0,0 0,0 1,0-1,0 1,0 0,0 1,-6 3,8-5,-1 1,1-1,0 1,0 0,0 0,0 0,0 0,1 1,-1-1,1 1,-1-1,1 1,0 0,0 0,0 0,0 0,1 0,-1 1,1-1,0 0,0 1,0-1,0 1,1-1,-1 1,1 3,1-5,0 0,0 0,0 0,0 0,0-1,0 1,0 0,1-1,-1 1,0-1,1 1,0-1,-1 0,1 0,0 0,0 0,-1 0,1 0,0 0,0 0,2 0,51 11,-33-8,-14-2,-1 0,0 0,0 1,0 0,0 0,0 0,-1 1,1 0,-1 0,10 10,-14-12,-1 0,1 0,-1 0,0 1,1-1,-1 0,0 1,0-1,-1 1,1-1,0 1,-1-1,1 1,-1-1,0 1,0 0,0-1,0 1,-1-1,1 1,-1 0,1-1,-1 1,0-1,0 0,0 1,0-1,-1 0,1 1,-1-1,1 0,-1 0,-3 3,1 0,-1-1,1 0,-1 0,0 0,0-1,0 1,0-1,0-1,-7 4,11-6,0 1,0-1,-1 1,1-1,0 0,0 1,0-1,0 0,0 0,0 0,-1 0,1 0,0 0,0 0,0 0,0 0,0 0,-1-1,1 1,0 0,0-1,0 1,0-1,0 1,0-1,0 0,0 1,0-1,1 0,-1 0,0 0,0 0,1 1,-1-1,0 0,1 0,-1 0,1 0,-1-1,1 1,-1 0,1 0,0 0,0 0,0 0,-1 0,1-1,0 1,1 0,-1 0,0 0,0 0,1-3,1-4,0 1,1-1,0 0,0 1,1-1,0 1,1 0,-1 0,1 1,0-1,11-9,-7 6,-1 1,0-1,-1 0,0-1,10-21,-16 29,-1 1,1-1,0 0,-1 0,1 0,-1 0,0 0,0 0,0 0,-1 0,1 0,-1 0,0 0,1 0,-1 1,0-1,-1 0,1 0,0 1,-1-1,0 1,1-1,-1 1,0 0,0 0,0 0,-1 0,1 0,-3-2,-1 1,1-1,-1 1,0 0,-1 1,1-1,0 1,-9-1,6 0,-8-1</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4.549"/>
    </inkml:context>
    <inkml:brush xml:id="br0">
      <inkml:brushProperty name="width" value="0.025" units="cm"/>
      <inkml:brushProperty name="height" value="0.025" units="cm"/>
      <inkml:brushProperty name="ignorePressure" value="1"/>
    </inkml:brush>
  </inkml:definitions>
  <inkml:trace contextRef="#ctx0" brushRef="#br0">9 4,'0'-3,"0"5,0 9,0 6,0 4,0 1,0 0,0 0,0-1,0 0,0-1,-3-4,-1-1,3 1,2-4</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5.049"/>
    </inkml:context>
    <inkml:brush xml:id="br0">
      <inkml:brushProperty name="width" value="0.025" units="cm"/>
      <inkml:brushProperty name="height" value="0.025" units="cm"/>
      <inkml:brushProperty name="ignorePressure" value="1"/>
    </inkml:brush>
  </inkml:definitions>
  <inkml:trace contextRef="#ctx0" brushRef="#br0">0 1,'7'0,"5"0,7 0,4 0,1 0,0 0,-1 0,2 0,1 0,2 0,-1 0,2 0,0 0,-3 0,-4 0</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5.764"/>
    </inkml:context>
    <inkml:brush xml:id="br0">
      <inkml:brushProperty name="width" value="0.025" units="cm"/>
      <inkml:brushProperty name="height" value="0.025" units="cm"/>
      <inkml:brushProperty name="ignorePressure" value="1"/>
    </inkml:brush>
  </inkml:definitions>
  <inkml:trace contextRef="#ctx0" brushRef="#br0">59 0,'-3'5,"0"0,0 0,1 0,-1 1,1-1,1 1,-1-1,1 1,0 0,0-1,0 1,1 0,0 0,1 9,-3 28,-9 11,-11 70,20-109</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6.253"/>
    </inkml:context>
    <inkml:brush xml:id="br0">
      <inkml:brushProperty name="width" value="0.025" units="cm"/>
      <inkml:brushProperty name="height" value="0.025" units="cm"/>
      <inkml:brushProperty name="ignorePressure" value="1"/>
    </inkml:brush>
  </inkml:definitions>
  <inkml:trace contextRef="#ctx0" brushRef="#br0">1 78,'52'-3,"76"-13,2 0,260-25,-372 40</inkml:trace>
</inkml:ink>
</file>

<file path=ppt/ink/ink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7.484"/>
    </inkml:context>
    <inkml:brush xml:id="br0">
      <inkml:brushProperty name="width" value="0.025" units="cm"/>
      <inkml:brushProperty name="height" value="0.025" units="cm"/>
      <inkml:brushProperty name="ignorePressure" value="1"/>
    </inkml:brush>
  </inkml:definitions>
  <inkml:trace contextRef="#ctx0" brushRef="#br0">261 35,'1'-1,"0"-1,0 1,0 0,0-1,0 1,1 0,-1 0,0 0,1 0,-1 0,1 0,-1 0,1 0,0 1,-1-1,1 0,0 1,-1 0,1-1,0 1,0 0,-1 0,4 0,21-8,-28 3,-10 3,-12 1,10 4,-1 0,0 0,1 2,0 0,0 0,1 2,-1-1,1 2,1 0,-1 0,-20 20,32-27,1-1,-1 1,1 0,-1-1,1 1,0 0,-1 0,1-1,0 1,0 0,0 0,0 0,-1 0,1-1,0 1,0 0,1 0,-1 0,0-1,0 1,0 0,0 0,1 0,-1-1,0 1,1 0,-1 0,1-1,-1 1,1 0,-1-1,1 1,-1-1,1 1,0 0,-1-1,1 1,0-1,-1 0,2 1,38 22,-23-15,-15-7,0 0,0 0,0 1,0-1,-1 0,1 0,0 1,-1-1,0 1,1 0,-1-1,0 1,0 0,1 0,-1 0,-1 0,1-1,0 2,0-1,-1 0,1 0,-1 0,0 3,0-3,-1 0,0 1,0-1,0 0,0 0,0 0,0 0,0 0,-1 0,1 0,-1 0,0-1,1 1,-1-1,0 1,0-1,-3 2,-5 3,-1 0,1-1,-2 0,1-1,0 0,-1-1,-13 2,-21-2,25-2</inkml:trace>
</inkml:ink>
</file>

<file path=ppt/ink/ink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8.112"/>
    </inkml:context>
    <inkml:brush xml:id="br0">
      <inkml:brushProperty name="width" value="0.025" units="cm"/>
      <inkml:brushProperty name="height" value="0.025" units="cm"/>
      <inkml:brushProperty name="ignorePressure" value="1"/>
    </inkml:brush>
  </inkml:definitions>
  <inkml:trace contextRef="#ctx0" brushRef="#br0">78 37,'-1'-1,"1"1,-1 0,1-1,-1 1,1 0,-1-1,1 1,-1 0,1 0,-1-1,1 1,-1 0,1 0,-1 0,0 0,1 0,-1 0,1 0,-1 0,1 0,-1 0,0 0,1 0,-1 0,1 1,-1-1,1 0,-1 0,1 0,-1 1,1-1,-1 0,1 1,-1-1,1 1,-1-1,1 0,0 1,-1 0,-24 14,23-13,-1 0,1 1,-1-1,1 1,0-1,0 1,0 0,0-1,0 1,1 0,-1 0,1 0,0 1,0-1,0 0,0 0,0 1,1-1,0 0,-1 1,1-1,0 0,1 1,-1-1,1 1,-1-1,1 0,0 0,0 0,1 1,-1-1,1 0,-1 0,1-1,3 5,-2-3,0 0,0 0,0-1,1 0,-1 1,1-1,0-1,0 1,0 0,0-1,0 0,1 0,-1 0,1-1,-1 1,1-1,0 0,-1-1,1 1,0-1,0 0,-1 0,1 0,0 0,5-2,-6 1,-1 0,1 0,-1 0,0-1,1 1,-1-1,0 0,0 0,0 0,0 0,-1 0,1-1,-1 1,1-1,-1 1,0-1,0 0,0 0,0 0,0 0,-1-1,0 1,1 0,-1-1,0 1,0-6,0 4,-1 0,0 0,-1 0,1 1,-1-1,0 0,0 0,-1 1,1-1,-1 0,0 1,0 0,-1-1,1 1,-1 0,0 0,0 0,-6-5,3 4,-1-1,0 2,0-1,0 1,0 0,-1 0,1 1,-1 0,0 1,0 0,-10-2,0 1</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7:22.645"/>
    </inkml:context>
    <inkml:brush xml:id="br0">
      <inkml:brushProperty name="width" value="0.025" units="cm"/>
      <inkml:brushProperty name="height" value="0.025" units="cm"/>
      <inkml:brushProperty name="ignorePressure" value="1"/>
    </inkml:brush>
  </inkml:definitions>
  <inkml:trace contextRef="#ctx0" brushRef="#br0">18 1,'0'3,"-3"4,-1 5,-1 4,2 1,0-1</inkml:trace>
</inkml:ink>
</file>

<file path=ppt/ink/ink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0.105"/>
    </inkml:context>
    <inkml:brush xml:id="br0">
      <inkml:brushProperty name="width" value="0.025" units="cm"/>
      <inkml:brushProperty name="height" value="0.025" units="cm"/>
      <inkml:brushProperty name="ignorePressure" value="1"/>
    </inkml:brush>
  </inkml:definitions>
  <inkml:trace contextRef="#ctx0" brushRef="#br0">211 0,'-2'1,"-1"0,0 1,1-1,0 1,-1 0,1-1,0 1,0 0,0 0,0 0,0 1,-3 3,-4 5,-24 19,0 0,-58 68,90-97,0 1,0-1,0 0,0 1,0-1,0 1,0-1,0 1,1-1,-1 1,1-1,-1 1,1 0,-1-1,1 1,0 0,0-1,0 1,0 0,0-1,0 1,1 2,0-3,0 1,0-1,0 0,0 0,0 0,1 1,-1-1,0 0,0 0,1-1,-1 1,1 0,-1 0,1-1,-1 1,1-1,0 1,2-1,11 2,0 0,0-1,30-3,-33 2,103 0,44-3,-142 0,-5-1</inkml:trace>
</inkml:ink>
</file>

<file path=ppt/ink/ink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0.891"/>
    </inkml:context>
    <inkml:brush xml:id="br0">
      <inkml:brushProperty name="width" value="0.025" units="cm"/>
      <inkml:brushProperty name="height" value="0.025" units="cm"/>
      <inkml:brushProperty name="ignorePressure" value="1"/>
    </inkml:brush>
  </inkml:definitions>
  <inkml:trace contextRef="#ctx0" brushRef="#br0">32 0,'0'3,"0"5,0 4,0 3,0 2,0 3,0 0,0 0,-3 0,-1 0,-1 0,2 0,0-1,2 1,-3-4,-1-1,1-3</inkml:trace>
</inkml:ink>
</file>

<file path=ppt/ink/ink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2.637"/>
    </inkml:context>
    <inkml:brush xml:id="br0">
      <inkml:brushProperty name="width" value="0.025" units="cm"/>
      <inkml:brushProperty name="height" value="0.025" units="cm"/>
      <inkml:brushProperty name="ignorePressure" value="1"/>
    </inkml:brush>
  </inkml:definitions>
  <inkml:trace contextRef="#ctx0" brushRef="#br0">1 0,'3'7,"1"5,1 4,-2 3,-4-2,-2-1,0 0,0 2,0-4</inkml:trace>
</inkml:ink>
</file>

<file path=ppt/ink/ink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4.452"/>
    </inkml:context>
    <inkml:brush xml:id="br0">
      <inkml:brushProperty name="width" value="0.025" units="cm"/>
      <inkml:brushProperty name="height" value="0.025" units="cm"/>
      <inkml:brushProperty name="ignorePressure" value="1"/>
    </inkml:brush>
  </inkml:definitions>
  <inkml:trace contextRef="#ctx0" brushRef="#br0">0 0,'4'0,"4"0,7 0,1 0</inkml:trace>
</inkml:ink>
</file>

<file path=ppt/ink/ink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4.788"/>
    </inkml:context>
    <inkml:brush xml:id="br0">
      <inkml:brushProperty name="width" value="0.025" units="cm"/>
      <inkml:brushProperty name="height" value="0.025" units="cm"/>
      <inkml:brushProperty name="ignorePressure" value="1"/>
    </inkml:brush>
  </inkml:definitions>
  <inkml:trace contextRef="#ctx0" brushRef="#br0">0 1,'7'0,"8"0,6 0,2 0,0 0,0 0,-1 0,0 0,-2 0,0 0,-4 0</inkml:trace>
</inkml:ink>
</file>

<file path=ppt/ink/ink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6.638"/>
    </inkml:context>
    <inkml:brush xml:id="br0">
      <inkml:brushProperty name="width" value="0.025" units="cm"/>
      <inkml:brushProperty name="height" value="0.025" units="cm"/>
      <inkml:brushProperty name="ignorePressure" value="1"/>
    </inkml:brush>
  </inkml:definitions>
  <inkml:trace contextRef="#ctx0" brushRef="#br0">0 59,'0'-4,"0"-3,4-2,4 2,4 1,3 2,2-2,2 1,1 0,1 2,-5 1</inkml:trace>
</inkml:ink>
</file>

<file path=ppt/ink/ink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8.614"/>
    </inkml:context>
    <inkml:brush xml:id="br0">
      <inkml:brushProperty name="width" value="0.025" units="cm"/>
      <inkml:brushProperty name="height" value="0.025" units="cm"/>
      <inkml:brushProperty name="ignorePressure" value="1"/>
    </inkml:brush>
  </inkml:definitions>
  <inkml:trace contextRef="#ctx0" brushRef="#br0">398 0,'-182'165,"62"-61,85-77,28-23,0 1,1 0,-1 0,1 1,0 0,0 0,-6 8,12-13,0-1,-1 1,1 0,-1 0,1-1,0 1,0 0,-1 0,1 0,0 0,0-1,0 1,0 0,0 0,0 0,0 0,0 0,0-1,0 1,1 0,-1 0,0 0,1-1,-1 1,0 0,1 0,-1-1,2 2,23 14,36-1,87-5,-30-3,79 1,-179-8</inkml:trace>
</inkml:ink>
</file>

<file path=ppt/ink/ink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9.232"/>
    </inkml:context>
    <inkml:brush xml:id="br0">
      <inkml:brushProperty name="width" value="0.025" units="cm"/>
      <inkml:brushProperty name="height" value="0.025" units="cm"/>
      <inkml:brushProperty name="ignorePressure" value="1"/>
    </inkml:brush>
  </inkml:definitions>
  <inkml:trace contextRef="#ctx0" brushRef="#br0">214 1,'-115'309,"59"-142,43-131,-14 59,25-81</inkml:trace>
</inkml:ink>
</file>

<file path=ppt/ink/ink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0.362"/>
    </inkml:context>
    <inkml:brush xml:id="br0">
      <inkml:brushProperty name="width" value="0.025" units="cm"/>
      <inkml:brushProperty name="height" value="0.025" units="cm"/>
      <inkml:brushProperty name="ignorePressure" value="1"/>
    </inkml:brush>
  </inkml:definitions>
  <inkml:trace contextRef="#ctx0" brushRef="#br0">1 235,'277'-20,"-77"2,712-37,199-11,259 31,-1114 25,3 0,263 11,-442-12,-6 1,-57 10</inkml:trace>
</inkml:ink>
</file>

<file path=ppt/ink/ink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2.830"/>
    </inkml:context>
    <inkml:brush xml:id="br0">
      <inkml:brushProperty name="width" value="0.025" units="cm"/>
      <inkml:brushProperty name="height" value="0.025" units="cm"/>
      <inkml:brushProperty name="ignorePressure" value="1"/>
    </inkml:brush>
  </inkml:definitions>
  <inkml:trace contextRef="#ctx0" brushRef="#br0">131 1,'-8'2,"1"1,0 0,0 1,0-1,0 2,1-1,0 1,0-1,0 2,-7 7,8-7,0 0,0 0,0 0,1 1,0 0,1 0,-1 0,1 0,1 0,-1 1,1-1,0 1,0 11,1-16,1 1,0-1,0 0,0 0,1 0,-1 0,1 0,-1 0,1 0,0 0,0 0,1 0,-1 0,0 0,1-1,0 1,0 0,0-1,0 0,0 1,0-1,0 0,1 0,-1 0,1 0,0-1,-1 1,1-1,0 0,0 1,0-1,0-1,0 1,0 0,6 0,-3 0,0-1,-1 0,1 0,0 0,0-1,0 0,-1 0,1 0,0-1,-1 1,1-1,-1-1,0 1,8-6,-11 7,0-1,1 1,-1-1,-1 0,1 0,0 0,0 0,-1 0,1 0,-1 0,0 0,1-1,-1 1,0-1,0 1,-1-1,1 1,-1-1,1 1,-1-1,0 0,0 1,0-1,0 1,0-1,0 0,-1 1,1-1,-1 1,0-1,0 1,0-1,0 1,-2-3,1 2,0 0,0 0,-1 0,1 0,-1 0,1 1,-1-1,0 1,0 0,0 0,0 0,-1 0,1 1,-1-1,1 1,-1 0,1 0,-1 0,-5-1,-8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08.773"/>
    </inkml:context>
    <inkml:brush xml:id="br0">
      <inkml:brushProperty name="width" value="0.025" units="cm"/>
      <inkml:brushProperty name="height" value="0.025" units="cm"/>
      <inkml:brushProperty name="ignorePressure" value="1"/>
    </inkml:brush>
  </inkml:definitions>
  <inkml:trace contextRef="#ctx0" brushRef="#br0">35 1,'4'2,"1"1,-1-1,0 0,1-1,0 1,-1-1,7 1,-3 0,0 0,0 0,-1 1,1 0,9 5,-16-7,0 0,0-1,0 1,0 0,0 0,0 0,-1 0,1 0,0 0,-1 0,1 0,0 0,-1 0,1 0,-1 0,0 0,1 0,-1 0,0 1,0-1,0 0,1 0,-1 0,0 1,-1-1,1 0,0 0,0 0,0 1,-1-1,1 0,-1 0,1 0,-1 0,1 0,-1 0,0 0,1 0,-1 0,-1 1,-1 1,0 1,0-1,-1 0,1 0,-1-1,1 1,-1-1,0 1,-6 1,6-2,1 0,-1 0,0 0,1 0,-1 1,1 0,-6 5,48 8,-38-16,1 1,0 0,-1 0,1 0,-1 0,0 0,1 0,-1 0,0 0,0 0,1 1,-1-1,0 0,0 1,-1-1,1 1,0 0,0-1,-1 1,1-1,-1 1,1 0,-1 0,0-1,0 1,1 0,-1-1,0 1,-1 0,1 0,0-1,0 1,-1 0,1-1,-1 1,0 0,1-1,-1 1,0-1,0 1,0-1,0 1,0-1,0 0,-3 2,0 1,-1 0,1 0,-1-1,0 0,0 0,-1 0,1-1,-1 1,1-1,-1-1,0 1,-8 0,-5 0,1-2</inkml:trace>
</inkml:ink>
</file>

<file path=ppt/ink/ink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3.681"/>
    </inkml:context>
    <inkml:brush xml:id="br0">
      <inkml:brushProperty name="width" value="0.025" units="cm"/>
      <inkml:brushProperty name="height" value="0.025" units="cm"/>
      <inkml:brushProperty name="ignorePressure" value="1"/>
    </inkml:brush>
  </inkml:definitions>
  <inkml:trace contextRef="#ctx0" brushRef="#br0">8 0,'-3'0,"-2"0</inkml:trace>
</inkml:ink>
</file>

<file path=ppt/ink/ink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4.560"/>
    </inkml:context>
    <inkml:brush xml:id="br0">
      <inkml:brushProperty name="width" value="0.025" units="cm"/>
      <inkml:brushProperty name="height" value="0.025" units="cm"/>
      <inkml:brushProperty name="ignorePressure" value="1"/>
    </inkml:brush>
  </inkml:definitions>
  <inkml:trace contextRef="#ctx0" brushRef="#br0">131 2,'0'-1,"1"1,-1 0,0 0,0 0,1 0,-1 0,0 0,1 0,-1 0,0 0,1 0,-1 0,0 0,1 0,-1 0,0 0,0 0,1 0,-1 0,0 0,1 0,-1 0,0 1,0-1,1 0,-1 0,0 0,0 0,1 1,-1-1,0 0,0 0,0 1,1-1,-1 0,0 0,0 1,0-1,0 0,0 0,0 1,1-1,-1 0,0 1,0-1,0 1,-12 12,-22 10,27-19,-1 0,1 1,0-1,1 2,-1-1,1 1,-7 7,13-11,-1-1,0 0,0 1,1-1,-1 0,1 1,-1-1,1 1,-1-1,1 0,0 1,0-1,0 1,0-1,0 1,0-1,0 1,1 2,0-2,0 1,0-1,0 1,1-1,0 0,-1 0,1 0,0 1,0-2,0 1,0 0,0 0,4 2,17 10,25 18,-45-31,-1 1,0 0,0 0,1 0,-1 0,-1 1,1-1,0 1,-1-1,1 1,-1-1,1 1,-1 0,1 4,-2-5,0 0,-1 0,1 0,-1 0,1 0,-1 0,0 0,1-1,-1 1,0 0,0 0,0-1,-1 1,1 0,0-1,-1 1,1-1,-1 0,1 1,-1-1,0 0,1 0,-1 0,0 0,0 0,0-1,0 1,0 0,0-1,0 0,-2 1,-9 2,0 0,-1 0,-15 0,6-2,2-1</inkml:trace>
</inkml:ink>
</file>

<file path=ppt/ink/ink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5.377"/>
    </inkml:context>
    <inkml:brush xml:id="br0">
      <inkml:brushProperty name="width" value="0.025" units="cm"/>
      <inkml:brushProperty name="height" value="0.025" units="cm"/>
      <inkml:brushProperty name="ignorePressure" value="1"/>
    </inkml:brush>
  </inkml:definitions>
  <inkml:trace contextRef="#ctx0" brushRef="#br0">0 21,'10'0,"7"0,3 0,-1-3,-1-1,0-1,0 2,1 0,3 2,1 0,-3 1</inkml:trace>
</inkml:ink>
</file>

<file path=ppt/ink/ink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6.829"/>
    </inkml:context>
    <inkml:brush xml:id="br0">
      <inkml:brushProperty name="width" value="0.025" units="cm"/>
      <inkml:brushProperty name="height" value="0.025" units="cm"/>
      <inkml:brushProperty name="ignorePressure" value="1"/>
    </inkml:brush>
  </inkml:definitions>
  <inkml:trace contextRef="#ctx0" brushRef="#br0">78 1,'-3'6,"-2"6,1 5,1 1,-3 2,0 1,1 0,1-1,-2-3,1-1,0-1,2 1,-3 1,0 1,2 1,0 0,2-3</inkml:trace>
</inkml:ink>
</file>

<file path=ppt/ink/ink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7.244"/>
    </inkml:context>
    <inkml:brush xml:id="br0">
      <inkml:brushProperty name="width" value="0.025" units="cm"/>
      <inkml:brushProperty name="height" value="0.025" units="cm"/>
      <inkml:brushProperty name="ignorePressure" value="1"/>
    </inkml:brush>
  </inkml:definitions>
  <inkml:trace contextRef="#ctx0" brushRef="#br0">1 1,'6'0,"6"0,5 0,1 0,2 0,1 0,-1 0,1 0,-1 0,0 0,0 0,0 0,-4 0</inkml:trace>
</inkml:ink>
</file>

<file path=ppt/ink/ink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7.987"/>
    </inkml:context>
    <inkml:brush xml:id="br0">
      <inkml:brushProperty name="width" value="0.025" units="cm"/>
      <inkml:brushProperty name="height" value="0.025" units="cm"/>
      <inkml:brushProperty name="ignorePressure" value="1"/>
    </inkml:brush>
  </inkml:definitions>
  <inkml:trace contextRef="#ctx0" brushRef="#br0">58 29,'-6'7,"0"0,1 0,-1 1,1 0,1 0,0 0,0 0,0 1,1-1,1 1,-1 0,2 0,-1 0,1 1,0 10,1-16,0 0,0 0,0 0,1 0,-1 0,1 0,0 0,0 0,1-1,-1 1,1 0,0-1,0 1,0-1,0 0,1 0,-1 1,1-2,0 1,-1 0,2 0,-1-1,0 0,0 0,1 1,-1-2,1 1,0 0,-1-1,1 0,0 0,0 0,0 0,0-1,0 1,4-1,-2 0,0 1,1-1,-1-1,0 1,0-1,1 0,-1 0,0-1,0 0,0 0,-1-1,1 1,0-1,-1 0,7-6,-8 6,0-1,-1 0,1 0,-1 0,0-1,0 1,-1-1,1 1,-1-1,0 0,0 0,-1 0,0 0,0-1,0 1,0 0,-1 0,0-8,1 6,-1 0,-1 0,0 0,0 1,0-1,0 0,-1 0,0 1,-1-1,0 1,0-1,0 1,-1 0,1 0,-1 1,-1-1,1 1,-1 0,-11-9,1 3</inkml:trace>
</inkml:ink>
</file>

<file path=ppt/ink/ink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8.325"/>
    </inkml:context>
    <inkml:brush xml:id="br0">
      <inkml:brushProperty name="width" value="0.025" units="cm"/>
      <inkml:brushProperty name="height" value="0.025" units="cm"/>
      <inkml:brushProperty name="ignorePressure" value="1"/>
    </inkml:brush>
  </inkml:definitions>
  <inkml:trace contextRef="#ctx0" brushRef="#br0">1 1,'0'0</inkml:trace>
</inkml:ink>
</file>

<file path=ppt/ink/ink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9.107"/>
    </inkml:context>
    <inkml:brush xml:id="br0">
      <inkml:brushProperty name="width" value="0.025" units="cm"/>
      <inkml:brushProperty name="height" value="0.025" units="cm"/>
      <inkml:brushProperty name="ignorePressure" value="1"/>
    </inkml:brush>
  </inkml:definitions>
  <inkml:trace contextRef="#ctx0" brushRef="#br0">26 29,'2'-3,"0"1,1-1,0 1,-1 0,1 0,0 0,0 0,0 1,0-1,0 1,0-1,1 1,-1 0,0 0,1 1,-1-1,1 1,-1 0,0 0,1 0,-1 0,1 0,-1 1,1-1,-1 1,0 0,1 0,-1 1,0-1,0 0,0 1,0 0,0 0,0 0,-1 0,1 0,0 1,-1-1,0 1,0-1,0 1,0 0,0 0,0 0,-1 0,1 0,-1 1,0-1,0 0,0 1,0-1,-1 0,0 1,1-1,-1 1,0-1,-1 1,1-1,0 0,-1 1,0-1,0 0,0 1,0-1,-3 4,-1 2,0 0,-1 0,0-1,-1 0,1 0,-2 0,1-1,-1 0,0 0,-10 5,7-4,0 1,0 0,1 0,-14 18,24-27,0 1,-1-1,1 1,-1 0,1-1,0 1,-1-1,1 1,0 0,0-1,-1 1,1 0,0-1,0 1,0 0,0-1,0 1,0 0,0 0,0-1,0 1,0 0,1-1,-1 1,0 0,0-1,1 1,-1 0,0-1,1 2,21 11,32-1,-41-11,1-1,-1-1,0 0,1 0,13-5,38-3,-48 9</inkml:trace>
</inkml:ink>
</file>

<file path=ppt/ink/ink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0.153"/>
    </inkml:context>
    <inkml:brush xml:id="br0">
      <inkml:brushProperty name="width" value="0.025" units="cm"/>
      <inkml:brushProperty name="height" value="0.025" units="cm"/>
      <inkml:brushProperty name="ignorePressure" value="1"/>
    </inkml:brush>
  </inkml:definitions>
  <inkml:trace contextRef="#ctx0" brushRef="#br0">250 1,'22'8,"-8"0,-37 3,-26 4,32-12,0 2,1 0,0 1,0 0,0 2,1 0,0 0,-27 22,41-30,0 1,1 0,-1-1,1 1,-1 0,1 0,-1-1,1 1,0 0,-1 0,1 0,0 0,0 0,-1-1,1 1,0 0,0 0,0 0,0 0,0 0,0 0,1 0,-1 0,0 0,0-1,1 1,-1 0,0 0,1 0,-1 0,1-1,-1 1,1 0,-1 0,1-1,0 1,-1 0,1-1,0 1,-1-1,1 1,0-1,0 1,0-1,-1 0,1 1,1-1,55 27,-38-20,-15-5,0 0,0 1,0-1,0 1,-1 0,1 0,-1 0,0 0,0 1,0-1,0 1,2 4,-4-7,-1 1,1-1,-1 1,0 0,0-1,0 1,0 0,0-1,0 1,0 0,0-1,0 1,-1 0,1-1,-1 1,0-1,1 1,-1-1,0 1,0-1,0 1,0-1,0 0,0 0,0 1,0-1,0 0,-1 0,1 0,0 0,-1 0,1-1,-1 1,1 0,-1-1,-1 1,-8 4,1 0,-1-1,0 0,-1-1,1 0,0-1,-1-1,0 1,-20-2,15 0</inkml:trace>
</inkml:ink>
</file>

<file path=ppt/ink/ink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0.660"/>
    </inkml:context>
    <inkml:brush xml:id="br0">
      <inkml:brushProperty name="width" value="0.025" units="cm"/>
      <inkml:brushProperty name="height" value="0.025" units="cm"/>
      <inkml:brushProperty name="ignorePressure" value="1"/>
    </inkml:brush>
  </inkml:definitions>
  <inkml:trace contextRef="#ctx0" brushRef="#br0">56 1,'0'3,"-3"5,-2 4,1 3,1 2,1 2,-3-2,0-1,0 0,2 1,0 0,-1 1,-1 1,0 0,2-3</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09.737"/>
    </inkml:context>
    <inkml:brush xml:id="br0">
      <inkml:brushProperty name="width" value="0.025" units="cm"/>
      <inkml:brushProperty name="height" value="0.025" units="cm"/>
      <inkml:brushProperty name="ignorePressure" value="1"/>
    </inkml:brush>
  </inkml:definitions>
  <inkml:trace contextRef="#ctx0" brushRef="#br0">56 5,'-4'2,"0"1,0 0,0 0,0 0,1 1,0-1,-1 1,1 0,0-1,1 2,-1-1,1 0,0 0,0 1,0-1,1 1,-2 7,2-10,1 0,-1 0,1 0,0 0,0 1,0-1,0 0,0 0,1 0,-1 0,1 0,-1 0,1 0,0 0,-1 0,1 0,0 0,0 0,1 0,-1-1,0 1,1 0,-1-1,1 1,-1-1,1 0,0 1,-1-1,1 0,0 0,0 0,0 0,0-1,0 1,0 0,0-1,0 1,0-1,0 0,0 0,3 0,0 0,0 0,1-1,-1 0,0 0,0 0,0-1,0 1,0-1,0-1,0 1,-1-1,1 1,-1-1,1-1,4-4,-6 6,-1 1,0-1,0 0,0 0,0 0,0 0,-1-1,1 1,-1 0,1-1,-1 1,0-1,0 1,0-1,0 0,0 1,-1-1,1 0,-1 1,0-1,0 0,0 0,0 0,0 1,-1-1,1 0,-1 0,1 1,-1-1,-2-3,0 3,1 1,-1-1,0 1,-1 0,1 0,0 0,-1 0,1 0,-1 1,1 0,-1 0,0 0,0 0,1 0,-1 1,0 0,0-1,0 1,0 1,-3 0,6-1,-16 0</inkml:trace>
</inkml:ink>
</file>

<file path=ppt/ink/ink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0.990"/>
    </inkml:context>
    <inkml:brush xml:id="br0">
      <inkml:brushProperty name="width" value="0.025" units="cm"/>
      <inkml:brushProperty name="height" value="0.025" units="cm"/>
      <inkml:brushProperty name="ignorePressure" value="1"/>
    </inkml:brush>
  </inkml:definitions>
  <inkml:trace contextRef="#ctx0" brushRef="#br0">0 36,'10'0,"7"0,3 0,2 0,0-3,1-1,-2-1,0 2,-1 0,0 2,0 0,-1 1,0 0,0 0,1-3,-1-2,0 1,-2 1</inkml:trace>
</inkml:ink>
</file>

<file path=ppt/ink/ink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8.852"/>
    </inkml:context>
    <inkml:brush xml:id="br0">
      <inkml:brushProperty name="width" value="0.025" units="cm"/>
      <inkml:brushProperty name="height" value="0.025" units="cm"/>
      <inkml:brushProperty name="ignorePressure" value="1"/>
    </inkml:brush>
  </inkml:definitions>
  <inkml:trace contextRef="#ctx0" brushRef="#br0">77 23,'-3'0,"0"0,0 0,0 0,0 0,0 1,0-1,0 1,0 0,0 0,0 0,1 0,-1 1,0-1,1 1,-1-1,1 1,-1 0,1 0,0 0,0 0,0 0,0 1,0-1,1 1,-4 4,4-2,-1 0,1-1,0 1,0 0,0 0,1 0,0 0,0 0,0 0,0 0,1-1,0 1,0 0,3 8,-3-8,1 0,0 0,1-1,-1 1,1-1,0 1,0-1,0 0,0 0,1 0,0-1,-1 1,1-1,6 4,-7-5,0-1,0 0,1 1,-1-1,0 0,1-1,-1 1,0-1,1 1,-1-1,1 0,-1 0,1 0,-1-1,0 1,1-1,-1 0,0 0,1 0,-1 0,0-1,0 1,5-4,-4 2,-1 1,1 0,-1-1,0 1,0-1,0 0,-1 0,1 0,0 0,-1-1,0 1,0-1,0 0,0 1,-1-1,0 0,1 0,-1 0,-1 0,1 0,0 0,-1 0,0 0,0 0,0 0,-1 0,1 0,-1 0,0 0,0 0,-3-7,2 5,-1 1,1 0,-1 0,0 0,0 1,0-1,-1 1,0-1,0 1,0 1,0-1,-1 0,1 1,-1 0,0 0,0 0,0 1,0 0,-1 0,1 0,-1 0,-8-1,-3 2</inkml:trace>
</inkml:ink>
</file>

<file path=ppt/ink/ink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9.201"/>
    </inkml:context>
    <inkml:brush xml:id="br0">
      <inkml:brushProperty name="width" value="0.025" units="cm"/>
      <inkml:brushProperty name="height" value="0.025" units="cm"/>
      <inkml:brushProperty name="ignorePressure" value="1"/>
    </inkml:brush>
  </inkml:definitions>
  <inkml:trace contextRef="#ctx0" brushRef="#br0">1 0,'0'4,"0"0</inkml:trace>
</inkml:ink>
</file>

<file path=ppt/ink/ink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9.729"/>
    </inkml:context>
    <inkml:brush xml:id="br0">
      <inkml:brushProperty name="width" value="0.025" units="cm"/>
      <inkml:brushProperty name="height" value="0.025" units="cm"/>
      <inkml:brushProperty name="ignorePressure" value="1"/>
    </inkml:brush>
  </inkml:definitions>
  <inkml:trace contextRef="#ctx0" brushRef="#br0">21 0,'-3'7,"-2"5,1 3,0 4,2 1,0 0,2 1,-1 0,1-1,0 0,1 0,-1-1,0 1,0-4</inkml:trace>
</inkml:ink>
</file>

<file path=ppt/ink/ink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0.449"/>
    </inkml:context>
    <inkml:brush xml:id="br0">
      <inkml:brushProperty name="width" value="0.025" units="cm"/>
      <inkml:brushProperty name="height" value="0.025" units="cm"/>
      <inkml:brushProperty name="ignorePressure" value="1"/>
    </inkml:brush>
  </inkml:definitions>
  <inkml:trace contextRef="#ctx0" brushRef="#br0">7 1,'3'0,"0"0,0 0,0 0,-1 0,1 0,0 1,0-1,0 1,-1 0,1 0,0 0,-1 0,1 0,-1 0,1 1,-1 0,1-1,-1 1,0 0,0 0,0 0,3 4,-4-3,0-1,0 1,-1 1,1-1,-1 0,1 0,-1 0,0 0,0 0,0 0,-1 0,1 0,-1 0,1 1,-1-2,0 1,0 0,-1 0,1 0,-3 4,-22 29,22-32,0 1,0 0,1 0,-1 0,1 0,0 0,0 1,1-1,0 1,-2 6,4-11,0 0,1 0,-1 0,0 1,1-1,-1 0,1 0,-1 0,1 0,0 0,-1 0,1 0,0 0,0 0,0-1,-1 1,1 0,0 0,0-1,0 1,0 0,0-1,0 1,1-1,-1 0,0 1,0-1,0 0,0 0,1 1,-1-1,0 0,0 0,0 0,0 0,2-1,45-2,33-14,-63 15</inkml:trace>
</inkml:ink>
</file>

<file path=ppt/ink/ink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1.182"/>
    </inkml:context>
    <inkml:brush xml:id="br0">
      <inkml:brushProperty name="width" value="0.025" units="cm"/>
      <inkml:brushProperty name="height" value="0.025" units="cm"/>
      <inkml:brushProperty name="ignorePressure" value="1"/>
    </inkml:brush>
  </inkml:definitions>
  <inkml:trace contextRef="#ctx0" brushRef="#br0">121 7,'5'-1,"-10"-2,-17 0,19 4,-49 10,49-11,0 1,0 0,0 0,0 0,0 1,0-1,0 1,0-1,1 1,-1 0,1 0,-1 0,-2 4,5-5,0 0,-1 0,1 0,0 0,0 0,0 0,0 0,0 0,0 0,0 0,0 0,0 0,0 0,1 0,-1 0,0 0,1 0,-1 0,1 0,-1 0,1 0,-1 0,1-1,0 1,-1 0,1 0,0-1,0 1,0 0,0-1,-1 1,3 0,33 20,-31-18,10 4,-5-2,0 0,0 0,0 1,-1 0,15 13,-22-18,-1 1,1 0,0 0,-1 0,0 1,1-1,-1 0,0 0,0 1,0-1,0 0,-1 1,1-1,-1 1,1-1,-1 1,0-1,0 1,0 0,0-1,-1 1,1-1,-1 1,1-1,-1 0,0 1,0-1,0 1,0-1,0 0,-2 2,-1 2,0 0,0-1,0 0,-1 0,0 0,0 0,-1-1,1 0,-1 0,1 0,-13 5,3-2</inkml:trace>
</inkml:ink>
</file>

<file path=ppt/ink/ink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1.630"/>
    </inkml:context>
    <inkml:brush xml:id="br0">
      <inkml:brushProperty name="width" value="0.025" units="cm"/>
      <inkml:brushProperty name="height" value="0.025" units="cm"/>
      <inkml:brushProperty name="ignorePressure" value="1"/>
    </inkml:brush>
  </inkml:definitions>
  <inkml:trace contextRef="#ctx0" brushRef="#br0">21 0,'0'7,"0"5,-4 4,0 2,0 2,0 1,2 0,0-1,1 0,1 0,0 0,0 0,0-1,1-3</inkml:trace>
</inkml:ink>
</file>

<file path=ppt/ink/ink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1.945"/>
    </inkml:context>
    <inkml:brush xml:id="br0">
      <inkml:brushProperty name="width" value="0.025" units="cm"/>
      <inkml:brushProperty name="height" value="0.025" units="cm"/>
      <inkml:brushProperty name="ignorePressure" value="1"/>
    </inkml:brush>
  </inkml:definitions>
  <inkml:trace contextRef="#ctx0" brushRef="#br0">0 39,'7'0,"5"0,4-3,3-2,1 1,0 0,1 2,0-3,-1 0,0 0,0 2,-4 0</inkml:trace>
</inkml:ink>
</file>

<file path=ppt/ink/ink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0.273"/>
    </inkml:context>
    <inkml:brush xml:id="br0">
      <inkml:brushProperty name="width" value="0.025" units="cm"/>
      <inkml:brushProperty name="height" value="0.025" units="cm"/>
      <inkml:brushProperty name="ignorePressure" value="1"/>
    </inkml:brush>
  </inkml:definitions>
  <inkml:trace contextRef="#ctx0" brushRef="#br0">53 37,'-2'1,"-1"-1,1 0,-1 1,1 0,0-1,-1 1,1 0,0 0,0 1,0-1,0 0,0 1,0-1,0 1,0 0,0-1,1 1,-1 0,1 0,-1 0,1 0,0 0,0 1,0-1,0 0,0 0,0 1,1-1,-1 1,1-1,0 0,0 1,0 3,-1 1,0-1,1 1,1-1,-1 1,1-1,0 1,0-1,1 0,-1 1,2-1,4 11,-3-13,0 1,0-1,1 0,-1 0,1 0,0-1,0 0,0 0,1 0,-1 0,1-1,0 0,-1 0,1 0,0-1,0 0,0 0,0-1,0 1,0-1,9-1,-9 1,0-1,0 1,-1-1,1 0,0-1,-1 1,1-1,-1 0,1 0,-1-1,0 0,0 0,0 0,-1 0,1-1,-1 1,1-1,-1-1,0 1,-1 0,1-1,4-7,-7 8,0 0,-1 0,1 0,0 0,-1 0,0 0,0 0,0 0,-1 1,1-1,-1 0,0 0,0 0,0 0,-1 1,1-1,-1 0,0 1,0 0,0-1,0 1,-1 0,1 0,-1 0,0 0,-4-3,-3-2,1-1,-1 2,-1 0,1 0,-1 0,0 2,-14-6,7 5</inkml:trace>
</inkml:ink>
</file>

<file path=ppt/ink/ink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0.609"/>
    </inkml:context>
    <inkml:brush xml:id="br0">
      <inkml:brushProperty name="width" value="0.025" units="cm"/>
      <inkml:brushProperty name="height" value="0.025" units="cm"/>
      <inkml:brushProperty name="ignorePressure" value="1"/>
    </inkml:brush>
  </inkml:definitions>
  <inkml:trace contextRef="#ctx0" brushRef="#br0">0 1,'0'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0.938"/>
    </inkml:context>
    <inkml:brush xml:id="br0">
      <inkml:brushProperty name="width" value="0.025" units="cm"/>
      <inkml:brushProperty name="height" value="0.025" units="cm"/>
      <inkml:brushProperty name="ignorePressure" value="1"/>
    </inkml:brush>
  </inkml:definitions>
  <inkml:trace contextRef="#ctx0" brushRef="#br0">102 0,'-46'61,"0"1,45-62,1 0,-1 1,0-1,1 1,-1-1,1 1,-1-1,1 1,-1-1,1 1,-1 0,1-1,0 1,-1 0,1-1,0 1,0 0,-1 0,1-1,0 1,0 0,0-1,0 1,0 0,0 0,0-1,0 1,0 0,0 0,0-1,1 1,-1 0,1 1,0-1,1 0,-1 0,1 0,0 0,-1 0,1 0,0-1,0 1,0-1,-1 1,1-1,0 1,2-1,76 1,-68-2,48 0,-43 1</inkml:trace>
</inkml:ink>
</file>

<file path=ppt/ink/ink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1.477"/>
    </inkml:context>
    <inkml:brush xml:id="br0">
      <inkml:brushProperty name="width" value="0.025" units="cm"/>
      <inkml:brushProperty name="height" value="0.025" units="cm"/>
      <inkml:brushProperty name="ignorePressure" value="1"/>
    </inkml:brush>
  </inkml:definitions>
  <inkml:trace contextRef="#ctx0" brushRef="#br0">54 0,'-5'7,"-1"-1,1 1,0-1,1 1,0 1,0-1,0 1,1-1,0 1,1 0,0 0,0 1,-1 10,2-13,1-1,-1 1,1-1,0 1,1-1,-1 1,1-1,0 0,0 1,1-1,0 0,0 0,0 1,0-2,1 1,0 0,0 0,0-1,1 0,-1 1,6 3,-7-6,0 0,1-1,0 1,-1-1,1 1,0-1,0 0,-1 0,1 0,0 0,0-1,0 1,0-1,0 0,0 0,0 0,1 0,-1 0,0-1,0 1,0-1,-1 0,1 0,0 0,0 0,0 0,-1-1,1 1,0-1,-1 0,3-2,-1 1,-1 0,0 0,0-1,0 1,-1-1,1 1,-1-1,0 0,0 0,0 0,0 0,-1 0,0 0,0-1,0 1,0 0,0-1,-1 1,0-1,0 1,-1-5,-1 0,0 1,-1 0,0 0,-1 0,0 1,0-1,0 1,-1 0,0 0,-1 1,1-1,-1 1,-1 0,1 1,-1-1,0 1,0 1,-11-6,6 5</inkml:trace>
</inkml:ink>
</file>

<file path=ppt/ink/ink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2.124"/>
    </inkml:context>
    <inkml:brush xml:id="br0">
      <inkml:brushProperty name="width" value="0.025" units="cm"/>
      <inkml:brushProperty name="height" value="0.025" units="cm"/>
      <inkml:brushProperty name="ignorePressure" value="1"/>
    </inkml:brush>
  </inkml:definitions>
  <inkml:trace contextRef="#ctx0" brushRef="#br0">16 2,'2'0,"0"-1,0 1,-1 0,1 0,0 0,0 0,0 0,-1 0,1 1,0-1,0 0,-1 1,1 0,0-1,0 1,-1 0,1 0,-1 0,1 0,-1 0,1 0,-1 0,0 1,0-1,1 0,-1 1,0-1,0 1,0-1,-1 1,1 0,0-1,0 1,-1 0,1-1,-1 1,0 0,1 0,-1 0,0-1,0 1,0 0,0 0,-1 0,1-1,0 1,-1 0,1 0,-1-1,-1 4,-3 8,0-1,0 0,-2-1,1 1,-14 16,6-3,14-24,0-1,0 1,-1 0,1-1,0 1,0 0,0-1,0 1,0 0,0-1,0 1,1 0,-1-1,0 1,0-1,0 1,1 0,-1-1,0 1,1-1,-1 1,1 0,2 1,-1-1,1 0,0 1,0-1,-1 0,1-1,0 1,0 0,0-1,0 0,0 0,0 0,6 0,9 0,0-1,0-1,29-6,-29 4</inkml:trace>
</inkml:ink>
</file>

<file path=ppt/ink/ink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4.702"/>
    </inkml:context>
    <inkml:brush xml:id="br0">
      <inkml:brushProperty name="width" value="0.025" units="cm"/>
      <inkml:brushProperty name="height" value="0.025" units="cm"/>
      <inkml:brushProperty name="ignorePressure" value="1"/>
    </inkml:brush>
  </inkml:definitions>
  <inkml:trace contextRef="#ctx0" brushRef="#br0">1 1,'6'0,"7"0,3 0,2 0,2 0,1 0,0 0,-1 0,0 0,4 0,0 0,-1 0,-3 0</inkml:trace>
</inkml:ink>
</file>

<file path=ppt/ink/ink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5.898"/>
    </inkml:context>
    <inkml:brush xml:id="br0">
      <inkml:brushProperty name="width" value="0.025" units="cm"/>
      <inkml:brushProperty name="height" value="0.025" units="cm"/>
      <inkml:brushProperty name="ignorePressure" value="1"/>
    </inkml:brush>
  </inkml:definitions>
  <inkml:trace contextRef="#ctx0" brushRef="#br0">1 15,'10'0,"9"-3,6-1,1 0,-4 1</inkml:trace>
</inkml:ink>
</file>

<file path=ppt/ink/ink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7.881"/>
    </inkml:context>
    <inkml:brush xml:id="br0">
      <inkml:brushProperty name="width" value="0.025" units="cm"/>
      <inkml:brushProperty name="height" value="0.025" units="cm"/>
      <inkml:brushProperty name="ignorePressure" value="1"/>
    </inkml:brush>
  </inkml:definitions>
  <inkml:trace contextRef="#ctx0" brushRef="#br0">0 0,'4'0,"3"0,5 0,3 0,3 0,1 0,1 0,0 0,0 0,0 0,0 0,0 0,0 0,-1 0,1 0,-4 0</inkml:trace>
</inkml:ink>
</file>

<file path=ppt/ink/ink9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5:36:31.328"/>
    </inkml:context>
    <inkml:brush xml:id="br0">
      <inkml:brushProperty name="width" value="0.05292" units="cm"/>
      <inkml:brushProperty name="height" value="0.05292" units="cm"/>
      <inkml:brushProperty name="color" value="#0070C0"/>
    </inkml:brush>
  </inkml:definitions>
  <inkml:trace contextRef="#ctx0" brushRef="#br0">7501 4776 0,'145'-596'125,"266"1033"156,-967-278-281,1125-305 0</inkml:trace>
  <inkml:trace contextRef="#ctx0" brushRef="#br0" timeOffset="1993.67">10279 5543 0,'13'13'15,"1"-26"1,-14 0-16,26-14 16,-13 14-16,0-13 0,27-40 15,-13-1-15,-1 1 16,-13 27-16,1-41 15,-1 1 1,0 52-16,-13 1 0,0-1 0,13 14 16,-13-27-16,0 14 15,0 13-15,0 0 16,-13 39 0,0 14-1,13-14-15,-13 27 16,13 0-16,0-27 15,13 14-15,0 13 16,13-13-16,-12-27 16,12 0-16,14-13 15,-1-13 1,14-40-16,-39 27 16,12-14-16,-13 13 15,53-105 1,-66 106-16,14-1 15,-1 27-15,-13 27 16,0-14 0,0 53-1,0-39-15,13-14 0,-13 13 0,13 1 16,40 12 0,-13-39-16,0 0 15,-14 0-15,27 0 16,-13-13-16</inkml:trace>
  <inkml:trace contextRef="#ctx0" brushRef="#br0" timeOffset="2363.69">11642 5014 0,'53'13'15,"-14"-13"-15,-25 0 16,38 0-16,-25 0 16,26 13-1,-40-13-15,13 14 16,-12-14-16</inkml:trace>
  <inkml:trace contextRef="#ctx0" brushRef="#br0" timeOffset="2561.04">11734 5252 0,'66'13'16,"-26"-13"-16,13-13 15,0 13 1,-27 0-16,1 0 0,-1-13 0,1 13 0,-14 0 16,13 0-16,-12 0 15,-1 0-15</inkml:trace>
  <inkml:trace contextRef="#ctx0" brushRef="#br0" timeOffset="3421.43">13361 5027 0,'-13'-13'16,"13"39"-16,0 1 16,0 12-16,0 1 15,0-13-15,0 12 16,0 14-1,0-40-15,0 27 16,0-27-16,13 1 16,1-14-1</inkml:trace>
  <inkml:trace contextRef="#ctx0" brushRef="#br0" timeOffset="3580.81">13533 5226 0,'-13'-14'16,"26"28"-1,-13-41 1</inkml:trace>
  <inkml:trace contextRef="#ctx0" brushRef="#br0" timeOffset="3964.64">13692 5001 0,'53'-14'0,"-40"14"16,53 14 0,-52-1-16,12 13 15,-13 14-15,-13-27 16,0 14-16,0 12 15,0 1-15,0-27 16,0 27 0,-13-14-16,13 14 15,0-27 1</inkml:trace>
  <inkml:trace contextRef="#ctx0" brushRef="#br0" timeOffset="4184.87">13745 5252 0,'-13'0'15,"53"-13"1,-14 13-1,14 0-15,-27 0 16,0 0-16,0 0 16,80-13-1,-80-1 1</inkml:trace>
  <inkml:trace contextRef="#ctx0" brushRef="#br0" timeOffset="4634.54">14367 4948 0,'0'39'32,"0"-25"-17,13 12-15,-13-13 0,0 14 16,13 12-16,-13 1 16,14-13-16,-14-1 15,13 1-15,-13-14 16,13-13-16,-13 13 15,0 0-15</inkml:trace>
  <inkml:trace contextRef="#ctx0" brushRef="#br0" timeOffset="4890.14">14261 5146 0,'40'-26'16,"-1"26"-16,-25 0 16,25-14-16,-25 14 15,25 0-15,1-13 16,-27 13-1,27 0-15</inkml:trace>
  <inkml:trace contextRef="#ctx0" brushRef="#br0" timeOffset="5180.2">14790 4948 0,'13'13'0,"-13"0"15,0 0-15,0 1 16,14 52-1,-14-53-15,0 13 0,0-12 16,0-1-16,0 27 16,0-27-16,0 0 0</inkml:trace>
  <inkml:trace contextRef="#ctx0" brushRef="#br0" timeOffset="5348.21">14975 5199 0,'0'-13'0,"0"26"15,0-39-15,0 12 32,14 14-17</inkml:trace>
  <inkml:trace contextRef="#ctx0" brushRef="#br0" timeOffset="5662.33">15253 4921 0,'0'40'0,"0"13"16,0-40-1,0 27-15,-13-27 16,13 0-16,0 14 0,-13 39 31,0-40-31,13-12 16</inkml:trace>
  <inkml:trace contextRef="#ctx0" brushRef="#br0" timeOffset="6031.94">13719 5636 0,'172'-27'16,"-119"27"-16,79-26 16,-66 26-16,172-40 15,-159 27-15,146-27 16,-79 14-16,13-1 31,-120 14-31,94-13 16,-107 26-16,1 0 31,-14 0-31</inkml:trace>
  <inkml:trace contextRef="#ctx0" brushRef="#br0" timeOffset="6535.13">14459 5980 0,'67'-40'0,"-28"40"16,-12 0-16,-14 0 15,0 0-15,0 13 16,-13 0-16,-13 27 15,0-27-15,-53 67 16,-14-1 0,54-53-1,26-12-15,40-14 32,39-14-17,-39 1-15,52 0 0,-12-13 16,-54 26-16,67-14 15,-67 14 1,-26 14 0</inkml:trace>
  <inkml:trace contextRef="#ctx0" brushRef="#br0" timeOffset="6847.28">13269 7104 0,'66'-26'16,"-26"26"0,-14-14-16,1 14 15,12 0-15,-12 0 0,12-13 16,14 13-16,-26 0 16,-1 13-16,-13-13 15</inkml:trace>
  <inkml:trace contextRef="#ctx0" brushRef="#br0" timeOffset="7027">13309 7276 0,'39'0'32,"27"-13"-17,-26 13-15,0-13 16,-14 13-16,40-14 0,27 1 15,0-13 1</inkml:trace>
  <inkml:trace contextRef="#ctx0" brushRef="#br0" timeOffset="9171.77">14896 6892 0,'13'27'15,"-13"-14"-15,13 27 16,-13-27-16,0 93 15,0-53 1,0-27-16,0-13 16,0 14-16,0-14 15</inkml:trace>
  <inkml:trace contextRef="#ctx0" brushRef="#br0" timeOffset="9328.82">15068 7131 0,'0'-14'16,"0"1"-1,13 13 17</inkml:trace>
  <inkml:trace contextRef="#ctx0" brushRef="#br0" timeOffset="9647.43">15425 6932 0,'-26'27'16,"-14"12"-1,27-26-15,0 1 16,-27 25-16,27-25 15,-1 12-15,1 1 16,26-1 0,14-13-1,13 0-15,-14-13 16,40 0 0,-13 0-1,-40 0-15,14-13 16,-14 0-16,0 13 15,-13-26 1</inkml:trace>
  <inkml:trace contextRef="#ctx0" brushRef="#br0" timeOffset="9840.53">15425 6945 0,'-13'106'31,"13"-40"-15,13-52-16,-13 38 15,13-12-15,1 13 16,-1-40 0,0-13-1</inkml:trace>
  <inkml:trace contextRef="#ctx0" brushRef="#br0" timeOffset="10955.86">13375 2686 0,'238'-53'0,"-159"39"16,80 1 0,119-13-16,13 12 15,-185 14-15,92-13 16,-92 13-16,251-26 15,-145 26 1,-146-13-16,-13 13 16,26 0-16,-26 0 15,-26-14 1</inkml:trace>
  <inkml:trace contextRef="#ctx0" brushRef="#br0" timeOffset="11455.64">13877 2765 0,'556'-53'32,"-424"53"-32,583-26 31,-517 12-31,-118 14 16,197 0-16,-224 0 15,27-13-15,-1 13 16,-53 0-1,1 0-15,-14 0 16,0 0-16,1 0 16,-1 0-16,0 0 31,0 0 0</inkml:trace>
  <inkml:trace contextRef="#ctx0" brushRef="#br0" timeOffset="13565.05">3638 2527 0,'26'13'16,"-12"-13"-16,-1 0 0,13 13 15,27-13-15,80 0 16,-80 0-16,39 0 16,14-13-16,-13 0 15,-41 0-15,107-40 32,-132 39-32,52-25 15,-52 12-15,-1-12 16,0-28-1,-26 54-15,0 0 0,0-27 16,0-13 0,0 40-16,-13-40 0,-13-13 15,13 40-15,-1-14 16,-52-79 0,26 66-16,1 0 15,12 27-15,1-1 16,-54-26-16,1 14 15,0 12 1,52 14-16,-12 0 0,-1 13 16,-53-14-1,67 14-15,-67 0 0,40 0 16,14 0 0,-1 14-16,-26-1 0,-53 27 15,92-14-15,-39 0 16,40 1-1,-1-1-15,-26 27 0,14 0 16,12-26-16,-26 52 16,53-66-16,-26 53 15,26-26 1,0-27-16,0 40 16,13 13-1,-13-52-15,13 25 0,0 1 16,1 0-1,12 13-15,1-1 16,-1-25 0,1-1-16,12 27 15,1-13 1,-27-40 0,14 26-16,12-12 15,-26-1-15,1-13 0,25 13 16,-12 0-1,-14-13 1,0 14-16,14-14 16,12 0-1,-25 0 1,-1 0-16,0 0 0</inkml:trace>
  <inkml:trace contextRef="#ctx0" brushRef="#br0" timeOffset="15473.62">7620 4538 0,'13'-133'15,"-26"120"-15,-53 53 16,39-1 0,27-12-16,-13-1 0,13 1 15,0-14-15,13 40 16,1-27-16,-1-12 15,27-1-15,-1-26 16,-12 13-16,52-40 16,-26-13-16,-27 27 15,14-54-15,-40 67 16,0-13-16,-13-1 16,-14 1-1,14 26-15,-26 13 0,12 0 16,1 14-16,-1-1 0,1 0 0,-27 54 15,40-27 1,13-27-16,26 14 16,-13-40-16,0 0 15,186-93 1,-133 27 0,-39 53-16,-14-14 15,0 14-15,-13-13 0,0 13 16,-53 26-1,27 13-15,-1 1 16,1-1-16,-80 186 31,106-186-31,13 1 0,40 26 16,-13-40-16,79 0 16,39-39-1</inkml:trace>
  <inkml:trace contextRef="#ctx0" brushRef="#br0" timeOffset="16614.45">13097 1892 0,'92'-13'15,"-65"13"1,39-14-16,-26 14 16,39 0-1,-52 0-15,26 0 0,-40 0 16,13 0-16,14 0 0,-14 0 16,14 0-16,-14 0 15,-12 0 1,-1 0-16,13 0 31,-12 0-15,-1 0 31</inkml:trace>
  <inkml:trace contextRef="#ctx0" brushRef="#br0" timeOffset="18342.59">15650 1852 0,'40'0'16,"-14"0"-16,-13 13 15,14-13-15,26 0 16,0 0-16,-40 0 16,53 14-16,-26-14 15,39 0-15,-39 0 16,-27 0-16,0 0 15,27 0-15,-27 0 16,14 0-16,-14 0 16,0 0-16,0 0 15,1 0 1,-1 0 0,0 0 15,0 0 0</inkml:trace>
  <inkml:trace contextRef="#ctx0" brushRef="#br0" timeOffset="27727.78">4141 3426 0,'-13'14'0,"39"-14"31,14 0-31,-14 0 0,40 0 16,80-14-16,-54 14 16,1-13-16,0 13 0,39-13 15,-13 13-15,13-13 0,80 13 16,251-14 0,-357 14-16,0 0 0,79 14 15,-106-14-15,80 0 16,-106 0-16,0 0 0,-14 0 15,81 0 1,-94 0-16,-13 0 16,14 0-16,-1 0 0,-13 0 15,1 0 1,-1 0 0,0-14-1,0 14 1,0 0 78,-13-13-63</inkml:trace>
  <inkml:trace contextRef="#ctx0" brushRef="#br0" timeOffset="29142.91">13004 3321 0,'-13'0'16,"40"0"0,-14 0-16,0 13 0,53-13 15,-39 0-15,78 0 0,-52 0 16,13-13-16,-13 13 0,0 0 0,66 0 15,-13-14-15,-13 14 16,-54 0-16,14-13 16,0 13-1,-26 0-15,-14 0 0,0 0 16,0 0-16,1 0 31,-1 0-31,0 0 16,0 0-16,1 0 15,12 13-15</inkml:trace>
  <inkml:trace contextRef="#ctx0" brushRef="#br0" timeOffset="30027.2">15941 3347 0,'146'-13'16,"-14"13"-1,133-13-15,-160 13 16,14 0-16,27 0 0,-14 0 15,1 0-15,541 13 16,-475-13 0,-14 0-1,-26 13-15,-1-13 16,-91 0 0,-28 0-16,-12 0 0,-1 0 15,-13 0-15,27 0 16,-14 0-1,-12 0 1,-1 0 0,0 0-16,0 13 31,1-13 63,-41-13-1,14 13-77</inkml:trace>
  <inkml:trace contextRef="#ctx0" brushRef="#br0" timeOffset="30959.76">14817 7594 0,'119'0'31,"-93"0"-31,133 0 15,-119 0-15,92 0 32,-119 0-32,40 0 15,-40 0 17</inkml:trace>
  <inkml:trace contextRef="#ctx0" brushRef="#br0" timeOffset="31157.88">14883 7673 0,'53'13'16,"-27"-13"-16,265 27 31,-661-67-31,846 80 31</inkml:trace>
  <inkml:trace contextRef="#ctx0" brushRef="#br0" timeOffset="31870.53">10107 9723 0,'-132'0'15,"-40"27"1,132-14-1,14 0-15,-14 1 16,27-1-16,-14 13 16,14-26-16,26 13 0,14 14 15,-1-27 1,14 13-16,26 14 0,80 26 16,-94-40-1,-12 13 1,-27-26-16,-13 13 0,-13 14 15,0-14-15,0 0 16,-14 1-16,-52 25 16,-1-12-16,14-1 15,-13 1 1,66-27-16,-27 13 0,27-13 16,13-13-1,13-1-15,0 1 16,1 0-16</inkml:trace>
  <inkml:trace contextRef="#ctx0" brushRef="#br0" timeOffset="32115.92">10253 9829 0,'-14'27'15,"1"12"-15,13-12 0,-13 13 16,-14 26 0,14-13-16,0-27 0,0 14 15,0 13 1,13-40-16,0 0 16,-14 0-16,28 1 15,-1-28 1</inkml:trace>
  <inkml:trace contextRef="#ctx0" brushRef="#br0" timeOffset="32424.31">10186 9869 0,'27'-27'15,"39"27"1,-53 0-16,27 14 16,66 65-1,-93-26 1,-26 0-16,-40 26 16,26-52-1,-39 26-15,0-14 16,-26 14-16,39-39 15,26-14 1,27-14-16,-13 14 0,13-13 16,0 0-16,0 0 0,13-1 15</inkml:trace>
  <inkml:trace contextRef="#ctx0" brushRef="#br0" timeOffset="32712.5">11046 9909 0,'40'0'16,"-27"0"-1,0 0-15,14 0 0,13-14 16,-27 14-16,40 0 16,-40 0-16,0 0 0</inkml:trace>
  <inkml:trace contextRef="#ctx0" brushRef="#br0" timeOffset="32899.48">11020 10107 0,'26'27'0,"14"-27"16,0 0-1,-14 0-15,1 0 16,26 0-16,13 0 15,-53 0 1</inkml:trace>
  <inkml:trace contextRef="#ctx0" brushRef="#br0" timeOffset="70856.1">12674 9737 0,'13'13'31,"-13"13"-31,0 1 16,0-14-16,0 13 0,0 27 15,-13 53 1,-14-26 0,27-67-16,-13 27 15,13-27 1,0 0 0,26-26 15</inkml:trace>
  <inkml:trace contextRef="#ctx0" brushRef="#br0" timeOffset="71049.23">12925 10001 0,'13'0'63,"0"-13"-48</inkml:trace>
  <inkml:trace contextRef="#ctx0" brushRef="#br0" timeOffset="71447.41">13123 9803 0,'14'-13'15,"-1"13"-15,40 0 16,-40 0 0,40 13-1,0 40 1,-40-40-16,0 53 16,-13-26-16,-13-1 15,-13 41 1,12-14 15,1-40-15,13 1-1</inkml:trace>
  <inkml:trace contextRef="#ctx0" brushRef="#br0" timeOffset="71660.25">13137 10120 0,'-14'0'16,"67"0"-16,-26 0 15,-14 0-15,27 0 16,-27 0-16,0 0 15,53-13-15,-39 13 16,-1-13 0,-13 13-16</inkml:trace>
  <inkml:trace contextRef="#ctx0" brushRef="#br0" timeOffset="72453.47">13811 9988 0,'40'0'16,"-27"0"-16,40 0 16,-40 0-16,14 13 15,12-13-15,-12 0 16,-14 0 0</inkml:trace>
  <inkml:trace contextRef="#ctx0" brushRef="#br0" timeOffset="72691.53">14274 9829 0,'14'27'15,"-14"-14"-15,13 13 16,-13 1-16,0 13 15,0 12 1,0-12 0,0-13-1,0-14 1</inkml:trace>
  <inkml:trace contextRef="#ctx0" brushRef="#br0" timeOffset="72863.86">14512 10014 0,'-13'-13'16</inkml:trace>
  <inkml:trace contextRef="#ctx0" brushRef="#br0" timeOffset="73098.96">14751 9829 0,'0'40'16,"-14"-14"0,14-12-16,-13 39 15,13-27-15,0 40 16,0-53 0,0 1-16,0-1 15</inkml:trace>
  <inkml:trace contextRef="#ctx0" brushRef="#br0" timeOffset="73705.87">12965 10464 0,'119'14'16,"92"-14"-1,-131 0-15,118-14 16,53 14-1,-145 0-15,516 0 16,-516 0-16,185 0 16,-159 0-1,-79 0 1,40 0-16</inkml:trace>
  <inkml:trace contextRef="#ctx0" brushRef="#br0" timeOffset="74235.94">14168 10888 0,'-13'26'15,"-13"-13"1,-27 1-16,13 12 16,14-26-16,12 13 15,1 0-15,-13-13 0,-1 27 16,14-27-1,26 13 1,14 0-16,-1-13 16,27 0-16,0 0 15,-13 0 1,13 0-16,39-13 16,-65 0-16,12 0 15,-25-1 1</inkml:trace>
  <inkml:trace contextRef="#ctx0" brushRef="#br0" timeOffset="74412.63">14288 10808 0,'-40'27'0,"27"-14"16,-1 27-16,14-1 15,67-158-15,-147 291 0,80-145 0,0-1 16,13 67-1,-13-67-15,0 1 16,-13-14-16,13 13 0,0 1 0,-13-1 16</inkml:trace>
  <inkml:trace contextRef="#ctx0" brushRef="#br0" timeOffset="74795.55">12303 12356 0,'53'0'16,"-40"0"-16,0 0 0,14 0 15,39 0-15,13 0 16,-65 0 0,-1 0-16,13 13 0</inkml:trace>
  <inkml:trace contextRef="#ctx0" brushRef="#br0" timeOffset="74992.56">12277 12528 0,'13'13'15,"0"-26"-15,186 0 16,-147 13 0,15-13-1,-54 13-15,13-14 0,14 14 16</inkml:trace>
  <inkml:trace contextRef="#ctx0" brushRef="#br0" timeOffset="75376.74">13295 12237 0,'-79'79'15,"79"-52"1,13 39 0,14-26-16,39-14 15,-53-13 1,27-13-16,-14 0 15,-13-13-15,1-13 16,-1 12-16,-13-12 16,-13-1-16,-1 1 15,1 13-15,13 0 0,-40-27 16,27 27-16,-13-1 16,13 14-16,13-13 0,-14 13 15,1 0-15,0 0 16,13 13-16,-13-13 15</inkml:trace>
  <inkml:trace contextRef="#ctx0" brushRef="#br0" timeOffset="75540.23">13626 12250 0,'13'13'16,"-13"1"0</inkml:trace>
  <inkml:trace contextRef="#ctx0" brushRef="#br0" timeOffset="75851.34">13944 12197 0,'0'66'16,"-14"1"0,14-28-16,-13 1 15,13 0 1,0-27-16,0 0 16,13-13-16</inkml:trace>
  <inkml:trace contextRef="#ctx0" brushRef="#br0" timeOffset="76227.42">14235 12211 0,'0'-14'16,"-40"28"-1,27-1 1,-1-13-16,1 13 16,26 13-1,27-12 1,-13 12-1,-14-26-15,13 40 16,-26-14-16,0-13 16,-26 14-1,13-14-15,-120 53 16,94-52 0,-14-1-1</inkml:trace>
  <inkml:trace contextRef="#ctx0" brushRef="#br0" timeOffset="77765.24">13335 12793 0,'-13'13'16,"66"-13"0,-27 0-1,27 0-15,40 0 16,12-13-16,-52 13 0,53 0 16,-53 0-1,66-14-15,-92 14 16,-1 0-16,1 0 0,-14 0 0,13 0 15</inkml:trace>
  <inkml:trace contextRef="#ctx0" brushRef="#br0" timeOffset="78010.22">13414 12965 0,'318'-14'16,"-265"1"-16,132 13 16,-145-13-1,13 13 1,-27 0-16,-13 0 15</inkml:trace>
  <inkml:trace contextRef="#ctx0" brushRef="#br0" timeOffset="79704.92">19090 5212 0,'-14'-26'16,"14"52"15,0 27-31,0 53 16,14-40-16,-1 0 0,0 93 15,0-80-15,1 27 0,-1-13 16,0 238 0,0-212-16,-13 238 15,-13 0 1,0-13-16,13-251 16,0-14-16,-13 14 0,13 79 15,-27 158 1,27-184-16,-13-27 15,13-40 1,0-13-16,0-26 16,0 0-16,0-14 15,0-13 1,-13-13 0</inkml:trace>
  <inkml:trace contextRef="#ctx0" brushRef="#br0" timeOffset="80320.7">18494 8334 0,'93'-13'16,"-14"0"0,-26 13-16,93-13 15,-54-1-15,199-12 16,-158 13-16,-1 0 0,-13-1 16,159 1-16,158 0 15,-290 0-15,171-1 16,186 1-1,-331 0-15,159 13 0,0-13 16,-27-1 0,132 1-16,-330 13 15,93 0-15,131 0 16,-277 0 0,0-13-16,93 13 15,-120 0 1,-13 0-16,14 0 0,-1-13 31,-12 0-31,-28-1 31,1 14-31,13-13 16</inkml:trace>
</inkml:ink>
</file>

<file path=ppt/ink/ink9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3T15:38:01.473"/>
    </inkml:context>
    <inkml:brush xml:id="br0">
      <inkml:brushProperty name="width" value="0.05292" units="cm"/>
      <inkml:brushProperty name="height" value="0.05292" units="cm"/>
      <inkml:brushProperty name="color" value="#0070C0"/>
    </inkml:brush>
  </inkml:definitions>
  <inkml:trace contextRef="#ctx0" brushRef="#br0">5927 3360 0,'-40'0'16,"66"13"15,27-13-15,119-13-16,-92 13 16,92-13-16,0 0 15,211-14 1,-184 14-16,-107 0 15,-12 13-15,-1-13 16,53 13-16,27-14 16,-106 1-16,13 13 15,-53 0-15,14 0 0,-1 0 16,-12 0-16,-1 0 16,13-13-1,-12 13 1</inkml:trace>
  <inkml:trace contextRef="#ctx0" brushRef="#br0" timeOffset="2572.66">17396 3360 0,'-13'0'16,"53"0"15,-27 0-31,13 0 0,14 0 16,13 0-16,66 0 0,-39 0 15,78 0-15,120 0 16,-93 0 0,-92 13-16,0-13 0,-1 0 15,1 0-15,357 27 16,-278-14-1,-1 0-15,-78-13 16,-14 0-16,54 14 16,39-1-16,-66-13 15,-27 13 1,-39-13-16,-14 0 0,53 0 16,-52 0-16,39 0 15,-39 0-15,-1-13 0,0 13 16,1 0-16,26 0 15,26-27-15,-26 27 16,-26-13-16,25 0 16,-25 0-16,26-1 0,-13 1 15,-14 0-15,27 0 16,0-14-16,-27 14 16,14 0-16,13-14 15,-40 14-15,27-40 16,-27 40-16,0-13 0,14-14 15,-14-40 1,-13 54 0,-13 0-16,-14-80 0,1 66 15,13 14-15,-93-80 16,66 79-16,-92-65 16,79 65-16,0 1 15,-66-27-15,0 13 16,-146-39-1,199 52-15,0 14 0,0 0 16,0 0-16,-80-14 16,80 14-16,-80-14 15,80 27-15,-79-13 0,79 0 16,0 13-16,-1-13 0,1 13 16,13 0-16,-119-13 0,66 13 15,40 0-15,13 0 16,-52 0-16,52 13 15,-119-13-15,66 13 16,13-13-16,40 13 16,0-13-16,-39 13 15,-40 14-15,39-1 16,14-12 0,-27 25-16,40-12 15,39-14-15,-26 27 16,27-27-16,-27 13 0,-27 27 31,67-39-31,-13 12 0,-54 40 16,41-26-16,-1 13 15,27-27-15,-67 80 16,27 0 0,40-80-1,-13 80-15,13-53 16,13 26-1,0-52-15,26 39 16,0 0-16,14-26 16,-27-27-16,54 14 15,25-14 1,40-26 0,-92 13-16,39-27 15</inkml:trace>
  <inkml:trace contextRef="#ctx0" brushRef="#br0" timeOffset="3226.27">17515 2355 0,'-53'-27'15,"27"14"-15,-40 0 16,26 0-16,-52-1 16,39 1-16,-80-13 0,1-1 15,53 1-15,753 198 0,-1626-397 16,727 185-1,0-13-15,119 27 0,-119-40 16,106 39 0,14 1-16,-226-80 15,119 40-15,14 0 16,12 0-16,14 13 16,-66-40-1,80 40-15,12 0 0,80 27 16,-66-14-1,-1 0-15,67 14 0,-53-1 16,79 1-16,-39-1 16,-27 1-1,93 26-15,-53-26 16,53 26-16,-14-14 16,14 14-1</inkml:trace>
  <inkml:trace contextRef="#ctx0" brushRef="#br0" timeOffset="4445.03">13454 926 0,'-79'-26'15,"65"26"-15,-52 13 16,27-13-1,12 0-15,1 0 0,-14 0 0,14 0 16,-27 13-16,26-13 0,-12 0 16,12 0-16,14 0 0,-14 13 15,14-13 1,-13 0-16,26 13 16,0 1-1,0-1-15,13 0 0,0 14 16,14-1-16,-14 14 15,27 13-15,26 53 16,-27-40-16,27 26 16,-39-65-1,-14-1-15,0 1 0,1-14 0,12 13 16,14 14 0,-27-27-1,-13 1-15,13-14 0,-13 13 16,13-13-1,-13 13-15,14 0 16,-14 0 15,13-13-15,0-13 625</inkml:trace>
  <inkml:trace contextRef="#ctx0" brushRef="#br0" timeOffset="14229.53">11840 5040 0,'-13'0'0,"0"0"16,-1 0-16,14 14 16,14 12-16,-1-13 15,0 14 1,14-1-16,-1 1 15,0-14-15,-12 0 0,12 0 16,1-13-16,-1 14 0,-13-1 16,40 0-16,13 0 15,-13-13-15,-13 0 16,53 0 0,-14-26-1,-26 13-15,-27 13 0,-12-14 16,52 1-1,0-13-15,-26 12 16,-14 1-16,-13 0 16,14 0-16,12-27 15,1 14 1,-27 12 0,1-12-1,12-27 1,-26 26-16,0 14 15,13-13 1,-13 13-16,0-27 16,-13 40-16,13-13 0,0-1 15,0 1-15,-13-40 16,0 27 0,13 13-16,-14-1 15,1 1-15,0-13 0,0 12 16,-14-12-1,-26-14-15,40 27 16,0 0-16,0 0 16,-40-14-16,13 14 15,27 0-15,-27-1 16,-26-12 0,53 13-16,-1 13 15,-39-27-15,27 14 16,0 13-16,-1-13 15,1 0 1,-27 13-16,40 0 16,-27 0-16,0-14 15,27 14-15,0 0 0,-1 0 16,1 0-16,-40 0 16,27 14-16,-14-14 15,14 0 1,-1 13-16,14-13 0,-13 0 15,12 13 1,-25 0 0,12-13-16,14 0 15,0 14-15,-40 12 32,26-13-32,14 0 15,0 1-15,-27 12 16,1 1-1,-1 26 1,40-40-16,-27 13 16,27 1-1,0-14-15,-13 40 16,13-40 0,0 0-16,0 14 0,0-1 15,0-13-15,13 67 31,1-41-31,-1-12 16,0-1 0,0-12-16,-13-1 15,40 27-15,-27-27 16,27 26 0,-27-25-16,14-1 15,-1 0 1,-13-13-16,14 27 15,-14-27-15,0 0 16,14 13 0,-14 0-16,13-13 15,-12 13 1,-1-13 0,0 14-1,0-14 1,14 0-1,-27 13 1,13-13 0,0 0-1,-26 13 48</inkml:trace>
  <inkml:trace contextRef="#ctx0" brushRef="#br0" timeOffset="16804.56">19553 529 0,'0'-13'16,"13"26"0,0 0-16,-13 1 15,13 12-15,-13-13 16,0 1-16,0 52 16,0-40-1,14 1-15,-14-1 0,0-13 16,0 1-1,0 12-15,0-13 16,0 0 0,-14 1-1,14-1-15</inkml:trace>
  <inkml:trace contextRef="#ctx0" brushRef="#br0" timeOffset="17004.84">19778 754 0,'13'0'0</inkml:trace>
  <inkml:trace contextRef="#ctx0" brushRef="#br0" timeOffset="17453.05">19910 529 0,'0'27'15,"13"52"1,0-13-1,1-26 1,-14-14-16,0 14 16,0-27-1,13 0-15,-13 1 32,13-14-32</inkml:trace>
  <inkml:trace contextRef="#ctx0" brushRef="#br0" timeOffset="18405.29">20055 661 0,'14'27'15,"-14"-14"-15,0 0 16,0 1 0,0-1-16,0 0 15,0 0-15,0 1 16,0-1 0,13-40 30,0 27-46,-13-13 0,13 0 16,1 13 0,-1-13-16,0 13 15,0 0 1,0 0-16,1 0 0,-1 13 31,0 0-15,0-13-1,1 0 17,-1-13-17,0 13 1,0 0 0,1 0-1,-1 13-15,0-13 16,0 13-16,0-13 15,-13 14 1,14-14-16,-14 13 0</inkml:trace>
  <inkml:trace contextRef="#ctx0" brushRef="#br0" timeOffset="19457.15">18415 754 0,'-53'-26'0,"40"26"16,-14 0-16,27 13 0,-26 0 15,-1 0-15,14 14 16,0-14-16,0 0 0,13 0 15,-13 27 1,13-27-16,0 1 16,13-1-1,0-13-15,0 0 16,14-13 0,-14-1-16,0 1 15,0 13 1,1 0-16,-1 0 15,-13 13-15,13 1 16,0 12-16,-13-13 16,14 0-16,-14 14 0,13-1 15,-13 1 1,0-14-16,13 0 16</inkml:trace>
  <inkml:trace contextRef="#ctx0" brushRef="#br0" timeOffset="19797.25">18613 794 0,'-26'0'0,"-14"13"31,27-13-31,0 13 0,-14 0 16,14 14 0,26-1-1,1-12-15,-1-1 16,0 0-16,14 0 16,-14 0-16,0-13 15,0 14-15,0-1 0,1 0 31,-28 0-31,14 1 0,-13-1 16,0 13-16,-13-12 16,-1-1-1,14-13 1</inkml:trace>
  <inkml:trace contextRef="#ctx0" brushRef="#br0" timeOffset="20038.78">18838 781 0,'14'13'31,"-14"0"-31,-14 40 16,14-27-16,-13 14 15,13-14-15,-13-12 16,13-1-16,0 13 16,-13-12-1</inkml:trace>
  <inkml:trace contextRef="#ctx0" brushRef="#br0" timeOffset="20184.3">18680 900 0,'0'-14'16,"26"14"-16</inkml:trace>
  <inkml:trace contextRef="#ctx0" brushRef="#br0" timeOffset="20316.87">19010 952 0</inkml:trace>
  <inkml:trace contextRef="#ctx0" brushRef="#br0" timeOffset="20976.19">21008 397 0,'-13'0'16,"26"26"0,-13-12-16,13-1 0,-13 0 15,0 0-15,13 53 16,1-52-16,-14 25 16,13-25-16,-13-1 15,13 26 1,-13-12-16</inkml:trace>
  <inkml:trace contextRef="#ctx0" brushRef="#br0" timeOffset="21187.91">20955 648 0,'-13'-13'15,"39"-13"17,-13 26-32,27-14 15,-27 14-15,40-13 16,-13 0 0,-27 13-16,14-13 0</inkml:trace>
  <inkml:trace contextRef="#ctx0" brushRef="#br0" timeOffset="21500.39">21339 476 0,'-27'13'47,"27"1"-31,-13 12 0,13-13-16,13 27 15,14-13 1,-14-27-16,40 13 15,-27-13-15,-13-13 16,14-1 0,-159-105-16,264 225 15,-132-119-15,-27-27 16,14 40 0,0-13-1,-13 13-15,12-13 16,1 13-16,0 13 15</inkml:trace>
  <inkml:trace contextRef="#ctx0" brushRef="#br0" timeOffset="21766.74">22106 304 0,'13'27'15,"-13"-14"-15,-13-53 16,39 93-16,-26-13 16,14-27-16,-1 53 0,-13-53 15,13 40-15,-13-26 16,0-14-1,0 0-15,13 1 16</inkml:trace>
  <inkml:trace contextRef="#ctx0" brushRef="#br0" timeOffset="21928.99">22318 450 0,'0'-13'31</inkml:trace>
  <inkml:trace contextRef="#ctx0" brushRef="#br0" timeOffset="22287.62">22582 304 0,'27'0'16,"12"14"-1,-25-1-15,12 13 16,-13 1 0,-13-14-16,13 53 15,1-53 1,-14 0-16,0 14 0,0-14 15,0 0 1,13 1-16,-13-1 16</inkml:trace>
  <inkml:trace contextRef="#ctx0" brushRef="#br0" timeOffset="22467.96">22635 529 0,'13'-13'15,"1"0"-15,38-1 16,-38 14-16,-1-13 16,40 0-16,13 13 31</inkml:trace>
  <inkml:trace contextRef="#ctx0" brushRef="#br0" timeOffset="23016.91">23085 397 0,'13'0'15,"0"0"1,1 26 0,-14-12-16,13 12 15,0-13 1,0 14 15,14-27 0,-14-14-15,0 1-16,0 13 16,1-13-1,-1 13 1,0 13-1,0-13 1,-13 13 0,14-13 15,-1 0-15,0-13-16,0 13 15,0 0-15,1 0 16,-1 0-1,13 13 1</inkml:trace>
  <inkml:trace contextRef="#ctx0" brushRef="#br0" timeOffset="23954.41">20042 1019 0,'172'-27'15,"0"14"-15,-79 0 16,290-40-16,-105 13 16,132-39-1,93-1 1,-331 54-16,66-1 15,-66 14 1,-119 0 0,-27 13-16,41-13 15,-54 13 1,0 0 0,-53 26-16,14-26 15</inkml:trace>
  <inkml:trace contextRef="#ctx0" brushRef="#br0" timeOffset="24335.12">20677 1058 0,'357'-26'15,"40"-14"1,-185 14 0,-119 26-16,-1-14 0,186 1 15,-53-13 1,-172 26-16,26-13 16,-26-1-1,13 14 1,-13-13-1,-40 13 1,1 0-16,-1 0 16,-40 0 46</inkml:trace>
  <inkml:trace contextRef="#ctx0" brushRef="#br0" timeOffset="27573.06">12846 5556 0,'-14'-26'31,"1"26"-15,0-27-16,-14 1 15,14 13-15,13-1 0,-26-12 16,12 0-16,1-1 15,0 1-15,-13 12 16,26 1-16,-14 0 16,1 0-16,0-1 15,0 1-15,-1 13 16,1 0 0</inkml:trace>
  <inkml:trace contextRef="#ctx0" brushRef="#br0" timeOffset="27876.92">12594 5239 0,'-26'39'15,"26"-25"-15,-14 25 16,1-25 0,13 12-16,-13 1 0,13-14 0,-13 26 15,0 1 1,-1-27-16,14 1 15,-13-1-15,13 0 16</inkml:trace>
  <inkml:trace contextRef="#ctx0" brushRef="#br0" timeOffset="28184.87">12528 5252 0,'53'0'16,"-40"0"-16,14 0 0,12 13 15,-25-13-15,25 13 16,-12 1-16,-14-14 16,13 13-16,1 0 15,-1 0 1,-12-13-16</inkml:trace>
  <inkml:trace contextRef="#ctx0" brushRef="#br0" timeOffset="30013.36">9062 1257 0,'278'-13'16,"-14"-14"-16,-52 27 15,-119-13 1,118 13-16,-12-13 16,-107 13-16,146-14 15,-118 14-15,-81-13 0,14 13 16,-13 0-16,52-13 15,-78 13 1,-1 0 0</inkml:trace>
  <inkml:trace contextRef="#ctx0" brushRef="#br0" timeOffset="30344.77">9247 1535 0,'-26'13'0,"52"-13"15,14 0 1,211-13-16,-79-14 16,-79 14-16,-1 13 15,1-13-15,92-1 0,-13 1 16,119-13-1,-238 26-15,53 0 16,-66-13-16,66 13 16,-67 0-1,-12 0 1,-1 0-16,-13 13 16,1-13-16,-41 13 31,14 0-31</inkml:trace>
  <inkml:trace contextRef="#ctx0" brushRef="#br0" timeOffset="31595.09">14539 4471 0,'13'-39'16,"27"26"-1,-14 13 1,1 0-1,-1 13-15,-13-13 0,14 26 16,-14-13-16,0 1 0,-13-1 0,14 13 16,-1 27-1,-13-26 1,-13-1-16,13-13 16,0 1-16,0 12 15,0-13-15,-14 1 0,14-1 16</inkml:trace>
  <inkml:trace contextRef="#ctx0" brushRef="#br0" timeOffset="31741.38">14737 4882 0,'-13'13'15,"26"-26"1</inkml:trace>
  <inkml:trace contextRef="#ctx0" brushRef="#br0" timeOffset="33587.08">18653 13044 0,'53'-13'16,"13"0"-1,-39 13-15,12 0 16,41 0-16,26-14 16,-80 14-16,0 0 15,14-13-15,0 13 16,-27 0 0,0 0-16</inkml:trace>
  <inkml:trace contextRef="#ctx0" brushRef="#br0" timeOffset="33837.8">18666 13137 0,'0'13'16,"27"-13"-1,-1 0-15,-13 0 16,54-13-16,38-1 31,-78 14-31,-1 0 0,1 0 16,-1-13-16,-12 13 0,25 0 15,-12 0-15,-14-13 16,0 13-16,0 0 16,1 0-16,-1 0 15</inkml:trace>
  <inkml:trace contextRef="#ctx0" brushRef="#br0" timeOffset="34611.68">18891 13666 0,'27'-14'31,"-1"-12"0,-26 13-31,13-14 0,-13 1 16,14-1-16,-14 14 16,13 0-16,-13-27 0,0 27 15,13 0 1,-13 0-16,-13 39 31,13-13-15,0 1-16,0-1 0,13 13 15,14 14 1,-14-40-16,0 13 16,13-13-16,14 0 15,-13-26 1,-14 26-16,13-27 0,-26 14 15,14 13-15,12-13 16,-26 0-16,13 26 16,-13 0-16,0 0 15,0 0-15,13 27 16,1-13-16,12-1 31,-13-26-31,1 13 16,-1-13-16,0-13 0,14 13 15</inkml:trace>
  <inkml:trace contextRef="#ctx0" brushRef="#br0" timeOffset="36416.56">18984 9710 0,'13'0'16,"14"0"-16,25 0 16,81 0-1,-27 0-15,-1 0 16,-52-13-16,0 13 16,146 0-1,-133 0-15,-13 0 16,-14 0-16,-25 0 15,12 0-15,-13 0 0,1 0 16,-1 0-16,0-13 16,0 13-1</inkml:trace>
  <inkml:trace contextRef="#ctx0" brushRef="#br0" timeOffset="36762.12">19738 9525 0,'40'13'16,"92"40"-1,-106-26-15,14-1 16,-27 1 0,-13-14-16,0 0 0,-13 13 15,-13 14-15,-1-13 16,1-1-16,-67 27 15,67-40-15,-27 14 16,26-14-16</inkml:trace>
  <inkml:trace contextRef="#ctx0" brushRef="#br0" timeOffset="37628.87">19063 9075 0,'-53'53'0,"40"-40"16,13 1-16,0-1 15,0 0-15,0 0 0,0 1 0,13-1 16,-13 0-16,40 13 16,-14-26-1,1 14-15,-1-14 16,-12 0-16,25-14 15,-12 1 1,-27 0-16,13 0 0,0 0 16,-13-1-16,0-12 15,-13-14 1,13 27-16,-13-14 16,0 27-16,-1-13 0,-12 0 15,13 0-15,-1 13 16,1 0-16,0 0 15,0 13-15</inkml:trace>
  <inkml:trace contextRef="#ctx0" brushRef="#br0" timeOffset="38103.26">19381 9128 0</inkml:trace>
  <inkml:trace contextRef="#ctx0" brushRef="#br0" timeOffset="38419.72">19526 9009 0,'13'40'15,"-13"-27"-15,0 27 16,0-27-16,-13 0 15,13 0-15,0 40 0,0-39 16,-13-1-16,13 0 0,0 0 16,0 0-1,0 1-15</inkml:trace>
  <inkml:trace contextRef="#ctx0" brushRef="#br0" timeOffset="38818.37">19778 9036 0,'-67'13'16,"54"-13"-16,-40 39 15,40-25 1,26-1 0,1 0-16,-1 0 15,0 1-15,0-14 0,40 39 31,-53-25-31,13-14 0,-13 13 16,-13 0-16,13 0 16,-53 14-1,0-14-15,40 0 0,-27 0 16,14-13-16,-14 14 16,27-14-16</inkml:trace>
  <inkml:trace contextRef="#ctx0" brushRef="#br0" timeOffset="39608.57">18799 12991 0,'13'0'32,"-13"13"-1,13-26-16</inkml:trace>
  <inkml:trace contextRef="#ctx0" brushRef="#br0" timeOffset="43332.43">19169 8361 0,'0'106'16,"-13"-93"-16,13 27 16,0-27-16,-13 0 0,13 0 15</inkml:trace>
  <inkml:trace contextRef="#ctx0" brushRef="#br0" timeOffset="43684.08">19368 8321 0,'-27'0'0,"14"13"15,53-26-15,-93 40 0,53-14 16,0 0-16,0 0 16,13 1-16,0 12 31,0-13-31,1 14 15,-14-14 1,-14 0 0,1 0-16,-13 1 31,12-14-31</inkml:trace>
  <inkml:trace contextRef="#ctx0" brushRef="#br0" timeOffset="43887.95">19500 8321 0,'0'13'15,"0"1"1,0-1-16,-13 0 0,13 14 15,0-14-15,0 0 16,-14 13-16,14-12 16</inkml:trace>
  <inkml:trace contextRef="#ctx0" brushRef="#br0" timeOffset="44086.24">19434 8361 0,'66'-13'16,"-53"-1"-16,13 14 15</inkml:trace>
  <inkml:trace contextRef="#ctx0" brushRef="#br0" timeOffset="45256.51">18812 10345 0,'-13'-13'0,"52"26"47,-12-13-47,-14 0 16,27-13-16,66 13 15,-54-13 1,-12 13-16,159-13 16,-41 13-1,-52-14-15,-53 14 16,66 0-16,-66-13 15,132 13-15,-92-13 16,-40 13-16,39-13 16,27 13-1,1-14 1,-68 1 0,-38 13-16,78 0 15,-26-13 1,-39 13-1,26 0 1,-27 0-16,1-13 16,-14 13-1,0 0-15,0 0 16,1 0 0</inkml:trace>
  <inkml:trace contextRef="#ctx0" brushRef="#br0" timeOffset="45632.39">20677 10120 0,'0'-13'16,"27"40"30,-14-27-30,0 13-16,27 0 16,-27-13-16,13 26 15,1-12 1,-27-1 0,-13 0-1,-40 40 1,13-40-1,0 14-15,-105-1 16</inkml:trace>
  <inkml:trace contextRef="#ctx0" brushRef="#br0" timeOffset="46327.91">19209 10041 0,'26'0'16,"-13"0"-16,1 13 16,-14 27-1,-27 0 1,1-14 15,13-13-31,13 0 16,-14-13-1,41 0 17,-14 0-17,0 0-15,0 0 0,1-13 16,-1 13 0,0 0-16</inkml:trace>
  <inkml:trace contextRef="#ctx0" brushRef="#br0" timeOffset="46734.48">19420 10001 0,'0'40'32,"-13"-27"-32,13 0 15,0 1 1,13-41 15,14 14-15,-27 0-1,13 13-15,14 0 16,-27 13 0,13-13-16,0 13 15,0 0 1,0-13-1</inkml:trace>
  <inkml:trace contextRef="#ctx0" brushRef="#br0" timeOffset="47063.97">19725 9975 0,'-14'26'31,"14"-13"-15,14-52-16,-28 92 0,14-40 16,-13-13-1,13 13 1,-13-13 0,-13 0-16,12 13 15,-12 1 1,13-14-16,-1 13 15,14 0-15,0 0 32,14-13-32,12 0 15,-13 0 1,14 14-16,-14-14 16</inkml:trace>
  <inkml:trace contextRef="#ctx0" brushRef="#br0" timeOffset="50279.52">21881 7501 0,'13'93'16,"-13"-54"-1,0-26-15,0 14 16,-13-14-16,13 0 16,0 14-1</inkml:trace>
  <inkml:trace contextRef="#ctx0" brushRef="#br0" timeOffset="50413.37">22027 7686 0</inkml:trace>
  <inkml:trace contextRef="#ctx0" brushRef="#br0" timeOffset="50748.17">22397 7488 0,'-26'13'31,"12"0"-31,1-13 0,0 13 15,0 1-15,-1-1 0,1 0 16,0 0-16,0-13 16,-1 27-1,28-14 1,-1-13-16,0 13 16,14-13-1,-1 0-15,14 0 16,-14 0-16,-13 0 0,1 0 15,-1 0-15,0-13 0,0 13 16</inkml:trace>
  <inkml:trace contextRef="#ctx0" brushRef="#br0" timeOffset="50963.45">22437 7461 0,'-14'53'16,"14"-13"-1,14-27-15,-28 14 16,14 25 0,0-38-16,0-1 0,14 0 15</inkml:trace>
  <inkml:trace contextRef="#ctx0" brushRef="#br0" timeOffset="51236.72">22807 7302 0,'0'40'16,"0"-27"-16,0 40 16,0-26-16,0-14 0,0 27 15,0-27-15,0 0 0,0 0 0,0 27 16,0-13-1,0-14-15</inkml:trace>
  <inkml:trace contextRef="#ctx0" brushRef="#br0" timeOffset="51437.39">22701 7527 0,'80'-39'15,"-67"39"-15,40-14 16,-40 14 0</inkml:trace>
  <inkml:trace contextRef="#ctx0" brushRef="#br0" timeOffset="51829.59">23191 7263 0,'-40'13'16,"27"13"-16,0 1 16,-1-14-16,14 14 0,0-14 15,0 0-15,0 14 0,14 12 16,12-26 0,-13-13-16,1 0 0,-1 14 15,0-14-15,0 0 16,14-14-16,-1 1 15,-26 0-15,0 0 16,13 0-16,-13-1 0,0-12 16,-13 13-16,13-14 15,-13 14 1,0 0-16,-1 13 16,1-14-16,0 14 15</inkml:trace>
  <inkml:trace contextRef="#ctx0" brushRef="#br0" timeOffset="52073.1">23442 7316 0</inkml:trace>
  <inkml:trace contextRef="#ctx0" brushRef="#br0" timeOffset="52430.47">23707 7210 0,'-80'0'16,"67"13"0,13 0-1,0 14 1,13-27 0,1 13-16,12 13 15,-13 1 16,-26-1-15,0 1-16,0-27 16,-14 26-16,-13 1 15,27-27 1</inkml:trace>
  <inkml:trace contextRef="#ctx0" brushRef="#br0" timeOffset="52661.03">23971 7197 0,'-13'79'63,"-13"-26"-63,-1 0 15,27-40 1,66-211-16,-145 423 16,79-212-16,-13 0 15,13 0-15</inkml:trace>
  <inkml:trace contextRef="#ctx0" brushRef="#br0" timeOffset="52887.24">23852 7316 0,'27'0'32,"-1"13"-17,-79-26-15,119 39 16,-52-13-16,-1-13 15,0 14 1,0-14-16,0 0 16</inkml:trace>
  <inkml:trace contextRef="#ctx0" brushRef="#br0" timeOffset="53241.33">24183 7170 0,'26'0'16,"14"13"-1,-40 1 1,0 25-16,0-25 15,-26 12 1,12 14-16,1-27 16,13 0-16,0 0 15,0 1 1,13-14-16,14 0 16,-1 0-16,14 0 15,-14-14 1,27 14-16,-39 0 15,-1 0-15,0-13 0</inkml:trace>
  <inkml:trace contextRef="#ctx0" brushRef="#br0" timeOffset="57793.69">18891 11999 0,'146'13'16,"-133"-13"-16,40 0 16,40 13-1,-27-13-15,-13 0 16,39 0-16,-52 0 16,52 0-16,-39 0 0,80 0 15,25 0 1,-118 0-16,13 0 15,-13 0-15,-14 0 0,54-13 16,39 13 0,-93 0-16,14 0 0,26 0 15,-40 0-15,14 0 0,-13 0 16,12 0-16,54 0 16,-27-13-16,-40 13 15,54 0-15,-41 0 16,14 0-1,14 0-15,-41 0 16,40 0 0,-26 0-16,13 0 15,-14 0-15,14 0 16,-13 0-16,0 0 16,-14 0-16,14 13 15,0-13-15,12 0 16,-38 0-16,39 0 15,-40 0-15,13 0 16,14 0 0,-27 0-16,0 0 15,1-13-15,-1 13 0,0 0 16,0 0 0,27 0-16,-27 0 15,1 0-15,12 0 0,0 0 16,1 0-16,-1-13 15,-12 13-15,-1 0 0,13 0 16,-12 0-16,38 0 16,-38 0-16,-1 13 15,53-13-15,-13 0 16,-27 0 0,1 0-16,-1 0 15,1 0 1,-1 0-1,-13 0-15,1 0 16,-1 0-16,0 0 16,0 0-1,1 0 1,-1 0 0,0-13 77</inkml:trace>
  <inkml:trace contextRef="#ctx0" brushRef="#br0" timeOffset="58258.52">22251 11933 0,'-13'0'47,"26"13"-16,1-13-31,-1 13 15,13 0 1,-12-13 0,-1 14-16,0-14 15,14 13 1,-27 0-16,13-13 16,-26 13-1,-1 1-15,1-1 0,-13 0 16,12 0-16,-12 14 0,-14-1 15,14-13-15,13 1 16,-27 12-16,40-13 16</inkml:trace>
  <inkml:trace contextRef="#ctx0" brushRef="#br0" timeOffset="59844.12">19923 11734 0,'27'14'15,"-14"-1"1,-26 13 0,13-13-16,-14 1 0,14-1 15,0 0 1,14 0-1,-1-13-15,0 0 16,0 14-16,0-14 16,1 13-1,-1 0 1,-26 0 0,-1 0-16,1-13 15,0 14-15,0-14 0</inkml:trace>
  <inkml:trace contextRef="#ctx0" brushRef="#br0" timeOffset="60144.23">20095 11655 0,'27'26'15,"-27"1"1,0-1-16,0-12 16,-14 12-1,14-13 1,14-39 15,-1 13-15,-13-1-16,13 1 15,-13 0 1,40-14 0</inkml:trace>
  <inkml:trace contextRef="#ctx0" brushRef="#br0" timeOffset="60379.68">20320 11602 0,'13'13'0,"-13"0"15,0 1 1,-13-54 0,26 93-16,-26-27 15,0-12 1,0-1 0,-1 0-16,14 14 15,0-14-15,14 0 16,12-13-16,27 0 15,53-53 1</inkml:trace>
  <inkml:trace contextRef="#ctx0" brushRef="#br0" timeOffset="61036.76">21960 8731 0,'14'13'16,"-1"14"0,-13 13-16,13-1 15,0 1 1,-13-14-16,0 14 15,0-13-15,-13 12 16,13-12-16,0-14 16,-13 0-16</inkml:trace>
  <inkml:trace contextRef="#ctx0" brushRef="#br0" timeOffset="61183.74">22172 8996 0,'-13'0'31</inkml:trace>
  <inkml:trace contextRef="#ctx0" brushRef="#br0" timeOffset="61513.55">22490 8824 0,'-53'40'15,"39"-27"-15,-25 40 16,26-40-16,-1 13 16,1-12-16,13-1 15,0 0 1,0 0-16,13-13 0,1 14 16,-1-1-16,0-13 15,27 0 1,-14 0-16,1-13 15,-1 13-15,-26-14 16,13 14-16,-13-13 16</inkml:trace>
  <inkml:trace contextRef="#ctx0" brushRef="#br0" timeOffset="61729.56">22503 8864 0,'-13'26'15,"13"-13"-15,0 0 0,0 40 16,-14-39-16,14 25 16,-13-12-16,13-1 15,0-13-15,-13-13 16</inkml:trace>
  <inkml:trace contextRef="#ctx0" brushRef="#br0" timeOffset="61963.14">22807 8692 0,'0'13'16,"0"13"-16,0 14 16,-13-14-1,13 27-15,0-26 16,0-1 0,0-13-16,0 1 0,0-1 0,0 0 15</inkml:trace>
  <inkml:trace contextRef="#ctx0" brushRef="#br0" timeOffset="62179.93">22741 8877 0,'26'-40'16,"14"40"-16,-27-13 16,1 13-16,-1 0 15,0 0-15,0 0 32</inkml:trace>
  <inkml:trace contextRef="#ctx0" brushRef="#br0" timeOffset="62536.77">23164 8665 0,'-53'40'15,"53"-27"-15,-13 0 16,13 0-16,-13 14 15,13-14-15,13 27 16,0-27-16,-13 0 0,40 1 16,-13-14-1,-1 13-15,-13-26 16,0 13 0,1-14-16,-14 1 15,0 0-15,0 0 0,0-1 16,-14-25-1,1 25 1,0 1 0,0 13-1</inkml:trace>
  <inkml:trace contextRef="#ctx0" brushRef="#br0" timeOffset="62728.46">23442 8718 0,'13'0'32</inkml:trace>
  <inkml:trace contextRef="#ctx0" brushRef="#br0" timeOffset="63117.99">23641 8625 0,'13'-13'16,"-40"26"-1,1 1-15,13-1 16,-14 0 0,14-13-1,13 13 1,13 1-1,0-14-15,40 26 16,-26-13 0,-14-13-1,-13 13-15,0 14 32,-13-27-32,-14 26 15,1 1 1,13-27-16,-14 13 15</inkml:trace>
  <inkml:trace contextRef="#ctx0" brushRef="#br0" timeOffset="63379.31">23984 8546 0,'-13'26'16,"-40"120"31,53-133-47,-13 67 46,0-67-46</inkml:trace>
  <inkml:trace contextRef="#ctx0" brushRef="#br0" timeOffset="63568.22">23812 8731 0,'0'-13'16,"53"13"15,-39 0-15,12 0-16,1 0 31,-14 0-31,0 0 16,0 0-16</inkml:trace>
  <inkml:trace contextRef="#ctx0" brushRef="#br0" timeOffset="64204.52">24183 8533 0,'40'39'32,"-40"-25"-32,-27 12 15,-13 14 1,40-27 0,14 0-1,-1-13 1,13 14-16,-12-14 15,-1 13-15,0-13 16,-13 13-16,0 13 16,0-12-16,-13-1 15,0 0-15,-27 0 16,0 14 0,1-14-1,12-13-15,14 0 0</inkml:trace>
  <inkml:trace contextRef="#ctx0" brushRef="#br0" timeOffset="65273.82">22939 13044 0,'53'-26'15,"-39"26"-15,12 0 0,0-14 16,14 14-16,40-13 0,-28 13 16,1 0-16,0 0 0,-13-13 15,13 13-15,0 0 0,13 0 16,-40 0-16,1 0 0,-14 0 0,14 0 15,-1 0-15,-13 0 16,0 13 0</inkml:trace>
  <inkml:trace contextRef="#ctx0" brushRef="#br0" timeOffset="65864.25">23085 13110 0,'106'0'15,"-80"0"-15,14-13 16,66 13-16,-80 0 16,27 0-16,13 0 0,0 0 15,-26-13-15,0 13 16,-14 0-16,-13 0 15,1 0-15,12 0 0,-674 26 0,1309-52 0,-647 26 16,-1 0-16,13 0 16,-13 0-1,1 0 1,-1 0 0,0 0-1,0 0 32,-26 13 94,0-13-110,13-13 0,0-1-15,-13 14-16,13-26 0,-14-14 15</inkml:trace>
  <inkml:trace contextRef="#ctx0" brushRef="#br0" timeOffset="67127.34">12277 5212 0,'-14'0'0,"14"14"31,14-14 0</inkml:trace>
  <inkml:trace contextRef="#ctx0" brushRef="#br0" timeOffset="67233.42">12330 5226 0</inkml:trace>
  <inkml:trace contextRef="#ctx0" brushRef="#br0" timeOffset="68981.17">22595 12197 0,'-13'14'47,"13"-1"-32,0 0-15,0 13 16,-13-26-1,13 14-15,0 12 0,0-13 16,0 1-16,0-1 16,0 0-1,0-39 32,13-1-47,-13 14 16,0 0-16,0-14 31,13 14-15,-13 39 15,0-12-15,0 25-1,0-12 1,0-14-1,0 0 1,14-26 31,-14-13-31,0-1-16,0 14 15,0-27 1,0 67 31,-14-14-47,14 0 15,0 0 1,0 1 0,0-1-16,0 0 31,14 0-16</inkml:trace>
  <inkml:trace contextRef="#ctx0" brushRef="#br0" timeOffset="69465.53">22450 12634 0,'0'26'16,"0"-12"-1,0-1-15,0 0 16,0 0-16,0 0 16,0 1-1</inkml:trace>
  <inkml:trace contextRef="#ctx0" brushRef="#br0" timeOffset="69640.32">22582 12621 0</inkml:trace>
  <inkml:trace contextRef="#ctx0" brushRef="#br0" timeOffset="70061.44">22648 12594 0,'27'66'16,"-14"-52"-16,-13 25 15,0-26 1,-13 1-16,13-1 0,-13 0 15,13-39 32,13 26-31,-13-14-16,13-12 16,13-14-1,-12 1 1,-14 25-16,0 1 0,0-13 15,-14 26-15,1-14 16,13 1-16,-13 13 0,-27-13 16,14 13-1,13 0 1,13-13-16,-27 13 0</inkml:trace>
  <inkml:trace contextRef="#ctx0" brushRef="#br0" timeOffset="72358.17">11443 6271 0,'66'13'0,"-52"-13"16,39 13 0,-27-13-16,0 0 0,133 13 15,-119-13 1,13 0-16,-27-13 0,14 13 16,0-13-16,-14 0 15,40-14-15,-39 14 0,-14 0 16,0-1-16,0 1 15,1 0-15,-1 0 0,0 0 0,0-27 16,1-13 0,-14 13-16,0 1 15,0 12-15,0 1 0,-14-40 16,1 13 0,-13 13-16,12 13 15,1 1-15,-27-27 0,-12 13 16,25 14-16,-26-1 15,27 1-15,-1 13 0,-12 0 16,-54-14-16,53 14 16,-39 0-16,39 13 15,-13 0-15,27 0 16,-1 13-16,-39 0 16,27 0-16,-54 40 15,-13 66 1,80-53-16,-1-39 15,14 79-15,0-40 16,26 0 0,0 0-16,0-39 0,54 52 15,12-13 1,-26-39 0,-27-14-16,146 13 15,-119-26-15,40 0 16,-40 0-16,0 0 15</inkml:trace>
  <inkml:trace contextRef="#ctx0" brushRef="#br0" timeOffset="72913.94">12991 6416 0,'79'0'16,"-52"0"-16,185-13 0,-133 13 15,106-13 1,27-1-16,-80 1 16,265 0-16,-119 0 15,-146 0-15,278-1 16,-291 14-16,397-13 31,-423 13-31,-14-13 0,159 13 16,-172 0-1,-13-13-15,-39 13 16,-41-14 15</inkml:trace>
  <inkml:trace contextRef="#ctx0" brushRef="#br0" timeOffset="73380.33">14288 6496 0,'224'-27'15,"-157"27"-15,290-26 16,-146 26-16,-105 0 0,27 0 16,78 0-16,1 0 15,-120 0-15,279 13 32,-318-13-32,0 0 0,39 0 15,-65 0-15,26 0 16,-2315 40-16,4550-80 15,-2275 40-15,14 0 16,-14 0 0,0 0-16,1 0 15,-1 0-15,0 0 32,-39-13 14,12 13-46,1-14 16,0 14-16</inkml:trace>
  <inkml:trace contextRef="#ctx0" brushRef="#br0" timeOffset="75792.95">9869 8136 0,'238'13'31,"-198"-13"-31,13 0 0,105-13 16,-65 0-16,66-27 15,-80 14 1,1-1-16,-14-13 16,-40 27-16,27-40 15,0-26 1,-27 0-16,-26 26 16,-26-66-1,0 52 1,-1 28-16,-79-67 0,67 79 15,-107-39 1,93 40-16,0 13 0,-92-14 16,92 14-16,0 0 15,-172 13 1,79 13 0,107 0-16,-120 53 15,40 27 1,79-27-16,1 0 15,25-39 1,-12 78-16,13-52 16,13 27-1,26 12 1,40 1-16,-39-67 16,-1 1-16,120 65 15,-93-78 1,-14-1-16,80 27 0,-26-27 15,-67 0-15,14-13 16,0 0-16,-14 13 16,1-13-1,-14 0 1,0 0-16,0 0 16,1 0-1,-14 14 1,13-14-16,0 0 31,-26-14 78,0 1-93,13-13 0,-14 26-16,14-40 15,0 27-15</inkml:trace>
  <inkml:trace contextRef="#ctx0" brushRef="#br0" timeOffset="81417.03">6138 9499 0,'0'79'0,"0"-66"15,0 0-15,-13 1 0,13 12 16,-13 14-16,13-14 0,0 1 15,-13 12-15,13-25 16,-14-1-16,14 0 16,0 13-16,0-12 15,0-1-15</inkml:trace>
  <inkml:trace contextRef="#ctx0" brushRef="#br0" timeOffset="81607.32">6363 9723 0,'-13'-13'31</inkml:trace>
  <inkml:trace contextRef="#ctx0" brushRef="#br0" timeOffset="81933.83">6681 9446 0,'-27'39'0,"1"-12"16,13 12-16,13-12 16,0-1-16,-14-12 15,14 12-15,14-13 0,-1 40 16,27-26 0,-14-14-1,-13-13 1,0 0-16,-13-13 15,-13-1 1,13 1-16,-13 13 0,0-13 16,0 13-1,-1 0 1,1 13-16</inkml:trace>
  <inkml:trace contextRef="#ctx0" brushRef="#br0" timeOffset="82236.56">7289 9671 0,'106'-14'15,"-66"14"-15,-27 0 16,27 14-1</inkml:trace>
  <inkml:trace contextRef="#ctx0" brushRef="#br0" timeOffset="82432.73">7355 9842 0,'106'-13'16,"-93"13"0,67 0-1,-67 0-15,14 0 16</inkml:trace>
</inkml:ink>
</file>

<file path=ppt/ink/ink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19:14.924"/>
    </inkml:context>
    <inkml:brush xml:id="br0">
      <inkml:brushProperty name="width" value="0.05" units="cm"/>
      <inkml:brushProperty name="height" value="0.05" units="cm"/>
      <inkml:brushProperty name="ignorePressure" value="1"/>
    </inkml:brush>
  </inkml:definitions>
  <inkml:trace contextRef="#ctx0" brushRef="#br0">176 1,'-27'664,"-25"561,43-895,0-9,-29 207,18-341,11-115,-2 37,10-94</inkml:trace>
</inkml:ink>
</file>

<file path=ppt/ink/ink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19:15.923"/>
    </inkml:context>
    <inkml:brush xml:id="br0">
      <inkml:brushProperty name="width" value="0.05" units="cm"/>
      <inkml:brushProperty name="height" value="0.05" units="cm"/>
      <inkml:brushProperty name="ignorePressure" value="1"/>
    </inkml:brush>
  </inkml:definitions>
  <inkml:trace contextRef="#ctx0" brushRef="#br0">0 82,'91'-17,"507"-6,565-12,-793 28,903 13,-758 30,55 3,-490-37,-42-3,-1 3,58 8,-57-4,-22-4</inkml:trace>
</inkml:ink>
</file>

<file path=ppt/ink/ink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0:10.475"/>
    </inkml:context>
    <inkml:brush xml:id="br0">
      <inkml:brushProperty name="width" value="0.05" units="cm"/>
      <inkml:brushProperty name="height" value="0.05" units="cm"/>
      <inkml:brushProperty name="ignorePressure" value="1"/>
    </inkml:brush>
  </inkml:definitions>
  <inkml:trace contextRef="#ctx0" brushRef="#br0">0 2332,'5'-1,"0"0,0 0,0 0,-1 0,1-1,-1 0,1 0,-1 0,1-1,-1 1,0-1,0 0,-1 0,1 0,0-1,-1 1,0-1,0 0,0 0,3-6,3-4,-1 0,-1-1,0 0,8-27,1-11,125-377,-95 300,-25 66,43-91,6-12,-19 39,-1-8,-18 44,18-64,-38 109,3 0,1 1,34-64,4 1,19-33,-65 128,1 0,1 1,1 0,0 1,0 0,1 1,19-14,-21 18,0 1,0 1,0 0,1 0,0 1,0 1,0 0,0 0,1 1,-1 0,1 1,-1 0,1 1,-1 1,1 0,-1 0,1 1,-1 0,13 5,7 4,0 1,-1 2,0 1,-1 2,36 26,-56-37,135 101,-123-89,0 2,-1 1,0 0,19 30,59 104,-27-38,-15-25,61 131,-96-177,3-1,2-1,35 46,104 113,-106-142,116 96,8 5,-162-140,1-1,1-1,1-1,0-1,1-1,1-1,1-1,0-2,1 0,0-2,1-1,31 6,14 1,-46-9,1-1,1-2,-1-1,33 1,0-5,-15 1,0-1,1-3,-1-2,-1-1,73-21,-63 7,-1-3,-2-2,91-57,31-34,-168 112,0 0,0 1,1 0,-1 1,0 0,1 0,0 0,0 1,-1 0,1 1,0-1,0 2,0-1,-1 1,12 2,15 5,0 1,39 16,-22-7,-7-1,48 25,2 1,67 16,-136-52,2 0,-1-2,1-1,34 1,58 6,-59-3,-36-5,1 2,-1 0,0 1,-1 2,1 1,-1 0,30 19,9 10,68 55,-127-91,8 5,1 0,-1-1,2 0,-1-1,0-1,1 0,0 0,0-1,0-1,1 0,-1-1,0-1,15 0,21-4,0-1,54-13,-76 12</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B8FF0985-4DD9-4444-90FD-F3D97D2F778D}" type="datetimeFigureOut">
              <a:rPr lang="en-US" smtClean="0"/>
              <a:t>2/13/2022</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156871FE-075C-493B-85AE-CB41313C4FA9}" type="slidenum">
              <a:rPr lang="en-US" smtClean="0"/>
              <a:t>‹#›</a:t>
            </a:fld>
            <a:endParaRPr lang="en-US"/>
          </a:p>
        </p:txBody>
      </p:sp>
      <p:sp>
        <p:nvSpPr>
          <p:cNvPr id="8" name="fl" descr="                              Dell - Internal Use - Confidential&#10;"/>
          <p:cNvSpPr txBox="1"/>
          <p:nvPr/>
        </p:nvSpPr>
        <p:spPr>
          <a:xfrm>
            <a:off x="0" y="8737600"/>
            <a:ext cx="7010400" cy="592470"/>
          </a:xfrm>
          <a:prstGeom prst="rect">
            <a:avLst/>
          </a:prstGeom>
          <a:noFill/>
        </p:spPr>
        <p:txBody>
          <a:bodyPr vert="horz" rtlCol="0">
            <a:spAutoFit/>
          </a:bodyPr>
          <a:lstStyle/>
          <a:p>
            <a:pPr algn="l"/>
            <a:r>
              <a:rPr lang="en-US" sz="850" b="1" i="0" u="none" baseline="0">
                <a:solidFill>
                  <a:srgbClr val="7F7F7F"/>
                </a:solidFill>
                <a:latin typeface="museo sans for dell"/>
              </a:rPr>
              <a:t>                              Dell - Internal Use - Confidential</a:t>
            </a:r>
          </a:p>
          <a:p>
            <a:endParaRPr lang="en-US"/>
          </a:p>
        </p:txBody>
      </p:sp>
    </p:spTree>
    <p:extLst>
      <p:ext uri="{BB962C8B-B14F-4D97-AF65-F5344CB8AC3E}">
        <p14:creationId xmlns:p14="http://schemas.microsoft.com/office/powerpoint/2010/main" val="11874371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036790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076086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hypothesis is an idea that can be tested</a:t>
            </a:r>
          </a:p>
        </p:txBody>
      </p:sp>
      <p:sp>
        <p:nvSpPr>
          <p:cNvPr id="4" name="Slide Number Placeholder 3"/>
          <p:cNvSpPr>
            <a:spLocks noGrp="1"/>
          </p:cNvSpPr>
          <p:nvPr>
            <p:ph type="sldNum" sz="quarter" idx="5"/>
          </p:nvPr>
        </p:nvSpPr>
        <p:spPr/>
        <p:txBody>
          <a:bodyPr/>
          <a:lstStyle/>
          <a:p>
            <a:fld id="{156871FE-075C-493B-85AE-CB41313C4FA9}" type="slidenum">
              <a:rPr lang="en-US" smtClean="0"/>
              <a:t>199</a:t>
            </a:fld>
            <a:endParaRPr lang="en-US"/>
          </a:p>
        </p:txBody>
      </p:sp>
    </p:spTree>
    <p:extLst>
      <p:ext uri="{BB962C8B-B14F-4D97-AF65-F5344CB8AC3E}">
        <p14:creationId xmlns:p14="http://schemas.microsoft.com/office/powerpoint/2010/main" val="2611229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974116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buFont typeface="Arial" panose="020B0604020202020204" pitchFamily="34" charset="0"/>
              <a:buChar char="•"/>
            </a:pPr>
            <a:r>
              <a:rPr lang="en-US" b="1" i="0" dirty="0">
                <a:solidFill>
                  <a:schemeClr val="bg1"/>
                </a:solidFill>
                <a:effectLst/>
                <a:latin typeface="roboto" panose="02000000000000000000" pitchFamily="2" charset="0"/>
              </a:rPr>
              <a:t>Performance Management </a:t>
            </a:r>
            <a:r>
              <a:rPr lang="en-US" b="0" i="0" dirty="0">
                <a:solidFill>
                  <a:schemeClr val="bg1"/>
                </a:solidFill>
                <a:effectLst/>
                <a:latin typeface="roboto" panose="02000000000000000000" pitchFamily="2" charset="0"/>
              </a:rPr>
              <a:t>– </a:t>
            </a:r>
            <a:r>
              <a:rPr lang="en-US" b="0" i="0" dirty="0">
                <a:solidFill>
                  <a:schemeClr val="tx2">
                    <a:lumMod val="50000"/>
                  </a:schemeClr>
                </a:solidFill>
                <a:effectLst/>
                <a:latin typeface="roboto" panose="02000000000000000000" pitchFamily="2" charset="0"/>
              </a:rPr>
              <a:t>As mentioned earlier, the importance of statistics in management is significant; with the help of statistics, a manager can analyze the performance or the productivity of employees like the units produced, or the task completed. The manager can use the data in sync with statistical techniques to improve the productivity of the workforce and multiply the production.</a:t>
            </a:r>
          </a:p>
          <a:p>
            <a:pPr algn="just">
              <a:buFont typeface="Arial" panose="020B0604020202020204" pitchFamily="34" charset="0"/>
              <a:buChar char="•"/>
            </a:pPr>
            <a:r>
              <a:rPr lang="en-US" b="1" i="0" dirty="0">
                <a:solidFill>
                  <a:schemeClr val="bg1"/>
                </a:solidFill>
                <a:effectLst/>
                <a:latin typeface="roboto" panose="02000000000000000000" pitchFamily="2" charset="0"/>
              </a:rPr>
              <a:t>Alternative Scenarios</a:t>
            </a:r>
            <a:r>
              <a:rPr lang="en-US" b="0" i="0" dirty="0">
                <a:solidFill>
                  <a:schemeClr val="bg1"/>
                </a:solidFill>
                <a:effectLst/>
                <a:latin typeface="roboto" panose="02000000000000000000" pitchFamily="2" charset="0"/>
              </a:rPr>
              <a:t> – </a:t>
            </a:r>
            <a:r>
              <a:rPr lang="en-US" b="0" i="0" dirty="0">
                <a:solidFill>
                  <a:schemeClr val="tx2">
                    <a:lumMod val="50000"/>
                  </a:schemeClr>
                </a:solidFill>
                <a:effectLst/>
                <a:latin typeface="roboto" panose="02000000000000000000" pitchFamily="2" charset="0"/>
              </a:rPr>
              <a:t>The task or the function of a manager does not end after increasing the productivity of the employees. A manager must participate with the other managers from different department for decision making. The decision can be on the choice of software, systems for customer automatic ordering systems, etc.</a:t>
            </a:r>
          </a:p>
          <a:p>
            <a:pPr algn="just">
              <a:buFont typeface="Arial" panose="020B0604020202020204" pitchFamily="34" charset="0"/>
              <a:buChar char="•"/>
            </a:pPr>
            <a:r>
              <a:rPr lang="en-US" b="1" i="0" dirty="0">
                <a:solidFill>
                  <a:schemeClr val="bg1"/>
                </a:solidFill>
                <a:effectLst/>
                <a:latin typeface="roboto" panose="02000000000000000000" pitchFamily="2" charset="0"/>
              </a:rPr>
              <a:t>Data Collection</a:t>
            </a:r>
            <a:r>
              <a:rPr lang="en-US" b="0" i="0" dirty="0">
                <a:solidFill>
                  <a:schemeClr val="bg1"/>
                </a:solidFill>
                <a:effectLst/>
                <a:latin typeface="roboto" panose="02000000000000000000" pitchFamily="2" charset="0"/>
              </a:rPr>
              <a:t> – </a:t>
            </a:r>
            <a:r>
              <a:rPr lang="en-US" b="0" i="0" dirty="0">
                <a:solidFill>
                  <a:schemeClr val="tx2">
                    <a:lumMod val="50000"/>
                  </a:schemeClr>
                </a:solidFill>
                <a:effectLst/>
                <a:latin typeface="roboto" panose="02000000000000000000" pitchFamily="2" charset="0"/>
              </a:rPr>
              <a:t>The data that is collected for the purpose of processing with the statistical tools must be done in an ethical manner, otherwise, the result of the analysis will be false and non-beneficial. With the help of these data, comparisons can be drawn if the actual sales were less or more than the projected sales or the future capital requirement for the fulfilment of a huge order.</a:t>
            </a:r>
          </a:p>
          <a:p>
            <a:pPr algn="just">
              <a:buFont typeface="Arial" panose="020B0604020202020204" pitchFamily="34" charset="0"/>
              <a:buChar char="•"/>
            </a:pPr>
            <a:r>
              <a:rPr lang="en-US" b="1" i="0" dirty="0">
                <a:solidFill>
                  <a:schemeClr val="bg1"/>
                </a:solidFill>
                <a:effectLst/>
                <a:latin typeface="roboto" panose="02000000000000000000" pitchFamily="2" charset="0"/>
              </a:rPr>
              <a:t>Research And Development</a:t>
            </a:r>
            <a:r>
              <a:rPr lang="en-US" b="0" i="0" dirty="0">
                <a:solidFill>
                  <a:schemeClr val="bg1"/>
                </a:solidFill>
                <a:effectLst/>
                <a:latin typeface="roboto" panose="02000000000000000000" pitchFamily="2" charset="0"/>
              </a:rPr>
              <a:t> – </a:t>
            </a:r>
            <a:r>
              <a:rPr lang="en-US" b="0" i="0" dirty="0">
                <a:solidFill>
                  <a:schemeClr val="tx2">
                    <a:lumMod val="50000"/>
                  </a:schemeClr>
                </a:solidFill>
                <a:effectLst/>
                <a:latin typeface="roboto" panose="02000000000000000000" pitchFamily="2" charset="0"/>
              </a:rPr>
              <a:t>The scope of statistics in business also extends to market research and product development. This is one of the most important functions of statistics, as a sample group is observed and their response to a product is tested, and data collected. This data is essential in the determination of the launch of new products and the development of it.</a:t>
            </a:r>
          </a:p>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235</a:t>
            </a:fld>
            <a:endParaRPr lang="en-US"/>
          </a:p>
        </p:txBody>
      </p:sp>
    </p:spTree>
    <p:extLst>
      <p:ext uri="{BB962C8B-B14F-4D97-AF65-F5344CB8AC3E}">
        <p14:creationId xmlns:p14="http://schemas.microsoft.com/office/powerpoint/2010/main" val="18103409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2</a:t>
            </a:fld>
            <a:endParaRPr lang="en-US"/>
          </a:p>
        </p:txBody>
      </p:sp>
    </p:spTree>
    <p:extLst>
      <p:ext uri="{BB962C8B-B14F-4D97-AF65-F5344CB8AC3E}">
        <p14:creationId xmlns:p14="http://schemas.microsoft.com/office/powerpoint/2010/main" val="30461654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5</a:t>
            </a:fld>
            <a:endParaRPr lang="en-US"/>
          </a:p>
        </p:txBody>
      </p:sp>
    </p:spTree>
    <p:extLst>
      <p:ext uri="{BB962C8B-B14F-4D97-AF65-F5344CB8AC3E}">
        <p14:creationId xmlns:p14="http://schemas.microsoft.com/office/powerpoint/2010/main" val="16505246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07608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974116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591847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130</a:t>
            </a:fld>
            <a:endParaRPr lang="en-US"/>
          </a:p>
        </p:txBody>
      </p:sp>
    </p:spTree>
    <p:extLst>
      <p:ext uri="{BB962C8B-B14F-4D97-AF65-F5344CB8AC3E}">
        <p14:creationId xmlns:p14="http://schemas.microsoft.com/office/powerpoint/2010/main" val="16525461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186</a:t>
            </a:fld>
            <a:endParaRPr lang="en-US"/>
          </a:p>
        </p:txBody>
      </p:sp>
    </p:spTree>
    <p:extLst>
      <p:ext uri="{BB962C8B-B14F-4D97-AF65-F5344CB8AC3E}">
        <p14:creationId xmlns:p14="http://schemas.microsoft.com/office/powerpoint/2010/main" val="14240926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835441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4319" y="1280160"/>
            <a:ext cx="7955279" cy="3200400"/>
          </a:xfrm>
          <a:prstGeom prst="rect">
            <a:avLst/>
          </a:prstGeom>
        </p:spPr>
        <p:txBody>
          <a:bodyPr wrap="square" lIns="0" tIns="0" rIns="0" bIns="0">
            <a:normAutofit/>
          </a:bodyPr>
          <a:lstStyle>
            <a:lvl1pPr marL="0" indent="0">
              <a:lnSpc>
                <a:spcPct val="100000"/>
              </a:lnSpc>
              <a:spcBef>
                <a:spcPts val="1200"/>
              </a:spcBef>
              <a:spcAft>
                <a:spcPts val="0"/>
              </a:spcAft>
              <a:buClr>
                <a:srgbClr val="AAAAAA"/>
              </a:buClr>
              <a:buFont typeface="Arial" pitchFamily="34" charset="0"/>
              <a:buNone/>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p:txBody>
      </p:sp>
    </p:spTree>
    <p:extLst>
      <p:ext uri="{BB962C8B-B14F-4D97-AF65-F5344CB8AC3E}">
        <p14:creationId xmlns:p14="http://schemas.microsoft.com/office/powerpoint/2010/main" val="2175678912"/>
      </p:ext>
    </p:extLst>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4320"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078062111"/>
      </p:ext>
    </p:extLst>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274319" y="1097280"/>
            <a:ext cx="7955280" cy="238842"/>
          </a:xfrm>
          <a:prstGeom prst="rect">
            <a:avLst/>
          </a:prstGeom>
        </p:spPr>
        <p:txBody>
          <a:bodyPr lIns="0" tIns="0" rIns="0" bIns="0"/>
          <a:lstStyle>
            <a:lvl1pPr>
              <a:defRPr lang="en-US" b="1" dirty="0">
                <a:latin typeface="Arial" panose="020B0604020202020204" pitchFamily="34" charset="0"/>
                <a:cs typeface="Arial" panose="020B0604020202020204" pitchFamily="34" charset="0"/>
              </a:defRPr>
            </a:lvl1pPr>
          </a:lstStyle>
          <a:p>
            <a:pPr marL="0" lvl="0" indent="0">
              <a:buNone/>
            </a:pPr>
            <a:r>
              <a:rPr lang="en-US" dirty="0"/>
              <a:t>Subhead</a:t>
            </a:r>
          </a:p>
        </p:txBody>
      </p:sp>
      <p:sp>
        <p:nvSpPr>
          <p:cNvPr id="2" name="Title 1"/>
          <p:cNvSpPr>
            <a:spLocks noGrp="1"/>
          </p:cNvSpPr>
          <p:nvPr>
            <p:ph type="title" hasCustomPrompt="1"/>
          </p:nvPr>
        </p:nvSpPr>
        <p:spPr>
          <a:xfrm>
            <a:off x="274319" y="271885"/>
            <a:ext cx="7955280" cy="640080"/>
          </a:xfrm>
          <a:prstGeom prst="rect">
            <a:avLst/>
          </a:prstGeom>
        </p:spPr>
        <p:txBody>
          <a:bodyPr lIns="0" rIns="0">
            <a:normAutofit/>
          </a:bodyPr>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 </a:t>
            </a:r>
          </a:p>
        </p:txBody>
      </p:sp>
      <p:sp>
        <p:nvSpPr>
          <p:cNvPr id="6" name="Content Placeholder 2"/>
          <p:cNvSpPr>
            <a:spLocks noGrp="1"/>
          </p:cNvSpPr>
          <p:nvPr>
            <p:ph sz="half" idx="1" hasCustomPrompt="1"/>
          </p:nvPr>
        </p:nvSpPr>
        <p:spPr>
          <a:xfrm>
            <a:off x="274320" y="1554480"/>
            <a:ext cx="7955280" cy="301752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254111004"/>
      </p:ext>
    </p:extLst>
  </p:cSld>
  <p:clrMapOvr>
    <a:masterClrMapping/>
  </p:clrMapOvr>
  <p:transition spd="med">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 </a:t>
            </a:r>
          </a:p>
        </p:txBody>
      </p:sp>
      <p:sp>
        <p:nvSpPr>
          <p:cNvPr id="6" name="Content Placeholder 2"/>
          <p:cNvSpPr>
            <a:spLocks noGrp="1"/>
          </p:cNvSpPr>
          <p:nvPr>
            <p:ph sz="half" idx="13" hasCustomPrompt="1"/>
          </p:nvPr>
        </p:nvSpPr>
        <p:spPr>
          <a:xfrm>
            <a:off x="274320" y="1280160"/>
            <a:ext cx="384048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7" name="Content Placeholder 2"/>
          <p:cNvSpPr>
            <a:spLocks noGrp="1"/>
          </p:cNvSpPr>
          <p:nvPr>
            <p:ph sz="half" idx="14" hasCustomPrompt="1"/>
          </p:nvPr>
        </p:nvSpPr>
        <p:spPr>
          <a:xfrm>
            <a:off x="4389120" y="1280160"/>
            <a:ext cx="384048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024378676"/>
      </p:ext>
    </p:extLst>
  </p:cSld>
  <p:clrMapOvr>
    <a:masterClrMapping/>
  </p:clrMapOvr>
  <p:transition spd="med">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0" y="271463"/>
            <a:ext cx="4295219" cy="640080"/>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8" name="Content Placeholder 2"/>
          <p:cNvSpPr>
            <a:spLocks noGrp="1"/>
          </p:cNvSpPr>
          <p:nvPr>
            <p:ph sz="half" idx="13" hasCustomPrompt="1"/>
          </p:nvPr>
        </p:nvSpPr>
        <p:spPr>
          <a:xfrm>
            <a:off x="274320" y="1280160"/>
            <a:ext cx="428386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0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424754075"/>
      </p:ext>
    </p:extLst>
  </p:cSld>
  <p:clrMapOvr>
    <a:masterClrMapping/>
  </p:clrMapOvr>
  <p:transition spd="med">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6"/>
            <a:ext cx="4865304" cy="486332"/>
          </a:xfrm>
          <a:prstGeom prst="rect">
            <a:avLst/>
          </a:prstGeom>
        </p:spPr>
        <p:txBody>
          <a:bodyPr lIns="0" rIns="0"/>
          <a:lstStyle>
            <a:lvl1pPr>
              <a:defRPr baseline="0">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3050" y="1280160"/>
            <a:ext cx="4297680"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rgbClr val="000000"/>
                </a:solidFill>
                <a:latin typeface="Arial" panose="020B0604020202020204" pitchFamily="34" charset="0"/>
                <a:cs typeface="Arial" panose="020B0604020202020204" pitchFamily="34"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a:p>
            <a:pPr lvl="3"/>
            <a:r>
              <a:rPr lang="en-US" dirty="0"/>
              <a:t>Fourth level</a:t>
            </a:r>
          </a:p>
        </p:txBody>
      </p:sp>
      <p:sp>
        <p:nvSpPr>
          <p:cNvPr id="5" name="Text Placeholder 7"/>
          <p:cNvSpPr>
            <a:spLocks noGrp="1"/>
          </p:cNvSpPr>
          <p:nvPr>
            <p:ph type="body" sz="quarter" idx="10" hasCustomPrompt="1"/>
          </p:nvPr>
        </p:nvSpPr>
        <p:spPr>
          <a:xfrm>
            <a:off x="273050" y="819150"/>
            <a:ext cx="4297680" cy="238842"/>
          </a:xfrm>
          <a:prstGeom prst="rect">
            <a:avLst/>
          </a:prstGeom>
        </p:spPr>
        <p:txBody>
          <a:bodyPr lIns="0" tIns="0" rIns="0" b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dirty="0"/>
              <a:t>Subhead</a:t>
            </a:r>
          </a:p>
        </p:txBody>
      </p:sp>
    </p:spTree>
    <p:extLst>
      <p:ext uri="{BB962C8B-B14F-4D97-AF65-F5344CB8AC3E}">
        <p14:creationId xmlns:p14="http://schemas.microsoft.com/office/powerpoint/2010/main" val="2462848660"/>
      </p:ext>
    </p:extLst>
  </p:cSld>
  <p:clrMapOvr>
    <a:masterClrMapping/>
  </p:clrMapOvr>
  <p:transition spd="med">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664797"/>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a:t>
            </a:r>
            <a:br>
              <a:rPr lang="en-US" dirty="0"/>
            </a:br>
            <a:r>
              <a:rPr lang="en-US" dirty="0"/>
              <a:t>page title</a:t>
            </a:r>
          </a:p>
        </p:txBody>
      </p:sp>
      <p:sp>
        <p:nvSpPr>
          <p:cNvPr id="6" name="Content Placeholder 2"/>
          <p:cNvSpPr>
            <a:spLocks noGrp="1"/>
          </p:cNvSpPr>
          <p:nvPr>
            <p:ph sz="half" idx="1" hasCustomPrompt="1"/>
          </p:nvPr>
        </p:nvSpPr>
        <p:spPr>
          <a:xfrm>
            <a:off x="274320" y="1554480"/>
            <a:ext cx="4297680" cy="301752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5" name="Text Placeholder 7"/>
          <p:cNvSpPr>
            <a:spLocks noGrp="1"/>
          </p:cNvSpPr>
          <p:nvPr>
            <p:ph type="body" sz="quarter" idx="10" hasCustomPrompt="1"/>
          </p:nvPr>
        </p:nvSpPr>
        <p:spPr>
          <a:xfrm>
            <a:off x="274320" y="1113348"/>
            <a:ext cx="4297680" cy="238842"/>
          </a:xfrm>
          <a:prstGeom prst="rect">
            <a:avLst/>
          </a:prstGeom>
        </p:spPr>
        <p:txBody>
          <a:bodyPr lIns="0" r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dirty="0"/>
              <a:t>Subhead</a:t>
            </a:r>
          </a:p>
        </p:txBody>
      </p:sp>
    </p:spTree>
    <p:extLst>
      <p:ext uri="{BB962C8B-B14F-4D97-AF65-F5344CB8AC3E}">
        <p14:creationId xmlns:p14="http://schemas.microsoft.com/office/powerpoint/2010/main" val="78229640"/>
      </p:ext>
    </p:extLst>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775402808"/>
      </p:ext>
    </p:extLst>
  </p:cSld>
  <p:clrMapOvr>
    <a:masterClrMapping/>
  </p:clrMapOvr>
  <p:transition spd="med">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2"/>
            <a:ext cx="8229600" cy="637794"/>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478809198"/>
      </p:ext>
    </p:extLst>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47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2/13/2022</a:t>
            </a:fld>
            <a:endParaRPr lang="en-US" sz="900" dirty="0">
              <a:solidFill>
                <a:schemeClr val="bg2">
                  <a:lumMod val="50000"/>
                  <a:lumOff val="50000"/>
                </a:schemeClr>
              </a:solidFill>
              <a:latin typeface="+mn-lt"/>
            </a:endParaRPr>
          </a:p>
        </p:txBody>
      </p:sp>
      <p:sp>
        <p:nvSpPr>
          <p:cNvPr id="13" name="TextBox 12" hidden="1"/>
          <p:cNvSpPr txBox="1"/>
          <p:nvPr/>
        </p:nvSpPr>
        <p:spPr>
          <a:xfrm>
            <a:off x="189547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2/13/2022</a:t>
            </a:fld>
            <a:endParaRPr lang="en-US" sz="900" dirty="0">
              <a:solidFill>
                <a:schemeClr val="bg2">
                  <a:lumMod val="50000"/>
                  <a:lumOff val="50000"/>
                </a:schemeClr>
              </a:solidFill>
              <a:latin typeface="+mn-lt"/>
            </a:endParaRPr>
          </a:p>
        </p:txBody>
      </p:sp>
      <p:sp>
        <p:nvSpPr>
          <p:cNvPr id="22" name="TextBox 21"/>
          <p:cNvSpPr txBox="1"/>
          <p:nvPr/>
        </p:nvSpPr>
        <p:spPr>
          <a:xfrm>
            <a:off x="295274" y="4832722"/>
            <a:ext cx="0"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50" kern="1200" dirty="0" err="1">
              <a:solidFill>
                <a:schemeClr val="bg2">
                  <a:lumMod val="50000"/>
                  <a:lumOff val="50000"/>
                </a:schemeClr>
              </a:solidFill>
              <a:latin typeface="+mn-lt"/>
              <a:ea typeface="+mn-ea"/>
              <a:cs typeface="+mn-cs"/>
            </a:endParaRPr>
          </a:p>
        </p:txBody>
      </p:sp>
      <p:sp>
        <p:nvSpPr>
          <p:cNvPr id="24" name="TextBox 23"/>
          <p:cNvSpPr txBox="1"/>
          <p:nvPr/>
        </p:nvSpPr>
        <p:spPr>
          <a:xfrm>
            <a:off x="295274" y="4832722"/>
            <a:ext cx="0"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50" kern="1200" dirty="0" err="1">
              <a:solidFill>
                <a:schemeClr val="bg2">
                  <a:lumMod val="50000"/>
                  <a:lumOff val="50000"/>
                </a:schemeClr>
              </a:solidFill>
              <a:latin typeface="+mn-lt"/>
              <a:ea typeface="+mn-ea"/>
              <a:cs typeface="+mn-cs"/>
            </a:endParaRPr>
          </a:p>
        </p:txBody>
      </p:sp>
      <p:sp>
        <p:nvSpPr>
          <p:cNvPr id="25" name="TextBox 24"/>
          <p:cNvSpPr txBox="1"/>
          <p:nvPr/>
        </p:nvSpPr>
        <p:spPr>
          <a:xfrm>
            <a:off x="8733880" y="4951976"/>
            <a:ext cx="141064"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fld id="{58EC7406-F4CC-4ABF-902E-2AF4E70E5C0F}" type="slidenum">
              <a:rPr lang="en-US" sz="850" b="0" kern="1200" smtClean="0">
                <a:solidFill>
                  <a:schemeClr val="bg2">
                    <a:lumMod val="50000"/>
                    <a:lumOff val="50000"/>
                  </a:schemeClr>
                </a:solidFill>
                <a:latin typeface="+mn-lt"/>
                <a:ea typeface="+mn-ea"/>
                <a:cs typeface="+mn-cs"/>
              </a:rPr>
              <a:pPr algn="r" rtl="0" fontAlgn="base">
                <a:lnSpc>
                  <a:spcPct val="90000"/>
                </a:lnSpc>
                <a:spcBef>
                  <a:spcPct val="0"/>
                </a:spcBef>
                <a:spcAft>
                  <a:spcPct val="0"/>
                </a:spcAft>
                <a:buClr>
                  <a:schemeClr val="bg1"/>
                </a:buClr>
              </a:pPr>
              <a:t>‹#›</a:t>
            </a:fld>
            <a:endParaRPr lang="en-US" sz="850" b="0" kern="1200" dirty="0" err="1">
              <a:solidFill>
                <a:schemeClr val="bg2">
                  <a:lumMod val="50000"/>
                  <a:lumOff val="50000"/>
                </a:schemeClr>
              </a:solidFill>
              <a:latin typeface="+mn-lt"/>
              <a:ea typeface="+mn-ea"/>
              <a:cs typeface="+mn-cs"/>
            </a:endParaRPr>
          </a:p>
        </p:txBody>
      </p:sp>
      <p:sp>
        <p:nvSpPr>
          <p:cNvPr id="2" name="MSIPCMContentMarking" descr="{&quot;HashCode&quot;:-1912962988,&quot;Placement&quot;:&quot;Footer&quot;}">
            <a:extLst>
              <a:ext uri="{FF2B5EF4-FFF2-40B4-BE49-F238E27FC236}">
                <a16:creationId xmlns:a16="http://schemas.microsoft.com/office/drawing/2014/main" id="{F328E8F9-C379-4B42-A39A-E2B6F2E173A0}"/>
              </a:ext>
            </a:extLst>
          </p:cNvPr>
          <p:cNvSpPr txBox="1"/>
          <p:nvPr userDrawn="1"/>
        </p:nvSpPr>
        <p:spPr>
          <a:xfrm>
            <a:off x="-71846" y="4769553"/>
            <a:ext cx="1185008" cy="161583"/>
          </a:xfrm>
          <a:prstGeom prst="rect">
            <a:avLst/>
          </a:prstGeom>
          <a:noFill/>
        </p:spPr>
        <p:txBody>
          <a:bodyPr vert="horz" wrap="square" lIns="0" tIns="0" rIns="0" bIns="0" rtlCol="0" anchor="ctr" anchorCtr="1">
            <a:spAutoFit/>
          </a:bodyPr>
          <a:lstStyle/>
          <a:p>
            <a:pPr algn="l">
              <a:spcBef>
                <a:spcPts val="0"/>
              </a:spcBef>
              <a:spcAft>
                <a:spcPts val="0"/>
              </a:spcAft>
              <a:buClr>
                <a:schemeClr val="bg1"/>
              </a:buClr>
            </a:pPr>
            <a:r>
              <a:rPr lang="en-US" sz="1050" dirty="0">
                <a:solidFill>
                  <a:srgbClr val="7F7F7F"/>
                </a:solidFill>
                <a:latin typeface="Calibri" panose="020F0502020204030204" pitchFamily="34" charset="0"/>
              </a:rPr>
              <a:t>Trainer : Arun</a:t>
            </a:r>
            <a:endParaRPr lang="en-US" sz="700" dirty="0">
              <a:solidFill>
                <a:srgbClr val="7F7F7F"/>
              </a:solidFill>
              <a:latin typeface="Calibri" panose="020F0502020204030204" pitchFamily="34" charset="0"/>
            </a:endParaRPr>
          </a:p>
        </p:txBody>
      </p:sp>
      <p:sp>
        <p:nvSpPr>
          <p:cNvPr id="10" name="MSIPCMContentMarking" descr="{&quot;HashCode&quot;:-1912962988,&quot;Placement&quot;:&quot;Footer&quot;}">
            <a:extLst>
              <a:ext uri="{FF2B5EF4-FFF2-40B4-BE49-F238E27FC236}">
                <a16:creationId xmlns:a16="http://schemas.microsoft.com/office/drawing/2014/main" id="{D04AD605-86D5-49BD-9594-34302F56EB58}"/>
              </a:ext>
            </a:extLst>
          </p:cNvPr>
          <p:cNvSpPr txBox="1"/>
          <p:nvPr userDrawn="1"/>
        </p:nvSpPr>
        <p:spPr>
          <a:xfrm>
            <a:off x="-1" y="4931136"/>
            <a:ext cx="1665509" cy="161583"/>
          </a:xfrm>
          <a:prstGeom prst="rect">
            <a:avLst/>
          </a:prstGeom>
          <a:noFill/>
        </p:spPr>
        <p:txBody>
          <a:bodyPr vert="horz" wrap="square" lIns="0" tIns="0" rIns="0" bIns="0" rtlCol="0" anchor="ctr" anchorCtr="1">
            <a:spAutoFit/>
          </a:bodyPr>
          <a:lstStyle/>
          <a:p>
            <a:pPr algn="l">
              <a:spcBef>
                <a:spcPts val="0"/>
              </a:spcBef>
              <a:spcAft>
                <a:spcPts val="0"/>
              </a:spcAft>
              <a:buClr>
                <a:schemeClr val="bg1"/>
              </a:buClr>
            </a:pPr>
            <a:r>
              <a:rPr lang="en-US" sz="1050" dirty="0">
                <a:solidFill>
                  <a:srgbClr val="7F7F7F"/>
                </a:solidFill>
                <a:latin typeface="Calibri" panose="020F0502020204030204" pitchFamily="34" charset="0"/>
              </a:rPr>
              <a:t>Statistics for Data Science</a:t>
            </a:r>
            <a:endParaRPr lang="en-US" sz="7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2209482782"/>
      </p:ext>
    </p:extLst>
  </p:cSld>
  <p:clrMap bg1="dk2" tx1="lt1" bg2="dk1" tx2="lt2" accent1="accent1" accent2="accent2" accent3="accent3" accent4="accent4" accent5="accent5" accent6="accent6" hlink="hlink" folHlink="folHlink"/>
  <p:sldLayoutIdLst>
    <p:sldLayoutId id="2147484367" r:id="rId1"/>
    <p:sldLayoutId id="2147484244" r:id="rId2"/>
    <p:sldLayoutId id="2147484245" r:id="rId3"/>
    <p:sldLayoutId id="2147484246" r:id="rId4"/>
    <p:sldLayoutId id="2147484247" r:id="rId5"/>
    <p:sldLayoutId id="2147484460" r:id="rId6"/>
    <p:sldLayoutId id="2147484249" r:id="rId7"/>
    <p:sldLayoutId id="2147484250" r:id="rId8"/>
    <p:sldLayoutId id="2147484463" r:id="rId9"/>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84">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ags" Target="../tags/tag2.xml"/><Relationship Id="rId7" Type="http://schemas.openxmlformats.org/officeDocument/2006/relationships/image" Target="../media/image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9.xml"/><Relationship Id="rId9" Type="http://schemas.openxmlformats.org/officeDocument/2006/relationships/hyperlink" Target="https://scherlund.blogspot.com/2018/01/ai-and-machine-learning-give-new.html"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1.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image" Target="../media/image163.emf"/><Relationship Id="rId1" Type="http://schemas.openxmlformats.org/officeDocument/2006/relationships/slideLayout" Target="../slideLayouts/slideLayout9.xml"/><Relationship Id="rId4" Type="http://schemas.openxmlformats.org/officeDocument/2006/relationships/image" Target="../media/image165.png"/></Relationships>
</file>

<file path=ppt/slides/_rels/slide102.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customXml" Target="../ink/ink95.xml"/><Relationship Id="rId1" Type="http://schemas.openxmlformats.org/officeDocument/2006/relationships/slideLayout" Target="../slideLayouts/slideLayout9.xml"/></Relationships>
</file>

<file path=ppt/slides/_rels/slide103.xml.rels><?xml version="1.0" encoding="UTF-8" standalone="yes"?>
<Relationships xmlns="http://schemas.openxmlformats.org/package/2006/relationships"><Relationship Id="rId3" Type="http://schemas.openxmlformats.org/officeDocument/2006/relationships/customXml" Target="../ink/ink96.xml"/><Relationship Id="rId2" Type="http://schemas.openxmlformats.org/officeDocument/2006/relationships/image" Target="../media/image167.png"/><Relationship Id="rId1" Type="http://schemas.openxmlformats.org/officeDocument/2006/relationships/slideLayout" Target="../slideLayouts/slideLayout9.xml"/><Relationship Id="rId4" Type="http://schemas.openxmlformats.org/officeDocument/2006/relationships/image" Target="../media/image168.png"/></Relationships>
</file>

<file path=ppt/slides/_rels/slide104.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image" Target="../media/image167.png"/><Relationship Id="rId1" Type="http://schemas.openxmlformats.org/officeDocument/2006/relationships/slideLayout" Target="../slideLayouts/slideLayout9.xml"/></Relationships>
</file>

<file path=ppt/slides/_rels/slide105.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hyperlink" Target="https://www.mathsisfun.com/data/bar-graphs.html" TargetMode="External"/><Relationship Id="rId1" Type="http://schemas.openxmlformats.org/officeDocument/2006/relationships/slideLayout" Target="../slideLayouts/slideLayout9.xml"/><Relationship Id="rId4" Type="http://schemas.openxmlformats.org/officeDocument/2006/relationships/image" Target="../media/image171.png"/></Relationships>
</file>

<file path=ppt/slides/_rels/slide106.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9.xml"/></Relationships>
</file>

<file path=ppt/slides/_rels/slide107.xml.rels><?xml version="1.0" encoding="UTF-8" standalone="yes"?>
<Relationships xmlns="http://schemas.openxmlformats.org/package/2006/relationships"><Relationship Id="rId3" Type="http://schemas.openxmlformats.org/officeDocument/2006/relationships/image" Target="../media/image173.emf"/><Relationship Id="rId2" Type="http://schemas.openxmlformats.org/officeDocument/2006/relationships/image" Target="../media/image172.png"/><Relationship Id="rId1" Type="http://schemas.openxmlformats.org/officeDocument/2006/relationships/slideLayout" Target="../slideLayouts/slideLayout5.xml"/><Relationship Id="rId5" Type="http://schemas.openxmlformats.org/officeDocument/2006/relationships/hyperlink" Target="https://www.mathsisfun.com/data/bar-graphs.html" TargetMode="External"/><Relationship Id="rId4" Type="http://schemas.openxmlformats.org/officeDocument/2006/relationships/hyperlink" Target="https://www.mathsisfun.com/data/data-discrete-continuous.html" TargetMode="External"/></Relationships>
</file>

<file path=ppt/slides/_rels/slide108.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5.xml"/></Relationships>
</file>

<file path=ppt/slides/_rels/slide109.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image" Target="../media/image175.png"/><Relationship Id="rId1" Type="http://schemas.openxmlformats.org/officeDocument/2006/relationships/slideLayout" Target="../slideLayouts/slideLayout5.xml"/><Relationship Id="rId4" Type="http://schemas.openxmlformats.org/officeDocument/2006/relationships/image" Target="../media/image177.png"/></Relationships>
</file>

<file path=ppt/slides/_rels/slide11.xml.rels><?xml version="1.0" encoding="UTF-8" standalone="yes"?>
<Relationships xmlns="http://schemas.openxmlformats.org/package/2006/relationships"><Relationship Id="rId3" Type="http://schemas.openxmlformats.org/officeDocument/2006/relationships/hyperlink" Target="http://www.collectedny.org/careerposts/assessing-job-offers/" TargetMode="External"/><Relationship Id="rId2" Type="http://schemas.openxmlformats.org/officeDocument/2006/relationships/image" Target="../media/image12.jp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hyperlink" Target="https://www.pexels.com/photo/university-entrance-arch-247823/" TargetMode="External"/><Relationship Id="rId4" Type="http://schemas.openxmlformats.org/officeDocument/2006/relationships/image" Target="../media/image13.jpeg"/></Relationships>
</file>

<file path=ppt/slides/_rels/slide110.xml.rels><?xml version="1.0" encoding="UTF-8" standalone="yes"?>
<Relationships xmlns="http://schemas.openxmlformats.org/package/2006/relationships"><Relationship Id="rId2" Type="http://schemas.openxmlformats.org/officeDocument/2006/relationships/image" Target="../media/image178.png"/><Relationship Id="rId1" Type="http://schemas.openxmlformats.org/officeDocument/2006/relationships/slideLayout" Target="../slideLayouts/slideLayout5.xml"/></Relationships>
</file>

<file path=ppt/slides/_rels/slide111.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image" Target="../media/image179.png"/><Relationship Id="rId1" Type="http://schemas.openxmlformats.org/officeDocument/2006/relationships/slideLayout" Target="../slideLayouts/slideLayout5.xml"/><Relationship Id="rId4" Type="http://schemas.openxmlformats.org/officeDocument/2006/relationships/image" Target="../media/image181.png"/></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7.xml.rels><?xml version="1.0" encoding="UTF-8" standalone="yes"?>
<Relationships xmlns="http://schemas.openxmlformats.org/package/2006/relationships"><Relationship Id="rId3" Type="http://schemas.openxmlformats.org/officeDocument/2006/relationships/hyperlink" Target="https://www.mathsisfun.com/data/standard-normal-distribution.html" TargetMode="External"/><Relationship Id="rId2" Type="http://schemas.openxmlformats.org/officeDocument/2006/relationships/image" Target="../media/image182.png"/><Relationship Id="rId1" Type="http://schemas.openxmlformats.org/officeDocument/2006/relationships/slideLayout" Target="../slideLayouts/slideLayout5.xml"/></Relationships>
</file>

<file path=ppt/slides/_rels/slide118.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5.xml"/></Relationships>
</file>

<file path=ppt/slides/_rels/slide119.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5.xml"/></Relationships>
</file>

<file path=ppt/slides/_rels/slide121.xml.rels><?xml version="1.0" encoding="UTF-8" standalone="yes"?>
<Relationships xmlns="http://schemas.openxmlformats.org/package/2006/relationships"><Relationship Id="rId2" Type="http://schemas.openxmlformats.org/officeDocument/2006/relationships/image" Target="../media/image186.png"/><Relationship Id="rId1" Type="http://schemas.openxmlformats.org/officeDocument/2006/relationships/slideLayout" Target="../slideLayouts/slideLayout5.xml"/></Relationships>
</file>

<file path=ppt/slides/_rels/slide122.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5.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4.xml.rels><?xml version="1.0" encoding="UTF-8" standalone="yes"?>
<Relationships xmlns="http://schemas.openxmlformats.org/package/2006/relationships"><Relationship Id="rId3" Type="http://schemas.openxmlformats.org/officeDocument/2006/relationships/hyperlink" Target="https://pxhere.com/en/photo/1098814" TargetMode="External"/><Relationship Id="rId2" Type="http://schemas.openxmlformats.org/officeDocument/2006/relationships/image" Target="../media/image188.jpeg"/><Relationship Id="rId1" Type="http://schemas.openxmlformats.org/officeDocument/2006/relationships/slideLayout" Target="../slideLayouts/slideLayout5.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6.xml.rels><?xml version="1.0" encoding="UTF-8" standalone="yes"?>
<Relationships xmlns="http://schemas.openxmlformats.org/package/2006/relationships"><Relationship Id="rId3" Type="http://schemas.openxmlformats.org/officeDocument/2006/relationships/image" Target="../media/image1870.png"/><Relationship Id="rId7" Type="http://schemas.openxmlformats.org/officeDocument/2006/relationships/image" Target="../media/image189.png"/><Relationship Id="rId2" Type="http://schemas.openxmlformats.org/officeDocument/2006/relationships/customXml" Target="../ink/ink97.xml"/><Relationship Id="rId1" Type="http://schemas.openxmlformats.org/officeDocument/2006/relationships/slideLayout" Target="../slideLayouts/slideLayout5.xml"/><Relationship Id="rId6" Type="http://schemas.openxmlformats.org/officeDocument/2006/relationships/customXml" Target="../ink/ink99.xml"/><Relationship Id="rId5" Type="http://schemas.openxmlformats.org/officeDocument/2006/relationships/image" Target="../media/image188.png"/><Relationship Id="rId4" Type="http://schemas.openxmlformats.org/officeDocument/2006/relationships/customXml" Target="../ink/ink98.xml"/></Relationships>
</file>

<file path=ppt/slides/_rels/slide127.xml.rels><?xml version="1.0" encoding="UTF-8" standalone="yes"?>
<Relationships xmlns="http://schemas.openxmlformats.org/package/2006/relationships"><Relationship Id="rId26" Type="http://schemas.openxmlformats.org/officeDocument/2006/relationships/image" Target="../media/image202.png"/><Relationship Id="rId21" Type="http://schemas.openxmlformats.org/officeDocument/2006/relationships/customXml" Target="../ink/ink109.xml"/><Relationship Id="rId42" Type="http://schemas.openxmlformats.org/officeDocument/2006/relationships/image" Target="../media/image210.png"/><Relationship Id="rId47" Type="http://schemas.openxmlformats.org/officeDocument/2006/relationships/customXml" Target="../ink/ink122.xml"/><Relationship Id="rId63" Type="http://schemas.openxmlformats.org/officeDocument/2006/relationships/image" Target="../media/image220.png"/><Relationship Id="rId68" Type="http://schemas.openxmlformats.org/officeDocument/2006/relationships/customXml" Target="../ink/ink133.xml"/><Relationship Id="rId84" Type="http://schemas.openxmlformats.org/officeDocument/2006/relationships/customXml" Target="../ink/ink141.xml"/><Relationship Id="rId89" Type="http://schemas.openxmlformats.org/officeDocument/2006/relationships/image" Target="../media/image233.png"/><Relationship Id="rId112" Type="http://schemas.openxmlformats.org/officeDocument/2006/relationships/customXml" Target="../ink/ink155.xml"/><Relationship Id="rId16" Type="http://schemas.openxmlformats.org/officeDocument/2006/relationships/image" Target="../media/image197.png"/><Relationship Id="rId107" Type="http://schemas.openxmlformats.org/officeDocument/2006/relationships/image" Target="../media/image242.png"/><Relationship Id="rId11" Type="http://schemas.openxmlformats.org/officeDocument/2006/relationships/customXml" Target="../ink/ink104.xml"/><Relationship Id="rId32" Type="http://schemas.openxmlformats.org/officeDocument/2006/relationships/image" Target="../media/image205.png"/><Relationship Id="rId37" Type="http://schemas.openxmlformats.org/officeDocument/2006/relationships/customXml" Target="../ink/ink117.xml"/><Relationship Id="rId53" Type="http://schemas.openxmlformats.org/officeDocument/2006/relationships/customXml" Target="../ink/ink125.xml"/><Relationship Id="rId58" Type="http://schemas.openxmlformats.org/officeDocument/2006/relationships/customXml" Target="../ink/ink128.xml"/><Relationship Id="rId74" Type="http://schemas.openxmlformats.org/officeDocument/2006/relationships/customXml" Target="../ink/ink136.xml"/><Relationship Id="rId79" Type="http://schemas.openxmlformats.org/officeDocument/2006/relationships/image" Target="../media/image228.png"/><Relationship Id="rId102" Type="http://schemas.openxmlformats.org/officeDocument/2006/relationships/customXml" Target="../ink/ink150.xml"/><Relationship Id="rId5" Type="http://schemas.openxmlformats.org/officeDocument/2006/relationships/customXml" Target="../ink/ink101.xml"/><Relationship Id="rId90" Type="http://schemas.openxmlformats.org/officeDocument/2006/relationships/customXml" Target="../ink/ink144.xml"/><Relationship Id="rId95" Type="http://schemas.openxmlformats.org/officeDocument/2006/relationships/image" Target="../media/image236.png"/><Relationship Id="rId22" Type="http://schemas.openxmlformats.org/officeDocument/2006/relationships/image" Target="../media/image200.png"/><Relationship Id="rId27" Type="http://schemas.openxmlformats.org/officeDocument/2006/relationships/customXml" Target="../ink/ink112.xml"/><Relationship Id="rId43" Type="http://schemas.openxmlformats.org/officeDocument/2006/relationships/customXml" Target="../ink/ink120.xml"/><Relationship Id="rId48" Type="http://schemas.openxmlformats.org/officeDocument/2006/relationships/image" Target="../media/image213.png"/><Relationship Id="rId64" Type="http://schemas.openxmlformats.org/officeDocument/2006/relationships/customXml" Target="../ink/ink131.xml"/><Relationship Id="rId69" Type="http://schemas.openxmlformats.org/officeDocument/2006/relationships/image" Target="../media/image223.png"/><Relationship Id="rId113" Type="http://schemas.openxmlformats.org/officeDocument/2006/relationships/image" Target="../media/image245.png"/><Relationship Id="rId80" Type="http://schemas.openxmlformats.org/officeDocument/2006/relationships/customXml" Target="../ink/ink139.xml"/><Relationship Id="rId85" Type="http://schemas.openxmlformats.org/officeDocument/2006/relationships/image" Target="../media/image231.png"/><Relationship Id="rId12" Type="http://schemas.openxmlformats.org/officeDocument/2006/relationships/image" Target="../media/image195.png"/><Relationship Id="rId17" Type="http://schemas.openxmlformats.org/officeDocument/2006/relationships/customXml" Target="../ink/ink107.xml"/><Relationship Id="rId33" Type="http://schemas.openxmlformats.org/officeDocument/2006/relationships/customXml" Target="../ink/ink115.xml"/><Relationship Id="rId38" Type="http://schemas.openxmlformats.org/officeDocument/2006/relationships/image" Target="../media/image208.png"/><Relationship Id="rId59" Type="http://schemas.openxmlformats.org/officeDocument/2006/relationships/image" Target="../media/image218.png"/><Relationship Id="rId103" Type="http://schemas.openxmlformats.org/officeDocument/2006/relationships/image" Target="../media/image240.png"/><Relationship Id="rId108" Type="http://schemas.openxmlformats.org/officeDocument/2006/relationships/customXml" Target="../ink/ink153.xml"/><Relationship Id="rId54" Type="http://schemas.openxmlformats.org/officeDocument/2006/relationships/customXml" Target="../ink/ink126.xml"/><Relationship Id="rId70" Type="http://schemas.openxmlformats.org/officeDocument/2006/relationships/customXml" Target="../ink/ink134.xml"/><Relationship Id="rId75" Type="http://schemas.openxmlformats.org/officeDocument/2006/relationships/image" Target="../media/image226.png"/><Relationship Id="rId91" Type="http://schemas.openxmlformats.org/officeDocument/2006/relationships/image" Target="../media/image234.png"/><Relationship Id="rId96" Type="http://schemas.openxmlformats.org/officeDocument/2006/relationships/customXml" Target="../ink/ink147.xml"/><Relationship Id="rId1" Type="http://schemas.openxmlformats.org/officeDocument/2006/relationships/slideLayout" Target="../slideLayouts/slideLayout5.xml"/><Relationship Id="rId6" Type="http://schemas.openxmlformats.org/officeDocument/2006/relationships/image" Target="../media/image192.png"/><Relationship Id="rId15" Type="http://schemas.openxmlformats.org/officeDocument/2006/relationships/customXml" Target="../ink/ink106.xml"/><Relationship Id="rId23" Type="http://schemas.openxmlformats.org/officeDocument/2006/relationships/customXml" Target="../ink/ink110.xml"/><Relationship Id="rId28" Type="http://schemas.openxmlformats.org/officeDocument/2006/relationships/image" Target="../media/image203.png"/><Relationship Id="rId36" Type="http://schemas.openxmlformats.org/officeDocument/2006/relationships/image" Target="../media/image207.png"/><Relationship Id="rId49" Type="http://schemas.openxmlformats.org/officeDocument/2006/relationships/customXml" Target="../ink/ink123.xml"/><Relationship Id="rId57" Type="http://schemas.openxmlformats.org/officeDocument/2006/relationships/image" Target="../media/image217.png"/><Relationship Id="rId106" Type="http://schemas.openxmlformats.org/officeDocument/2006/relationships/customXml" Target="../ink/ink152.xml"/><Relationship Id="rId114" Type="http://schemas.openxmlformats.org/officeDocument/2006/relationships/customXml" Target="../ink/ink156.xml"/><Relationship Id="rId10" Type="http://schemas.openxmlformats.org/officeDocument/2006/relationships/image" Target="../media/image194.png"/><Relationship Id="rId31" Type="http://schemas.openxmlformats.org/officeDocument/2006/relationships/customXml" Target="../ink/ink114.xml"/><Relationship Id="rId44" Type="http://schemas.openxmlformats.org/officeDocument/2006/relationships/image" Target="../media/image211.png"/><Relationship Id="rId52" Type="http://schemas.openxmlformats.org/officeDocument/2006/relationships/image" Target="../media/image215.png"/><Relationship Id="rId60" Type="http://schemas.openxmlformats.org/officeDocument/2006/relationships/customXml" Target="../ink/ink129.xml"/><Relationship Id="rId65" Type="http://schemas.openxmlformats.org/officeDocument/2006/relationships/image" Target="../media/image221.png"/><Relationship Id="rId73" Type="http://schemas.openxmlformats.org/officeDocument/2006/relationships/image" Target="../media/image225.png"/><Relationship Id="rId78" Type="http://schemas.openxmlformats.org/officeDocument/2006/relationships/customXml" Target="../ink/ink138.xml"/><Relationship Id="rId81" Type="http://schemas.openxmlformats.org/officeDocument/2006/relationships/image" Target="../media/image229.png"/><Relationship Id="rId86" Type="http://schemas.openxmlformats.org/officeDocument/2006/relationships/customXml" Target="../ink/ink142.xml"/><Relationship Id="rId94" Type="http://schemas.openxmlformats.org/officeDocument/2006/relationships/customXml" Target="../ink/ink146.xml"/><Relationship Id="rId99" Type="http://schemas.openxmlformats.org/officeDocument/2006/relationships/image" Target="../media/image238.png"/><Relationship Id="rId101" Type="http://schemas.openxmlformats.org/officeDocument/2006/relationships/image" Target="../media/image239.png"/><Relationship Id="rId4" Type="http://schemas.openxmlformats.org/officeDocument/2006/relationships/image" Target="../media/image191.png"/><Relationship Id="rId9" Type="http://schemas.openxmlformats.org/officeDocument/2006/relationships/customXml" Target="../ink/ink103.xml"/><Relationship Id="rId13" Type="http://schemas.openxmlformats.org/officeDocument/2006/relationships/customXml" Target="../ink/ink105.xml"/><Relationship Id="rId18" Type="http://schemas.openxmlformats.org/officeDocument/2006/relationships/image" Target="../media/image198.png"/><Relationship Id="rId39" Type="http://schemas.openxmlformats.org/officeDocument/2006/relationships/customXml" Target="../ink/ink118.xml"/><Relationship Id="rId109" Type="http://schemas.openxmlformats.org/officeDocument/2006/relationships/image" Target="../media/image243.png"/><Relationship Id="rId34" Type="http://schemas.openxmlformats.org/officeDocument/2006/relationships/image" Target="../media/image206.png"/><Relationship Id="rId50" Type="http://schemas.openxmlformats.org/officeDocument/2006/relationships/image" Target="../media/image214.png"/><Relationship Id="rId55" Type="http://schemas.openxmlformats.org/officeDocument/2006/relationships/image" Target="../media/image216.png"/><Relationship Id="rId76" Type="http://schemas.openxmlformats.org/officeDocument/2006/relationships/customXml" Target="../ink/ink137.xml"/><Relationship Id="rId97" Type="http://schemas.openxmlformats.org/officeDocument/2006/relationships/image" Target="../media/image237.png"/><Relationship Id="rId104" Type="http://schemas.openxmlformats.org/officeDocument/2006/relationships/customXml" Target="../ink/ink151.xml"/><Relationship Id="rId7" Type="http://schemas.openxmlformats.org/officeDocument/2006/relationships/customXml" Target="../ink/ink102.xml"/><Relationship Id="rId71" Type="http://schemas.openxmlformats.org/officeDocument/2006/relationships/image" Target="../media/image224.png"/><Relationship Id="rId92" Type="http://schemas.openxmlformats.org/officeDocument/2006/relationships/customXml" Target="../ink/ink145.xml"/><Relationship Id="rId2" Type="http://schemas.openxmlformats.org/officeDocument/2006/relationships/image" Target="../media/image190.png"/><Relationship Id="rId29" Type="http://schemas.openxmlformats.org/officeDocument/2006/relationships/customXml" Target="../ink/ink113.xml"/><Relationship Id="rId24" Type="http://schemas.openxmlformats.org/officeDocument/2006/relationships/image" Target="../media/image201.png"/><Relationship Id="rId40" Type="http://schemas.openxmlformats.org/officeDocument/2006/relationships/image" Target="../media/image209.png"/><Relationship Id="rId45" Type="http://schemas.openxmlformats.org/officeDocument/2006/relationships/customXml" Target="../ink/ink121.xml"/><Relationship Id="rId66" Type="http://schemas.openxmlformats.org/officeDocument/2006/relationships/customXml" Target="../ink/ink132.xml"/><Relationship Id="rId87" Type="http://schemas.openxmlformats.org/officeDocument/2006/relationships/image" Target="../media/image232.png"/><Relationship Id="rId110" Type="http://schemas.openxmlformats.org/officeDocument/2006/relationships/customXml" Target="../ink/ink154.xml"/><Relationship Id="rId115" Type="http://schemas.openxmlformats.org/officeDocument/2006/relationships/image" Target="../media/image246.png"/><Relationship Id="rId61" Type="http://schemas.openxmlformats.org/officeDocument/2006/relationships/image" Target="../media/image219.png"/><Relationship Id="rId82" Type="http://schemas.openxmlformats.org/officeDocument/2006/relationships/customXml" Target="../ink/ink140.xml"/><Relationship Id="rId19" Type="http://schemas.openxmlformats.org/officeDocument/2006/relationships/customXml" Target="../ink/ink108.xml"/><Relationship Id="rId14" Type="http://schemas.openxmlformats.org/officeDocument/2006/relationships/image" Target="../media/image196.png"/><Relationship Id="rId30" Type="http://schemas.openxmlformats.org/officeDocument/2006/relationships/image" Target="../media/image204.png"/><Relationship Id="rId35" Type="http://schemas.openxmlformats.org/officeDocument/2006/relationships/customXml" Target="../ink/ink116.xml"/><Relationship Id="rId56" Type="http://schemas.openxmlformats.org/officeDocument/2006/relationships/customXml" Target="../ink/ink127.xml"/><Relationship Id="rId77" Type="http://schemas.openxmlformats.org/officeDocument/2006/relationships/image" Target="../media/image227.png"/><Relationship Id="rId100" Type="http://schemas.openxmlformats.org/officeDocument/2006/relationships/customXml" Target="../ink/ink149.xml"/><Relationship Id="rId105" Type="http://schemas.openxmlformats.org/officeDocument/2006/relationships/image" Target="../media/image241.png"/><Relationship Id="rId8" Type="http://schemas.openxmlformats.org/officeDocument/2006/relationships/image" Target="../media/image193.png"/><Relationship Id="rId51" Type="http://schemas.openxmlformats.org/officeDocument/2006/relationships/customXml" Target="../ink/ink124.xml"/><Relationship Id="rId72" Type="http://schemas.openxmlformats.org/officeDocument/2006/relationships/customXml" Target="../ink/ink135.xml"/><Relationship Id="rId93" Type="http://schemas.openxmlformats.org/officeDocument/2006/relationships/image" Target="../media/image235.png"/><Relationship Id="rId98" Type="http://schemas.openxmlformats.org/officeDocument/2006/relationships/customXml" Target="../ink/ink148.xml"/><Relationship Id="rId3" Type="http://schemas.openxmlformats.org/officeDocument/2006/relationships/customXml" Target="../ink/ink100.xml"/><Relationship Id="rId25" Type="http://schemas.openxmlformats.org/officeDocument/2006/relationships/customXml" Target="../ink/ink111.xml"/><Relationship Id="rId46" Type="http://schemas.openxmlformats.org/officeDocument/2006/relationships/image" Target="../media/image212.png"/><Relationship Id="rId67" Type="http://schemas.openxmlformats.org/officeDocument/2006/relationships/image" Target="../media/image222.png"/><Relationship Id="rId20" Type="http://schemas.openxmlformats.org/officeDocument/2006/relationships/image" Target="../media/image199.png"/><Relationship Id="rId41" Type="http://schemas.openxmlformats.org/officeDocument/2006/relationships/customXml" Target="../ink/ink119.xml"/><Relationship Id="rId62" Type="http://schemas.openxmlformats.org/officeDocument/2006/relationships/customXml" Target="../ink/ink130.xml"/><Relationship Id="rId83" Type="http://schemas.openxmlformats.org/officeDocument/2006/relationships/image" Target="../media/image230.png"/><Relationship Id="rId88" Type="http://schemas.openxmlformats.org/officeDocument/2006/relationships/customXml" Target="../ink/ink143.xml"/><Relationship Id="rId111" Type="http://schemas.openxmlformats.org/officeDocument/2006/relationships/image" Target="../media/image244.png"/></Relationships>
</file>

<file path=ppt/slides/_rels/slide128.xml.rels><?xml version="1.0" encoding="UTF-8" standalone="yes"?>
<Relationships xmlns="http://schemas.openxmlformats.org/package/2006/relationships"><Relationship Id="rId13" Type="http://schemas.openxmlformats.org/officeDocument/2006/relationships/customXml" Target="../ink/ink162.xml"/><Relationship Id="rId18" Type="http://schemas.openxmlformats.org/officeDocument/2006/relationships/image" Target="../media/image251.png"/><Relationship Id="rId26" Type="http://schemas.openxmlformats.org/officeDocument/2006/relationships/image" Target="../media/image255.png"/><Relationship Id="rId3" Type="http://schemas.openxmlformats.org/officeDocument/2006/relationships/image" Target="../media/image1870.png"/><Relationship Id="rId21" Type="http://schemas.openxmlformats.org/officeDocument/2006/relationships/customXml" Target="../ink/ink166.xml"/><Relationship Id="rId34" Type="http://schemas.openxmlformats.org/officeDocument/2006/relationships/image" Target="../media/image259.png"/><Relationship Id="rId7" Type="http://schemas.openxmlformats.org/officeDocument/2006/relationships/image" Target="../media/image189.png"/><Relationship Id="rId12" Type="http://schemas.openxmlformats.org/officeDocument/2006/relationships/image" Target="../media/image248.png"/><Relationship Id="rId17" Type="http://schemas.openxmlformats.org/officeDocument/2006/relationships/customXml" Target="../ink/ink164.xml"/><Relationship Id="rId25" Type="http://schemas.openxmlformats.org/officeDocument/2006/relationships/customXml" Target="../ink/ink168.xml"/><Relationship Id="rId33" Type="http://schemas.openxmlformats.org/officeDocument/2006/relationships/customXml" Target="../ink/ink172.xml"/><Relationship Id="rId2" Type="http://schemas.openxmlformats.org/officeDocument/2006/relationships/customXml" Target="../ink/ink157.xml"/><Relationship Id="rId16" Type="http://schemas.openxmlformats.org/officeDocument/2006/relationships/image" Target="../media/image250.png"/><Relationship Id="rId20" Type="http://schemas.openxmlformats.org/officeDocument/2006/relationships/image" Target="../media/image252.png"/><Relationship Id="rId29" Type="http://schemas.openxmlformats.org/officeDocument/2006/relationships/customXml" Target="../ink/ink170.xml"/><Relationship Id="rId1" Type="http://schemas.openxmlformats.org/officeDocument/2006/relationships/slideLayout" Target="../slideLayouts/slideLayout5.xml"/><Relationship Id="rId6" Type="http://schemas.openxmlformats.org/officeDocument/2006/relationships/customXml" Target="../ink/ink159.xml"/><Relationship Id="rId11" Type="http://schemas.openxmlformats.org/officeDocument/2006/relationships/customXml" Target="../ink/ink161.xml"/><Relationship Id="rId24" Type="http://schemas.openxmlformats.org/officeDocument/2006/relationships/image" Target="../media/image254.png"/><Relationship Id="rId32" Type="http://schemas.openxmlformats.org/officeDocument/2006/relationships/image" Target="../media/image258.png"/><Relationship Id="rId5" Type="http://schemas.openxmlformats.org/officeDocument/2006/relationships/image" Target="../media/image188.png"/><Relationship Id="rId15" Type="http://schemas.openxmlformats.org/officeDocument/2006/relationships/customXml" Target="../ink/ink163.xml"/><Relationship Id="rId23" Type="http://schemas.openxmlformats.org/officeDocument/2006/relationships/customXml" Target="../ink/ink167.xml"/><Relationship Id="rId28" Type="http://schemas.openxmlformats.org/officeDocument/2006/relationships/image" Target="../media/image256.png"/><Relationship Id="rId36" Type="http://schemas.openxmlformats.org/officeDocument/2006/relationships/image" Target="../media/image203.png"/><Relationship Id="rId10" Type="http://schemas.openxmlformats.org/officeDocument/2006/relationships/image" Target="../media/image247.png"/><Relationship Id="rId19" Type="http://schemas.openxmlformats.org/officeDocument/2006/relationships/customXml" Target="../ink/ink165.xml"/><Relationship Id="rId31" Type="http://schemas.openxmlformats.org/officeDocument/2006/relationships/customXml" Target="../ink/ink171.xml"/><Relationship Id="rId4" Type="http://schemas.openxmlformats.org/officeDocument/2006/relationships/customXml" Target="../ink/ink158.xml"/><Relationship Id="rId9" Type="http://schemas.openxmlformats.org/officeDocument/2006/relationships/customXml" Target="../ink/ink160.xml"/><Relationship Id="rId14" Type="http://schemas.openxmlformats.org/officeDocument/2006/relationships/image" Target="../media/image249.png"/><Relationship Id="rId22" Type="http://schemas.openxmlformats.org/officeDocument/2006/relationships/image" Target="../media/image253.png"/><Relationship Id="rId27" Type="http://schemas.openxmlformats.org/officeDocument/2006/relationships/customXml" Target="../ink/ink169.xml"/><Relationship Id="rId30" Type="http://schemas.openxmlformats.org/officeDocument/2006/relationships/image" Target="../media/image257.png"/><Relationship Id="rId35" Type="http://schemas.openxmlformats.org/officeDocument/2006/relationships/customXml" Target="../ink/ink173.xml"/><Relationship Id="rId8" Type="http://schemas.openxmlformats.org/officeDocument/2006/relationships/image" Target="../media/image190.png"/></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3" Type="http://schemas.openxmlformats.org/officeDocument/2006/relationships/image" Target="../media/image191.jpe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hyperlink" Target="https://www.flickr.com/photos/icma/3635981474" TargetMode="External"/></Relationships>
</file>

<file path=ppt/slides/_rels/slide131.xml.rels><?xml version="1.0" encoding="UTF-8" standalone="yes"?>
<Relationships xmlns="http://schemas.openxmlformats.org/package/2006/relationships"><Relationship Id="rId3" Type="http://schemas.openxmlformats.org/officeDocument/2006/relationships/hyperlink" Target="https://pxhere.com/en/photo/1600703" TargetMode="External"/><Relationship Id="rId2" Type="http://schemas.openxmlformats.org/officeDocument/2006/relationships/image" Target="../media/image192.jpeg"/><Relationship Id="rId1" Type="http://schemas.openxmlformats.org/officeDocument/2006/relationships/slideLayout" Target="../slideLayouts/slideLayout5.xml"/><Relationship Id="rId4" Type="http://schemas.openxmlformats.org/officeDocument/2006/relationships/image" Target="../media/image260.png"/></Relationships>
</file>

<file path=ppt/slides/_rels/slide132.xml.rels><?xml version="1.0" encoding="UTF-8" standalone="yes"?>
<Relationships xmlns="http://schemas.openxmlformats.org/package/2006/relationships"><Relationship Id="rId3" Type="http://schemas.openxmlformats.org/officeDocument/2006/relationships/hyperlink" Target="https://www.flickr.com/photos/101440531@N06/47077435382" TargetMode="External"/><Relationship Id="rId2" Type="http://schemas.openxmlformats.org/officeDocument/2006/relationships/image" Target="../media/image261.jpeg"/><Relationship Id="rId1" Type="http://schemas.openxmlformats.org/officeDocument/2006/relationships/slideLayout" Target="../slideLayouts/slideLayout5.xml"/><Relationship Id="rId5" Type="http://schemas.openxmlformats.org/officeDocument/2006/relationships/hyperlink" Target="http://www.flickr.com/photos/axis/20393969/" TargetMode="External"/><Relationship Id="rId4" Type="http://schemas.openxmlformats.org/officeDocument/2006/relationships/image" Target="../media/image262.jpg"/></Relationships>
</file>

<file path=ppt/slides/_rels/slide133.xml.rels><?xml version="1.0" encoding="UTF-8" standalone="yes"?>
<Relationships xmlns="http://schemas.openxmlformats.org/package/2006/relationships"><Relationship Id="rId2" Type="http://schemas.openxmlformats.org/officeDocument/2006/relationships/image" Target="../media/image263.png"/><Relationship Id="rId1" Type="http://schemas.openxmlformats.org/officeDocument/2006/relationships/slideLayout" Target="../slideLayouts/slideLayout5.xml"/></Relationships>
</file>

<file path=ppt/slides/_rels/slide134.xml.rels><?xml version="1.0" encoding="UTF-8" standalone="yes"?>
<Relationships xmlns="http://schemas.openxmlformats.org/package/2006/relationships"><Relationship Id="rId3" Type="http://schemas.openxmlformats.org/officeDocument/2006/relationships/hyperlink" Target="https://pxhere.com/en/photo/1600703" TargetMode="External"/><Relationship Id="rId2" Type="http://schemas.openxmlformats.org/officeDocument/2006/relationships/image" Target="../media/image192.jpeg"/><Relationship Id="rId1" Type="http://schemas.openxmlformats.org/officeDocument/2006/relationships/slideLayout" Target="../slideLayouts/slideLayout5.xml"/></Relationships>
</file>

<file path=ppt/slides/_rels/slide135.xml.rels><?xml version="1.0" encoding="UTF-8" standalone="yes"?>
<Relationships xmlns="http://schemas.openxmlformats.org/package/2006/relationships"><Relationship Id="rId3" Type="http://schemas.openxmlformats.org/officeDocument/2006/relationships/hyperlink" Target="https://pxhere.com/en/photo/1600703" TargetMode="External"/><Relationship Id="rId2" Type="http://schemas.openxmlformats.org/officeDocument/2006/relationships/image" Target="../media/image192.jpeg"/><Relationship Id="rId1" Type="http://schemas.openxmlformats.org/officeDocument/2006/relationships/slideLayout" Target="../slideLayouts/slideLayout5.xml"/></Relationships>
</file>

<file path=ppt/slides/_rels/slide136.xml.rels><?xml version="1.0" encoding="UTF-8" standalone="yes"?>
<Relationships xmlns="http://schemas.openxmlformats.org/package/2006/relationships"><Relationship Id="rId2" Type="http://schemas.openxmlformats.org/officeDocument/2006/relationships/image" Target="../media/image264.png"/><Relationship Id="rId1" Type="http://schemas.openxmlformats.org/officeDocument/2006/relationships/slideLayout" Target="../slideLayouts/slideLayout5.xml"/></Relationships>
</file>

<file path=ppt/slides/_rels/slide137.xml.rels><?xml version="1.0" encoding="UTF-8" standalone="yes"?>
<Relationships xmlns="http://schemas.openxmlformats.org/package/2006/relationships"><Relationship Id="rId2" Type="http://schemas.openxmlformats.org/officeDocument/2006/relationships/image" Target="../media/image265.png"/><Relationship Id="rId1" Type="http://schemas.openxmlformats.org/officeDocument/2006/relationships/slideLayout" Target="../slideLayouts/slideLayout5.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9.xml.rels><?xml version="1.0" encoding="UTF-8" standalone="yes"?>
<Relationships xmlns="http://schemas.openxmlformats.org/package/2006/relationships"><Relationship Id="rId3" Type="http://schemas.openxmlformats.org/officeDocument/2006/relationships/image" Target="../media/image267.png"/><Relationship Id="rId2" Type="http://schemas.openxmlformats.org/officeDocument/2006/relationships/image" Target="../media/image266.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1.xml.rels><?xml version="1.0" encoding="UTF-8" standalone="yes"?>
<Relationships xmlns="http://schemas.openxmlformats.org/package/2006/relationships"><Relationship Id="rId3" Type="http://schemas.openxmlformats.org/officeDocument/2006/relationships/hyperlink" Target="https://www.publicdomainpictures.net/view-image.php?image=209475&amp;picture=jaguar-car" TargetMode="External"/><Relationship Id="rId7" Type="http://schemas.openxmlformats.org/officeDocument/2006/relationships/hyperlink" Target="https://owl.excelsior.edu/educator-resources/owl-across-disciplines/owl-across-the-disciplines-grammar-and-usage/" TargetMode="External"/><Relationship Id="rId2" Type="http://schemas.openxmlformats.org/officeDocument/2006/relationships/image" Target="../media/image268.jpeg"/><Relationship Id="rId1" Type="http://schemas.openxmlformats.org/officeDocument/2006/relationships/slideLayout" Target="../slideLayouts/slideLayout5.xml"/><Relationship Id="rId6" Type="http://schemas.openxmlformats.org/officeDocument/2006/relationships/image" Target="../media/image270.jpeg"/><Relationship Id="rId5" Type="http://schemas.openxmlformats.org/officeDocument/2006/relationships/hyperlink" Target="https://www.publicdomainpictures.net/view-image.php?image=204352&amp;picture=red-honda-car" TargetMode="External"/><Relationship Id="rId4" Type="http://schemas.openxmlformats.org/officeDocument/2006/relationships/image" Target="../media/image269.jpeg"/></Relationships>
</file>

<file path=ppt/slides/_rels/slide142.xml.rels><?xml version="1.0" encoding="UTF-8" standalone="yes"?>
<Relationships xmlns="http://schemas.openxmlformats.org/package/2006/relationships"><Relationship Id="rId2" Type="http://schemas.openxmlformats.org/officeDocument/2006/relationships/image" Target="../media/image271.png"/><Relationship Id="rId1" Type="http://schemas.openxmlformats.org/officeDocument/2006/relationships/slideLayout" Target="../slideLayouts/slideLayout5.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4.xml.rels><?xml version="1.0" encoding="UTF-8" standalone="yes"?>
<Relationships xmlns="http://schemas.openxmlformats.org/package/2006/relationships"><Relationship Id="rId2" Type="http://schemas.openxmlformats.org/officeDocument/2006/relationships/image" Target="../media/image272.png"/><Relationship Id="rId1" Type="http://schemas.openxmlformats.org/officeDocument/2006/relationships/slideLayout" Target="../slideLayouts/slideLayout5.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6.xml.rels><?xml version="1.0" encoding="UTF-8" standalone="yes"?>
<Relationships xmlns="http://schemas.openxmlformats.org/package/2006/relationships"><Relationship Id="rId2" Type="http://schemas.openxmlformats.org/officeDocument/2006/relationships/image" Target="../media/image273.png"/><Relationship Id="rId1" Type="http://schemas.openxmlformats.org/officeDocument/2006/relationships/slideLayout" Target="../slideLayouts/slideLayout5.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9.xml.rels><?xml version="1.0" encoding="UTF-8" standalone="yes"?>
<Relationships xmlns="http://schemas.openxmlformats.org/package/2006/relationships"><Relationship Id="rId3" Type="http://schemas.openxmlformats.org/officeDocument/2006/relationships/image" Target="../media/image275.png"/><Relationship Id="rId2" Type="http://schemas.openxmlformats.org/officeDocument/2006/relationships/image" Target="../media/image274.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2" Type="http://schemas.openxmlformats.org/officeDocument/2006/relationships/image" Target="../media/image276.png"/><Relationship Id="rId1" Type="http://schemas.openxmlformats.org/officeDocument/2006/relationships/slideLayout" Target="../slideLayouts/slideLayout5.xml"/></Relationships>
</file>

<file path=ppt/slides/_rels/slide151.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image" Target="../media/image277.png"/><Relationship Id="rId1" Type="http://schemas.openxmlformats.org/officeDocument/2006/relationships/slideLayout" Target="../slideLayouts/slideLayout5.xml"/><Relationship Id="rId4" Type="http://schemas.openxmlformats.org/officeDocument/2006/relationships/image" Target="../media/image278.png"/></Relationships>
</file>

<file path=ppt/slides/_rels/slide152.xml.rels><?xml version="1.0" encoding="UTF-8" standalone="yes"?>
<Relationships xmlns="http://schemas.openxmlformats.org/package/2006/relationships"><Relationship Id="rId3" Type="http://schemas.openxmlformats.org/officeDocument/2006/relationships/image" Target="../media/image279.png"/><Relationship Id="rId2" Type="http://schemas.openxmlformats.org/officeDocument/2006/relationships/customXml" Target="../ink/ink174.xml"/><Relationship Id="rId1" Type="http://schemas.openxmlformats.org/officeDocument/2006/relationships/slideLayout" Target="../slideLayouts/slideLayout5.xml"/></Relationships>
</file>

<file path=ppt/slides/_rels/slide153.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customXml" Target="../ink/ink175.xml"/><Relationship Id="rId1" Type="http://schemas.openxmlformats.org/officeDocument/2006/relationships/slideLayout" Target="../slideLayouts/slideLayout5.xml"/></Relationships>
</file>

<file path=ppt/slides/_rels/slide154.xml.rels><?xml version="1.0" encoding="UTF-8" standalone="yes"?>
<Relationships xmlns="http://schemas.openxmlformats.org/package/2006/relationships"><Relationship Id="rId3" Type="http://schemas.openxmlformats.org/officeDocument/2006/relationships/customXml" Target="../ink/ink176.xml"/><Relationship Id="rId2" Type="http://schemas.openxmlformats.org/officeDocument/2006/relationships/image" Target="../media/image281.png"/><Relationship Id="rId1" Type="http://schemas.openxmlformats.org/officeDocument/2006/relationships/slideLayout" Target="../slideLayouts/slideLayout5.xml"/><Relationship Id="rId4" Type="http://schemas.openxmlformats.org/officeDocument/2006/relationships/image" Target="../media/image282.png"/></Relationships>
</file>

<file path=ppt/slides/_rels/slide155.xml.rels><?xml version="1.0" encoding="UTF-8" standalone="yes"?>
<Relationships xmlns="http://schemas.openxmlformats.org/package/2006/relationships"><Relationship Id="rId3" Type="http://schemas.openxmlformats.org/officeDocument/2006/relationships/image" Target="../media/image283.png"/><Relationship Id="rId2" Type="http://schemas.openxmlformats.org/officeDocument/2006/relationships/customXml" Target="../ink/ink177.xml"/><Relationship Id="rId1" Type="http://schemas.openxmlformats.org/officeDocument/2006/relationships/slideLayout" Target="../slideLayouts/slideLayout5.xml"/></Relationships>
</file>

<file path=ppt/slides/_rels/slide156.xml.rels><?xml version="1.0" encoding="UTF-8" standalone="yes"?>
<Relationships xmlns="http://schemas.openxmlformats.org/package/2006/relationships"><Relationship Id="rId3" Type="http://schemas.openxmlformats.org/officeDocument/2006/relationships/image" Target="../media/image285.png"/><Relationship Id="rId2" Type="http://schemas.openxmlformats.org/officeDocument/2006/relationships/image" Target="../media/image284.png"/><Relationship Id="rId1" Type="http://schemas.openxmlformats.org/officeDocument/2006/relationships/slideLayout" Target="../slideLayouts/slideLayout5.xml"/><Relationship Id="rId5" Type="http://schemas.openxmlformats.org/officeDocument/2006/relationships/image" Target="../media/image286.png"/><Relationship Id="rId4" Type="http://schemas.openxmlformats.org/officeDocument/2006/relationships/customXml" Target="../ink/ink178.xml"/></Relationships>
</file>

<file path=ppt/slides/_rels/slide157.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customXml" Target="../ink/ink179.xml"/><Relationship Id="rId1" Type="http://schemas.openxmlformats.org/officeDocument/2006/relationships/slideLayout" Target="../slideLayouts/slideLayout5.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9.xml.rels><?xml version="1.0" encoding="UTF-8" standalone="yes"?>
<Relationships xmlns="http://schemas.openxmlformats.org/package/2006/relationships"><Relationship Id="rId3" Type="http://schemas.openxmlformats.org/officeDocument/2006/relationships/hyperlink" Target="https://www.pexels.com/photo/orange-tabby-cat-laying-on-brown-sofa-33492/" TargetMode="External"/><Relationship Id="rId2" Type="http://schemas.openxmlformats.org/officeDocument/2006/relationships/image" Target="../media/image288.jpeg"/><Relationship Id="rId1" Type="http://schemas.openxmlformats.org/officeDocument/2006/relationships/slideLayout" Target="../slideLayouts/slideLayout5.xml"/><Relationship Id="rId6" Type="http://schemas.openxmlformats.org/officeDocument/2006/relationships/image" Target="../media/image290.png"/><Relationship Id="rId5" Type="http://schemas.openxmlformats.org/officeDocument/2006/relationships/customXml" Target="../ink/ink180.xml"/><Relationship Id="rId4" Type="http://schemas.openxmlformats.org/officeDocument/2006/relationships/image" Target="../media/image289.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3" Type="http://schemas.openxmlformats.org/officeDocument/2006/relationships/image" Target="../media/image291.png"/><Relationship Id="rId2" Type="http://schemas.openxmlformats.org/officeDocument/2006/relationships/customXml" Target="../ink/ink181.xml"/><Relationship Id="rId1" Type="http://schemas.openxmlformats.org/officeDocument/2006/relationships/slideLayout" Target="../slideLayouts/slideLayout5.xml"/></Relationships>
</file>

<file path=ppt/slides/_rels/slide161.xml.rels><?xml version="1.0" encoding="UTF-8" standalone="yes"?>
<Relationships xmlns="http://schemas.openxmlformats.org/package/2006/relationships"><Relationship Id="rId3" Type="http://schemas.openxmlformats.org/officeDocument/2006/relationships/customXml" Target="../ink/ink182.xml"/><Relationship Id="rId2" Type="http://schemas.openxmlformats.org/officeDocument/2006/relationships/image" Target="../media/image292.png"/><Relationship Id="rId1" Type="http://schemas.openxmlformats.org/officeDocument/2006/relationships/slideLayout" Target="../slideLayouts/slideLayout5.xml"/><Relationship Id="rId4" Type="http://schemas.openxmlformats.org/officeDocument/2006/relationships/image" Target="../media/image293.png"/></Relationships>
</file>

<file path=ppt/slides/_rels/slide162.xml.rels><?xml version="1.0" encoding="UTF-8" standalone="yes"?>
<Relationships xmlns="http://schemas.openxmlformats.org/package/2006/relationships"><Relationship Id="rId3" Type="http://schemas.openxmlformats.org/officeDocument/2006/relationships/customXml" Target="../ink/ink183.xml"/><Relationship Id="rId2" Type="http://schemas.openxmlformats.org/officeDocument/2006/relationships/image" Target="../media/image294.png"/><Relationship Id="rId1" Type="http://schemas.openxmlformats.org/officeDocument/2006/relationships/slideLayout" Target="../slideLayouts/slideLayout5.xml"/><Relationship Id="rId4" Type="http://schemas.openxmlformats.org/officeDocument/2006/relationships/image" Target="../media/image295.png"/></Relationships>
</file>

<file path=ppt/slides/_rels/slide163.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customXml" Target="../ink/ink184.xml"/><Relationship Id="rId1" Type="http://schemas.openxmlformats.org/officeDocument/2006/relationships/slideLayout" Target="../slideLayouts/slideLayout5.xml"/></Relationships>
</file>

<file path=ppt/slides/_rels/slide164.xml.rels><?xml version="1.0" encoding="UTF-8" standalone="yes"?>
<Relationships xmlns="http://schemas.openxmlformats.org/package/2006/relationships"><Relationship Id="rId3" Type="http://schemas.openxmlformats.org/officeDocument/2006/relationships/customXml" Target="../ink/ink185.xml"/><Relationship Id="rId2" Type="http://schemas.openxmlformats.org/officeDocument/2006/relationships/image" Target="../media/image297.png"/><Relationship Id="rId1" Type="http://schemas.openxmlformats.org/officeDocument/2006/relationships/slideLayout" Target="../slideLayouts/slideLayout5.xml"/><Relationship Id="rId4" Type="http://schemas.openxmlformats.org/officeDocument/2006/relationships/image" Target="../media/image298.png"/></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6.xml.rels><?xml version="1.0" encoding="UTF-8" standalone="yes"?>
<Relationships xmlns="http://schemas.openxmlformats.org/package/2006/relationships"><Relationship Id="rId3" Type="http://schemas.openxmlformats.org/officeDocument/2006/relationships/customXml" Target="../ink/ink186.xml"/><Relationship Id="rId2" Type="http://schemas.openxmlformats.org/officeDocument/2006/relationships/image" Target="../media/image299.png"/><Relationship Id="rId1" Type="http://schemas.openxmlformats.org/officeDocument/2006/relationships/slideLayout" Target="../slideLayouts/slideLayout5.xml"/><Relationship Id="rId4" Type="http://schemas.openxmlformats.org/officeDocument/2006/relationships/image" Target="../media/image300.png"/></Relationships>
</file>

<file path=ppt/slides/_rels/slide167.xml.rels><?xml version="1.0" encoding="UTF-8" standalone="yes"?>
<Relationships xmlns="http://schemas.openxmlformats.org/package/2006/relationships"><Relationship Id="rId3" Type="http://schemas.openxmlformats.org/officeDocument/2006/relationships/customXml" Target="../ink/ink187.xml"/><Relationship Id="rId2" Type="http://schemas.openxmlformats.org/officeDocument/2006/relationships/image" Target="../media/image301.png"/><Relationship Id="rId1" Type="http://schemas.openxmlformats.org/officeDocument/2006/relationships/slideLayout" Target="../slideLayouts/slideLayout2.xml"/><Relationship Id="rId4" Type="http://schemas.openxmlformats.org/officeDocument/2006/relationships/image" Target="../media/image302.png"/></Relationships>
</file>

<file path=ppt/slides/_rels/slide168.xml.rels><?xml version="1.0" encoding="UTF-8" standalone="yes"?>
<Relationships xmlns="http://schemas.openxmlformats.org/package/2006/relationships"><Relationship Id="rId3" Type="http://schemas.openxmlformats.org/officeDocument/2006/relationships/customXml" Target="../ink/ink188.xml"/><Relationship Id="rId2" Type="http://schemas.openxmlformats.org/officeDocument/2006/relationships/image" Target="../media/image303.png"/><Relationship Id="rId1" Type="http://schemas.openxmlformats.org/officeDocument/2006/relationships/slideLayout" Target="../slideLayouts/slideLayout2.xml"/><Relationship Id="rId4" Type="http://schemas.openxmlformats.org/officeDocument/2006/relationships/image" Target="../media/image304.png"/></Relationships>
</file>

<file path=ppt/slides/_rels/slide169.xml.rels><?xml version="1.0" encoding="UTF-8" standalone="yes"?>
<Relationships xmlns="http://schemas.openxmlformats.org/package/2006/relationships"><Relationship Id="rId3" Type="http://schemas.openxmlformats.org/officeDocument/2006/relationships/customXml" Target="../ink/ink189.xml"/><Relationship Id="rId2" Type="http://schemas.openxmlformats.org/officeDocument/2006/relationships/image" Target="../media/image305.png"/><Relationship Id="rId1" Type="http://schemas.openxmlformats.org/officeDocument/2006/relationships/slideLayout" Target="../slideLayouts/slideLayout2.xml"/><Relationship Id="rId4" Type="http://schemas.openxmlformats.org/officeDocument/2006/relationships/image" Target="../media/image306.png"/></Relationships>
</file>

<file path=ppt/slides/_rels/slide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70.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customXml" Target="../ink/ink190.xml"/><Relationship Id="rId1" Type="http://schemas.openxmlformats.org/officeDocument/2006/relationships/slideLayout" Target="../slideLayouts/slideLayout5.xml"/></Relationships>
</file>

<file path=ppt/slides/_rels/slide171.xml.rels><?xml version="1.0" encoding="UTF-8" standalone="yes"?>
<Relationships xmlns="http://schemas.openxmlformats.org/package/2006/relationships"><Relationship Id="rId3" Type="http://schemas.openxmlformats.org/officeDocument/2006/relationships/customXml" Target="../ink/ink191.xml"/><Relationship Id="rId2" Type="http://schemas.openxmlformats.org/officeDocument/2006/relationships/image" Target="../media/image308.png"/><Relationship Id="rId1" Type="http://schemas.openxmlformats.org/officeDocument/2006/relationships/slideLayout" Target="../slideLayouts/slideLayout5.xml"/><Relationship Id="rId4" Type="http://schemas.openxmlformats.org/officeDocument/2006/relationships/image" Target="../media/image309.png"/></Relationships>
</file>

<file path=ppt/slides/_rels/slide172.xml.rels><?xml version="1.0" encoding="UTF-8" standalone="yes"?>
<Relationships xmlns="http://schemas.openxmlformats.org/package/2006/relationships"><Relationship Id="rId3" Type="http://schemas.openxmlformats.org/officeDocument/2006/relationships/image" Target="../media/image312.png"/><Relationship Id="rId2" Type="http://schemas.openxmlformats.org/officeDocument/2006/relationships/image" Target="../media/image311.png"/><Relationship Id="rId1" Type="http://schemas.openxmlformats.org/officeDocument/2006/relationships/slideLayout" Target="../slideLayouts/slideLayout5.xml"/><Relationship Id="rId5" Type="http://schemas.openxmlformats.org/officeDocument/2006/relationships/image" Target="../media/image313.png"/><Relationship Id="rId4" Type="http://schemas.openxmlformats.org/officeDocument/2006/relationships/customXml" Target="../ink/ink192.xml"/></Relationships>
</file>

<file path=ppt/slides/_rels/slide173.xml.rels><?xml version="1.0" encoding="UTF-8" standalone="yes"?>
<Relationships xmlns="http://schemas.openxmlformats.org/package/2006/relationships"><Relationship Id="rId3" Type="http://schemas.openxmlformats.org/officeDocument/2006/relationships/customXml" Target="../ink/ink193.xml"/><Relationship Id="rId2" Type="http://schemas.openxmlformats.org/officeDocument/2006/relationships/image" Target="../media/image314.png"/><Relationship Id="rId1" Type="http://schemas.openxmlformats.org/officeDocument/2006/relationships/slideLayout" Target="../slideLayouts/slideLayout5.xml"/><Relationship Id="rId4" Type="http://schemas.openxmlformats.org/officeDocument/2006/relationships/image" Target="../media/image315.png"/></Relationships>
</file>

<file path=ppt/slides/_rels/slide174.xml.rels><?xml version="1.0" encoding="UTF-8" standalone="yes"?>
<Relationships xmlns="http://schemas.openxmlformats.org/package/2006/relationships"><Relationship Id="rId3" Type="http://schemas.openxmlformats.org/officeDocument/2006/relationships/customXml" Target="../ink/ink194.xml"/><Relationship Id="rId2" Type="http://schemas.openxmlformats.org/officeDocument/2006/relationships/hyperlink" Target="https://www.mathsisfun.com/algebra/introduction.html" TargetMode="External"/><Relationship Id="rId1" Type="http://schemas.openxmlformats.org/officeDocument/2006/relationships/slideLayout" Target="../slideLayouts/slideLayout5.xml"/><Relationship Id="rId4" Type="http://schemas.openxmlformats.org/officeDocument/2006/relationships/image" Target="../media/image316.png"/></Relationships>
</file>

<file path=ppt/slides/_rels/slide175.xml.rels><?xml version="1.0" encoding="UTF-8" standalone="yes"?>
<Relationships xmlns="http://schemas.openxmlformats.org/package/2006/relationships"><Relationship Id="rId3" Type="http://schemas.openxmlformats.org/officeDocument/2006/relationships/hyperlink" Target="https://pxhere.com/en/photo/1600703" TargetMode="External"/><Relationship Id="rId2" Type="http://schemas.openxmlformats.org/officeDocument/2006/relationships/image" Target="../media/image317.jpeg"/><Relationship Id="rId1" Type="http://schemas.openxmlformats.org/officeDocument/2006/relationships/slideLayout" Target="../slideLayouts/slideLayout5.xml"/><Relationship Id="rId5" Type="http://schemas.openxmlformats.org/officeDocument/2006/relationships/image" Target="../media/image318.png"/><Relationship Id="rId4" Type="http://schemas.openxmlformats.org/officeDocument/2006/relationships/customXml" Target="../ink/ink195.xml"/></Relationships>
</file>

<file path=ppt/slides/_rels/slide176.xml.rels><?xml version="1.0" encoding="UTF-8" standalone="yes"?>
<Relationships xmlns="http://schemas.openxmlformats.org/package/2006/relationships"><Relationship Id="rId3" Type="http://schemas.openxmlformats.org/officeDocument/2006/relationships/hyperlink" Target="https://pxhere.com/en/photo/1600703" TargetMode="External"/><Relationship Id="rId2" Type="http://schemas.openxmlformats.org/officeDocument/2006/relationships/image" Target="../media/image319.jpeg"/><Relationship Id="rId1" Type="http://schemas.openxmlformats.org/officeDocument/2006/relationships/slideLayout" Target="../slideLayouts/slideLayout5.xml"/></Relationships>
</file>

<file path=ppt/slides/_rels/slide177.xml.rels><?xml version="1.0" encoding="UTF-8" standalone="yes"?>
<Relationships xmlns="http://schemas.openxmlformats.org/package/2006/relationships"><Relationship Id="rId3" Type="http://schemas.openxmlformats.org/officeDocument/2006/relationships/customXml" Target="../ink/ink196.xml"/><Relationship Id="rId2" Type="http://schemas.openxmlformats.org/officeDocument/2006/relationships/image" Target="../media/image320.png"/><Relationship Id="rId1" Type="http://schemas.openxmlformats.org/officeDocument/2006/relationships/slideLayout" Target="../slideLayouts/slideLayout5.xml"/><Relationship Id="rId4" Type="http://schemas.openxmlformats.org/officeDocument/2006/relationships/image" Target="../media/image321.png"/></Relationships>
</file>

<file path=ppt/slides/_rels/slide178.xml.rels><?xml version="1.0" encoding="UTF-8" standalone="yes"?>
<Relationships xmlns="http://schemas.openxmlformats.org/package/2006/relationships"><Relationship Id="rId3" Type="http://schemas.openxmlformats.org/officeDocument/2006/relationships/image" Target="../media/image322.png"/><Relationship Id="rId2" Type="http://schemas.openxmlformats.org/officeDocument/2006/relationships/customXml" Target="../ink/ink197.xml"/><Relationship Id="rId1" Type="http://schemas.openxmlformats.org/officeDocument/2006/relationships/slideLayout" Target="../slideLayouts/slideLayout5.xml"/></Relationships>
</file>

<file path=ppt/slides/_rels/slide179.xml.rels><?xml version="1.0" encoding="UTF-8" standalone="yes"?>
<Relationships xmlns="http://schemas.openxmlformats.org/package/2006/relationships"><Relationship Id="rId3" Type="http://schemas.openxmlformats.org/officeDocument/2006/relationships/image" Target="../media/image323.png"/><Relationship Id="rId2" Type="http://schemas.openxmlformats.org/officeDocument/2006/relationships/customXml" Target="../ink/ink198.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80.xml.rels><?xml version="1.0" encoding="UTF-8" standalone="yes"?>
<Relationships xmlns="http://schemas.openxmlformats.org/package/2006/relationships"><Relationship Id="rId3" Type="http://schemas.openxmlformats.org/officeDocument/2006/relationships/hyperlink" Target="https://www.mathsisfun.com/data/standard-deviation.html" TargetMode="External"/><Relationship Id="rId2" Type="http://schemas.openxmlformats.org/officeDocument/2006/relationships/hyperlink" Target="https://www.mathsisfun.com/mean.html" TargetMode="External"/><Relationship Id="rId1" Type="http://schemas.openxmlformats.org/officeDocument/2006/relationships/slideLayout" Target="../slideLayouts/slideLayout5.xml"/><Relationship Id="rId5" Type="http://schemas.openxmlformats.org/officeDocument/2006/relationships/image" Target="../media/image324.png"/><Relationship Id="rId4" Type="http://schemas.openxmlformats.org/officeDocument/2006/relationships/customXml" Target="../ink/ink199.xml"/></Relationships>
</file>

<file path=ppt/slides/_rels/slide181.xml.rels><?xml version="1.0" encoding="UTF-8" standalone="yes"?>
<Relationships xmlns="http://schemas.openxmlformats.org/package/2006/relationships"><Relationship Id="rId3" Type="http://schemas.openxmlformats.org/officeDocument/2006/relationships/customXml" Target="../ink/ink200.xml"/><Relationship Id="rId2" Type="http://schemas.openxmlformats.org/officeDocument/2006/relationships/hyperlink" Target="https://www.mathsisfun.com/data/standard-deviation.html" TargetMode="External"/><Relationship Id="rId1" Type="http://schemas.openxmlformats.org/officeDocument/2006/relationships/slideLayout" Target="../slideLayouts/slideLayout5.xml"/><Relationship Id="rId4" Type="http://schemas.openxmlformats.org/officeDocument/2006/relationships/image" Target="../media/image325.png"/></Relationships>
</file>

<file path=ppt/slides/_rels/slide182.xml.rels><?xml version="1.0" encoding="UTF-8" standalone="yes"?>
<Relationships xmlns="http://schemas.openxmlformats.org/package/2006/relationships"><Relationship Id="rId3" Type="http://schemas.openxmlformats.org/officeDocument/2006/relationships/customXml" Target="../ink/ink201.xml"/><Relationship Id="rId2" Type="http://schemas.openxmlformats.org/officeDocument/2006/relationships/image" Target="../media/image326.png"/><Relationship Id="rId1" Type="http://schemas.openxmlformats.org/officeDocument/2006/relationships/slideLayout" Target="../slideLayouts/slideLayout5.xml"/><Relationship Id="rId4" Type="http://schemas.openxmlformats.org/officeDocument/2006/relationships/image" Target="../media/image327.png"/></Relationships>
</file>

<file path=ppt/slides/_rels/slide183.xml.rels><?xml version="1.0" encoding="UTF-8" standalone="yes"?>
<Relationships xmlns="http://schemas.openxmlformats.org/package/2006/relationships"><Relationship Id="rId3" Type="http://schemas.openxmlformats.org/officeDocument/2006/relationships/customXml" Target="../ink/ink202.xml"/><Relationship Id="rId2" Type="http://schemas.openxmlformats.org/officeDocument/2006/relationships/image" Target="../media/image328.png"/><Relationship Id="rId1" Type="http://schemas.openxmlformats.org/officeDocument/2006/relationships/slideLayout" Target="../slideLayouts/slideLayout5.xml"/><Relationship Id="rId4" Type="http://schemas.openxmlformats.org/officeDocument/2006/relationships/image" Target="../media/image329.png"/></Relationships>
</file>

<file path=ppt/slides/_rels/slide184.xml.rels><?xml version="1.0" encoding="UTF-8" standalone="yes"?>
<Relationships xmlns="http://schemas.openxmlformats.org/package/2006/relationships"><Relationship Id="rId3" Type="http://schemas.openxmlformats.org/officeDocument/2006/relationships/image" Target="../media/image331.png"/><Relationship Id="rId2" Type="http://schemas.openxmlformats.org/officeDocument/2006/relationships/customXml" Target="../ink/ink203.xml"/><Relationship Id="rId1" Type="http://schemas.openxmlformats.org/officeDocument/2006/relationships/slideLayout" Target="../slideLayouts/slideLayout5.xml"/></Relationships>
</file>

<file path=ppt/slides/_rels/slide185.xml.rels><?xml version="1.0" encoding="UTF-8" standalone="yes"?>
<Relationships xmlns="http://schemas.openxmlformats.org/package/2006/relationships"><Relationship Id="rId3" Type="http://schemas.openxmlformats.org/officeDocument/2006/relationships/customXml" Target="../ink/ink204.xml"/><Relationship Id="rId2" Type="http://schemas.openxmlformats.org/officeDocument/2006/relationships/image" Target="../media/image332.png"/><Relationship Id="rId1" Type="http://schemas.openxmlformats.org/officeDocument/2006/relationships/slideLayout" Target="../slideLayouts/slideLayout5.xml"/><Relationship Id="rId4" Type="http://schemas.openxmlformats.org/officeDocument/2006/relationships/image" Target="../media/image333.png"/></Relationships>
</file>

<file path=ppt/slides/_rels/slide186.xml.rels><?xml version="1.0" encoding="UTF-8" standalone="yes"?>
<Relationships xmlns="http://schemas.openxmlformats.org/package/2006/relationships"><Relationship Id="rId3" Type="http://schemas.openxmlformats.org/officeDocument/2006/relationships/image" Target="../media/image334.jpeg"/><Relationship Id="rId7" Type="http://schemas.openxmlformats.org/officeDocument/2006/relationships/image" Target="../media/image336.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customXml" Target="../ink/ink205.xml"/><Relationship Id="rId5" Type="http://schemas.openxmlformats.org/officeDocument/2006/relationships/image" Target="../media/image335.png"/><Relationship Id="rId4" Type="http://schemas.openxmlformats.org/officeDocument/2006/relationships/hyperlink" Target="https://www.pexels.com/photo/green-apple-lot-693794/" TargetMode="External"/></Relationships>
</file>

<file path=ppt/slides/_rels/slide187.xml.rels><?xml version="1.0" encoding="UTF-8" standalone="yes"?>
<Relationships xmlns="http://schemas.openxmlformats.org/package/2006/relationships"><Relationship Id="rId3" Type="http://schemas.openxmlformats.org/officeDocument/2006/relationships/image" Target="../media/image337.png"/><Relationship Id="rId2" Type="http://schemas.openxmlformats.org/officeDocument/2006/relationships/customXml" Target="../ink/ink206.xml"/><Relationship Id="rId1" Type="http://schemas.openxmlformats.org/officeDocument/2006/relationships/slideLayout" Target="../slideLayouts/slideLayout5.xml"/></Relationships>
</file>

<file path=ppt/slides/_rels/slide188.xml.rels><?xml version="1.0" encoding="UTF-8" standalone="yes"?>
<Relationships xmlns="http://schemas.openxmlformats.org/package/2006/relationships"><Relationship Id="rId3" Type="http://schemas.openxmlformats.org/officeDocument/2006/relationships/customXml" Target="../ink/ink207.xml"/><Relationship Id="rId2" Type="http://schemas.openxmlformats.org/officeDocument/2006/relationships/image" Target="../media/image338.png"/><Relationship Id="rId1" Type="http://schemas.openxmlformats.org/officeDocument/2006/relationships/slideLayout" Target="../slideLayouts/slideLayout5.xml"/><Relationship Id="rId4" Type="http://schemas.openxmlformats.org/officeDocument/2006/relationships/image" Target="../media/image339.png"/></Relationships>
</file>

<file path=ppt/slides/_rels/slide189.xml.rels><?xml version="1.0" encoding="UTF-8" standalone="yes"?>
<Relationships xmlns="http://schemas.openxmlformats.org/package/2006/relationships"><Relationship Id="rId3" Type="http://schemas.openxmlformats.org/officeDocument/2006/relationships/customXml" Target="../ink/ink208.xml"/><Relationship Id="rId2" Type="http://schemas.openxmlformats.org/officeDocument/2006/relationships/image" Target="../media/image338.png"/><Relationship Id="rId1" Type="http://schemas.openxmlformats.org/officeDocument/2006/relationships/slideLayout" Target="../slideLayouts/slideLayout5.xml"/><Relationship Id="rId4" Type="http://schemas.openxmlformats.org/officeDocument/2006/relationships/image" Target="../media/image340.png"/></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1.xml.rels><?xml version="1.0" encoding="UTF-8" standalone="yes"?>
<Relationships xmlns="http://schemas.openxmlformats.org/package/2006/relationships"><Relationship Id="rId3" Type="http://schemas.openxmlformats.org/officeDocument/2006/relationships/customXml" Target="../ink/ink209.xml"/><Relationship Id="rId2" Type="http://schemas.openxmlformats.org/officeDocument/2006/relationships/image" Target="../media/image341.png"/><Relationship Id="rId1" Type="http://schemas.openxmlformats.org/officeDocument/2006/relationships/slideLayout" Target="../slideLayouts/slideLayout5.xml"/><Relationship Id="rId4" Type="http://schemas.openxmlformats.org/officeDocument/2006/relationships/image" Target="../media/image342.png"/></Relationships>
</file>

<file path=ppt/slides/_rels/slide192.xml.rels><?xml version="1.0" encoding="UTF-8" standalone="yes"?>
<Relationships xmlns="http://schemas.openxmlformats.org/package/2006/relationships"><Relationship Id="rId3" Type="http://schemas.openxmlformats.org/officeDocument/2006/relationships/hyperlink" Target="https://incoglilo.blogspot.com/2011/08/toss-coin-to-make-important-decision.html" TargetMode="External"/><Relationship Id="rId2" Type="http://schemas.openxmlformats.org/officeDocument/2006/relationships/image" Target="../media/image343.jpg"/><Relationship Id="rId1" Type="http://schemas.openxmlformats.org/officeDocument/2006/relationships/slideLayout" Target="../slideLayouts/slideLayout5.xml"/><Relationship Id="rId5" Type="http://schemas.openxmlformats.org/officeDocument/2006/relationships/image" Target="../media/image344.png"/><Relationship Id="rId4" Type="http://schemas.openxmlformats.org/officeDocument/2006/relationships/customXml" Target="../ink/ink210.xml"/></Relationships>
</file>

<file path=ppt/slides/_rels/slide193.xml.rels><?xml version="1.0" encoding="UTF-8" standalone="yes"?>
<Relationships xmlns="http://schemas.openxmlformats.org/package/2006/relationships"><Relationship Id="rId3" Type="http://schemas.openxmlformats.org/officeDocument/2006/relationships/hyperlink" Target="https://www.flickr.com/photos/icma/3635981474" TargetMode="External"/><Relationship Id="rId2" Type="http://schemas.openxmlformats.org/officeDocument/2006/relationships/image" Target="../media/image345.jpg"/><Relationship Id="rId1" Type="http://schemas.openxmlformats.org/officeDocument/2006/relationships/slideLayout" Target="../slideLayouts/slideLayout5.xml"/><Relationship Id="rId5" Type="http://schemas.openxmlformats.org/officeDocument/2006/relationships/image" Target="../media/image346.png"/><Relationship Id="rId4" Type="http://schemas.openxmlformats.org/officeDocument/2006/relationships/customXml" Target="../ink/ink211.xml"/></Relationships>
</file>

<file path=ppt/slides/_rels/slide19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5.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0.xml"/><Relationship Id="rId7" Type="http://schemas.openxmlformats.org/officeDocument/2006/relationships/hyperlink" Target="https://www.actuaries.digital/2018/10/31/what-makes-a-good-data-scientist-actuaries-podcast/" TargetMode="Externa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27.jpg"/><Relationship Id="rId5" Type="http://schemas.openxmlformats.org/officeDocument/2006/relationships/notesSlide" Target="../notesSlides/notesSlide9.xml"/><Relationship Id="rId4" Type="http://schemas.openxmlformats.org/officeDocument/2006/relationships/slideLayout" Target="../slideLayouts/slideLayout9.xml"/><Relationship Id="rId9" Type="http://schemas.openxmlformats.org/officeDocument/2006/relationships/image" Target="../media/image1.emf"/></Relationships>
</file>

<file path=ppt/slides/_rels/slide19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7.xml.rels><?xml version="1.0" encoding="UTF-8" standalone="yes"?>
<Relationships xmlns="http://schemas.openxmlformats.org/package/2006/relationships"><Relationship Id="rId2" Type="http://schemas.openxmlformats.org/officeDocument/2006/relationships/image" Target="../media/image347.png"/><Relationship Id="rId1" Type="http://schemas.openxmlformats.org/officeDocument/2006/relationships/slideLayout" Target="../slideLayouts/slideLayout5.xml"/></Relationships>
</file>

<file path=ppt/slides/_rels/slide198.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2.xml"/><Relationship Id="rId7" Type="http://schemas.openxmlformats.org/officeDocument/2006/relationships/hyperlink" Target="https://www.actuaries.digital/2018/10/31/what-makes-a-good-data-scientist-actuaries-podcast/" TargetMode="Externa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27.jpg"/><Relationship Id="rId5" Type="http://schemas.openxmlformats.org/officeDocument/2006/relationships/notesSlide" Target="../notesSlides/notesSlide10.xml"/><Relationship Id="rId4" Type="http://schemas.openxmlformats.org/officeDocument/2006/relationships/slideLayout" Target="../slideLayouts/slideLayout9.xml"/><Relationship Id="rId9" Type="http://schemas.openxmlformats.org/officeDocument/2006/relationships/image" Target="../media/image1.emf"/></Relationships>
</file>

<file path=ppt/slides/_rels/slide199.xml.rels><?xml version="1.0" encoding="UTF-8" standalone="yes"?>
<Relationships xmlns="http://schemas.openxmlformats.org/package/2006/relationships"><Relationship Id="rId3" Type="http://schemas.openxmlformats.org/officeDocument/2006/relationships/image" Target="../media/image348.JPG"/><Relationship Id="rId2" Type="http://schemas.openxmlformats.org/officeDocument/2006/relationships/notesSlide" Target="../notesSlides/notesSlide11.xml"/><Relationship Id="rId1" Type="http://schemas.openxmlformats.org/officeDocument/2006/relationships/slideLayout" Target="../slideLayouts/slideLayout9.xml"/><Relationship Id="rId4" Type="http://schemas.openxmlformats.org/officeDocument/2006/relationships/hyperlink" Target="http://john.measey.com/Blog/2018/03/28/How-to-write-a-hypothesis"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0.xml.rels><?xml version="1.0" encoding="UTF-8" standalone="yes"?>
<Relationships xmlns="http://schemas.openxmlformats.org/package/2006/relationships"><Relationship Id="rId2" Type="http://schemas.openxmlformats.org/officeDocument/2006/relationships/image" Target="../media/image349.png"/><Relationship Id="rId1" Type="http://schemas.openxmlformats.org/officeDocument/2006/relationships/slideLayout" Target="../slideLayouts/slideLayout9.xml"/></Relationships>
</file>

<file path=ppt/slides/_rels/slide201.xml.rels><?xml version="1.0" encoding="UTF-8" standalone="yes"?>
<Relationships xmlns="http://schemas.openxmlformats.org/package/2006/relationships"><Relationship Id="rId3" Type="http://schemas.openxmlformats.org/officeDocument/2006/relationships/hyperlink" Target="http://www.grassrootsnorthshore.com/kinney_resigns_from_wec" TargetMode="External"/><Relationship Id="rId2" Type="http://schemas.openxmlformats.org/officeDocument/2006/relationships/image" Target="../media/image350.jpg"/><Relationship Id="rId1" Type="http://schemas.openxmlformats.org/officeDocument/2006/relationships/slideLayout" Target="../slideLayouts/slideLayout9.xml"/></Relationships>
</file>

<file path=ppt/slides/_rels/slide20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4.xml.rels><?xml version="1.0" encoding="UTF-8" standalone="yes"?>
<Relationships xmlns="http://schemas.openxmlformats.org/package/2006/relationships"><Relationship Id="rId3" Type="http://schemas.openxmlformats.org/officeDocument/2006/relationships/image" Target="../media/image352.png"/><Relationship Id="rId2" Type="http://schemas.openxmlformats.org/officeDocument/2006/relationships/image" Target="../media/image351.png"/><Relationship Id="rId1" Type="http://schemas.openxmlformats.org/officeDocument/2006/relationships/slideLayout" Target="../slideLayouts/slideLayout9.xml"/></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6.xml.rels><?xml version="1.0" encoding="UTF-8" standalone="yes"?>
<Relationships xmlns="http://schemas.openxmlformats.org/package/2006/relationships"><Relationship Id="rId2" Type="http://schemas.openxmlformats.org/officeDocument/2006/relationships/image" Target="../media/image353.png"/><Relationship Id="rId1" Type="http://schemas.openxmlformats.org/officeDocument/2006/relationships/slideLayout" Target="../slideLayouts/slideLayout9.xml"/></Relationships>
</file>

<file path=ppt/slides/_rels/slide207.xml.rels><?xml version="1.0" encoding="UTF-8" standalone="yes"?>
<Relationships xmlns="http://schemas.openxmlformats.org/package/2006/relationships"><Relationship Id="rId2" Type="http://schemas.openxmlformats.org/officeDocument/2006/relationships/image" Target="../media/image354.png"/><Relationship Id="rId1" Type="http://schemas.openxmlformats.org/officeDocument/2006/relationships/slideLayout" Target="../slideLayouts/slideLayout9.xml"/></Relationships>
</file>

<file path=ppt/slides/_rels/slide20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9.xml.rels><?xml version="1.0" encoding="UTF-8" standalone="yes"?>
<Relationships xmlns="http://schemas.openxmlformats.org/package/2006/relationships"><Relationship Id="rId3" Type="http://schemas.openxmlformats.org/officeDocument/2006/relationships/hyperlink" Target="http://www.mentefilosofica.com/2017/01/relativizando-los-test-de-coeficiencia.html" TargetMode="External"/><Relationship Id="rId2" Type="http://schemas.openxmlformats.org/officeDocument/2006/relationships/image" Target="../media/image355.jpg"/><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210.xml.rels><?xml version="1.0" encoding="UTF-8" standalone="yes"?>
<Relationships xmlns="http://schemas.openxmlformats.org/package/2006/relationships"><Relationship Id="rId3" Type="http://schemas.openxmlformats.org/officeDocument/2006/relationships/image" Target="../media/image356.png"/><Relationship Id="rId2" Type="http://schemas.openxmlformats.org/officeDocument/2006/relationships/customXml" Target="../ink/ink212.xml"/><Relationship Id="rId1" Type="http://schemas.openxmlformats.org/officeDocument/2006/relationships/slideLayout" Target="../slideLayouts/slideLayout9.xml"/></Relationships>
</file>

<file path=ppt/slides/_rels/slide2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2.xml.rels><?xml version="1.0" encoding="UTF-8" standalone="yes"?>
<Relationships xmlns="http://schemas.openxmlformats.org/package/2006/relationships"><Relationship Id="rId3" Type="http://schemas.openxmlformats.org/officeDocument/2006/relationships/image" Target="../media/image358.emf"/><Relationship Id="rId2" Type="http://schemas.openxmlformats.org/officeDocument/2006/relationships/image" Target="../media/image357.png"/><Relationship Id="rId1" Type="http://schemas.openxmlformats.org/officeDocument/2006/relationships/slideLayout" Target="../slideLayouts/slideLayout9.xml"/></Relationships>
</file>

<file path=ppt/slides/_rels/slide213.xml.rels><?xml version="1.0" encoding="UTF-8" standalone="yes"?>
<Relationships xmlns="http://schemas.openxmlformats.org/package/2006/relationships"><Relationship Id="rId2" Type="http://schemas.openxmlformats.org/officeDocument/2006/relationships/image" Target="../media/image359.png"/><Relationship Id="rId1" Type="http://schemas.openxmlformats.org/officeDocument/2006/relationships/slideLayout" Target="../slideLayouts/slideLayout9.xml"/></Relationships>
</file>

<file path=ppt/slides/_rels/slide214.xml.rels><?xml version="1.0" encoding="UTF-8" standalone="yes"?>
<Relationships xmlns="http://schemas.openxmlformats.org/package/2006/relationships"><Relationship Id="rId3" Type="http://schemas.openxmlformats.org/officeDocument/2006/relationships/image" Target="../media/image360.png"/><Relationship Id="rId2" Type="http://schemas.openxmlformats.org/officeDocument/2006/relationships/image" Target="../media/image357.png"/><Relationship Id="rId1" Type="http://schemas.openxmlformats.org/officeDocument/2006/relationships/slideLayout" Target="../slideLayouts/slideLayout9.xml"/></Relationships>
</file>

<file path=ppt/slides/_rels/slide215.xml.rels><?xml version="1.0" encoding="UTF-8" standalone="yes"?>
<Relationships xmlns="http://schemas.openxmlformats.org/package/2006/relationships"><Relationship Id="rId3" Type="http://schemas.openxmlformats.org/officeDocument/2006/relationships/image" Target="../media/image2380.png"/><Relationship Id="rId2" Type="http://schemas.openxmlformats.org/officeDocument/2006/relationships/customXml" Target="../ink/ink213.xml"/><Relationship Id="rId1" Type="http://schemas.openxmlformats.org/officeDocument/2006/relationships/slideLayout" Target="../slideLayouts/slideLayout9.xml"/><Relationship Id="rId4" Type="http://schemas.openxmlformats.org/officeDocument/2006/relationships/image" Target="../media/image361.emf"/></Relationships>
</file>

<file path=ppt/slides/_rels/slide2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7.xml.rels><?xml version="1.0" encoding="UTF-8" standalone="yes"?>
<Relationships xmlns="http://schemas.openxmlformats.org/package/2006/relationships"><Relationship Id="rId3" Type="http://schemas.openxmlformats.org/officeDocument/2006/relationships/hyperlink" Target="http://www.mentefilosofica.com/2017/01/relativizando-los-test-de-coeficiencia.html" TargetMode="External"/><Relationship Id="rId2" Type="http://schemas.openxmlformats.org/officeDocument/2006/relationships/image" Target="../media/image355.jpg"/><Relationship Id="rId1" Type="http://schemas.openxmlformats.org/officeDocument/2006/relationships/slideLayout" Target="../slideLayouts/slideLayout9.xml"/></Relationships>
</file>

<file path=ppt/slides/_rels/slide218.xml.rels><?xml version="1.0" encoding="UTF-8" standalone="yes"?>
<Relationships xmlns="http://schemas.openxmlformats.org/package/2006/relationships"><Relationship Id="rId2" Type="http://schemas.openxmlformats.org/officeDocument/2006/relationships/image" Target="../media/image362.png"/><Relationship Id="rId1" Type="http://schemas.openxmlformats.org/officeDocument/2006/relationships/slideLayout" Target="../slideLayouts/slideLayout9.xml"/></Relationships>
</file>

<file path=ppt/slides/_rels/slide219.xml.rels><?xml version="1.0" encoding="UTF-8" standalone="yes"?>
<Relationships xmlns="http://schemas.openxmlformats.org/package/2006/relationships"><Relationship Id="rId2" Type="http://schemas.openxmlformats.org/officeDocument/2006/relationships/image" Target="../media/image363.png"/><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0.xml.rels><?xml version="1.0" encoding="UTF-8" standalone="yes"?>
<Relationships xmlns="http://schemas.openxmlformats.org/package/2006/relationships"><Relationship Id="rId3" Type="http://schemas.openxmlformats.org/officeDocument/2006/relationships/customXml" Target="../ink/ink214.xml"/><Relationship Id="rId2" Type="http://schemas.openxmlformats.org/officeDocument/2006/relationships/image" Target="../media/image364.png"/><Relationship Id="rId1" Type="http://schemas.openxmlformats.org/officeDocument/2006/relationships/slideLayout" Target="../slideLayouts/slideLayout9.xml"/><Relationship Id="rId4" Type="http://schemas.openxmlformats.org/officeDocument/2006/relationships/image" Target="../media/image2420.png"/></Relationships>
</file>

<file path=ppt/slides/_rels/slide221.xml.rels><?xml version="1.0" encoding="UTF-8" standalone="yes"?>
<Relationships xmlns="http://schemas.openxmlformats.org/package/2006/relationships"><Relationship Id="rId2" Type="http://schemas.openxmlformats.org/officeDocument/2006/relationships/image" Target="../media/image365.png"/><Relationship Id="rId1" Type="http://schemas.openxmlformats.org/officeDocument/2006/relationships/slideLayout" Target="../slideLayouts/slideLayout9.xml"/></Relationships>
</file>

<file path=ppt/slides/_rels/slide2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6.xml.rels><?xml version="1.0" encoding="UTF-8" standalone="yes"?>
<Relationships xmlns="http://schemas.openxmlformats.org/package/2006/relationships"><Relationship Id="rId3" Type="http://schemas.openxmlformats.org/officeDocument/2006/relationships/image" Target="../media/image367.png"/><Relationship Id="rId2" Type="http://schemas.openxmlformats.org/officeDocument/2006/relationships/image" Target="../media/image366.png"/><Relationship Id="rId1" Type="http://schemas.openxmlformats.org/officeDocument/2006/relationships/slideLayout" Target="../slideLayouts/slideLayout9.xml"/></Relationships>
</file>

<file path=ppt/slides/_rels/slide227.xml.rels><?xml version="1.0" encoding="UTF-8" standalone="yes"?>
<Relationships xmlns="http://schemas.openxmlformats.org/package/2006/relationships"><Relationship Id="rId2" Type="http://schemas.openxmlformats.org/officeDocument/2006/relationships/image" Target="../media/image368.png"/><Relationship Id="rId1" Type="http://schemas.openxmlformats.org/officeDocument/2006/relationships/slideLayout" Target="../slideLayouts/slideLayout9.xml"/></Relationships>
</file>

<file path=ppt/slides/_rels/slide228.xml.rels><?xml version="1.0" encoding="UTF-8" standalone="yes"?>
<Relationships xmlns="http://schemas.openxmlformats.org/package/2006/relationships"><Relationship Id="rId3" Type="http://schemas.openxmlformats.org/officeDocument/2006/relationships/image" Target="../media/image370.png"/><Relationship Id="rId2" Type="http://schemas.openxmlformats.org/officeDocument/2006/relationships/image" Target="../media/image369.png"/><Relationship Id="rId1" Type="http://schemas.openxmlformats.org/officeDocument/2006/relationships/slideLayout" Target="../slideLayouts/slideLayout9.xml"/></Relationships>
</file>

<file path=ppt/slides/_rels/slide229.xml.rels><?xml version="1.0" encoding="UTF-8" standalone="yes"?>
<Relationships xmlns="http://schemas.openxmlformats.org/package/2006/relationships"><Relationship Id="rId3" Type="http://schemas.openxmlformats.org/officeDocument/2006/relationships/customXml" Target="../ink/ink215.xml"/><Relationship Id="rId2" Type="http://schemas.openxmlformats.org/officeDocument/2006/relationships/image" Target="../media/image371.png"/><Relationship Id="rId1" Type="http://schemas.openxmlformats.org/officeDocument/2006/relationships/slideLayout" Target="../slideLayouts/slideLayout9.xml"/><Relationship Id="rId4" Type="http://schemas.openxmlformats.org/officeDocument/2006/relationships/image" Target="../media/image2500.png"/></Relationships>
</file>

<file path=ppt/slides/_rels/slide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2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1.xml.rels><?xml version="1.0" encoding="UTF-8" standalone="yes"?>
<Relationships xmlns="http://schemas.openxmlformats.org/package/2006/relationships"><Relationship Id="rId8" Type="http://schemas.openxmlformats.org/officeDocument/2006/relationships/image" Target="../media/image28.jpg"/><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notesSlide" Target="../notesSlides/notesSlide12.xml"/><Relationship Id="rId4" Type="http://schemas.openxmlformats.org/officeDocument/2006/relationships/slideLayout" Target="../slideLayouts/slideLayout9.xml"/><Relationship Id="rId9" Type="http://schemas.openxmlformats.org/officeDocument/2006/relationships/hyperlink" Target="https://www.actuaries.digital/2020/08/06/a-data-scientists-guide-to-data-architecture/" TargetMode="External"/></Relationships>
</file>

<file path=ppt/slides/_rels/slide2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36.xml.rels><?xml version="1.0" encoding="UTF-8" standalone="yes"?>
<Relationships xmlns="http://schemas.openxmlformats.org/package/2006/relationships"><Relationship Id="rId3" Type="http://schemas.openxmlformats.org/officeDocument/2006/relationships/hyperlink" Target="https://www.scribbr.com/statistics/standard-deviation/" TargetMode="External"/><Relationship Id="rId2" Type="http://schemas.openxmlformats.org/officeDocument/2006/relationships/hyperlink" Target="https://www.scribbr.com/methodology/population-vs-sample/" TargetMode="External"/><Relationship Id="rId1" Type="http://schemas.openxmlformats.org/officeDocument/2006/relationships/slideLayout" Target="../slideLayouts/slideLayout2.xml"/><Relationship Id="rId5" Type="http://schemas.openxmlformats.org/officeDocument/2006/relationships/image" Target="../media/image372.png"/><Relationship Id="rId4" Type="http://schemas.openxmlformats.org/officeDocument/2006/relationships/hyperlink" Target="https://www.scribbr.com/statistics/variability/" TargetMode="External"/></Relationships>
</file>

<file path=ppt/slides/_rels/slide2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8.xml.rels><?xml version="1.0" encoding="UTF-8" standalone="yes"?>
<Relationships xmlns="http://schemas.openxmlformats.org/package/2006/relationships"><Relationship Id="rId2" Type="http://schemas.openxmlformats.org/officeDocument/2006/relationships/image" Target="../media/image373.png"/><Relationship Id="rId1" Type="http://schemas.openxmlformats.org/officeDocument/2006/relationships/slideLayout" Target="../slideLayouts/slideLayout9.xml"/></Relationships>
</file>

<file path=ppt/slides/_rels/slide2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2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hyperlink" Target="http://capitalcurrent.ca/opioid-overdoses-dwarf-covid-19/" TargetMode="External"/><Relationship Id="rId2" Type="http://schemas.openxmlformats.org/officeDocument/2006/relationships/image" Target="../media/image21.jpg"/><Relationship Id="rId1" Type="http://schemas.openxmlformats.org/officeDocument/2006/relationships/slideLayout" Target="../slideLayouts/slideLayout4.xml"/><Relationship Id="rId4" Type="http://schemas.openxmlformats.org/officeDocument/2006/relationships/hyperlink" Target="https://creativecommons.org/licenses/by-nc-nd/3.0/"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hyperlink" Target="https://www.peakpx.com/1988/weather-forecast" TargetMode="External"/><Relationship Id="rId7" Type="http://schemas.openxmlformats.org/officeDocument/2006/relationships/hyperlink" Target="https://www.quoteinspector.com/free-images/" TargetMode="External"/><Relationship Id="rId2" Type="http://schemas.openxmlformats.org/officeDocument/2006/relationships/image" Target="../media/image4.jpeg"/><Relationship Id="rId1" Type="http://schemas.openxmlformats.org/officeDocument/2006/relationships/slideLayout" Target="../slideLayouts/slideLayout2.xml"/><Relationship Id="rId6" Type="http://schemas.openxmlformats.org/officeDocument/2006/relationships/image" Target="../media/image6.jpeg"/><Relationship Id="rId11" Type="http://schemas.openxmlformats.org/officeDocument/2006/relationships/hyperlink" Target="https://www.flickr.com/photos/brusselsairport/38822732482" TargetMode="External"/><Relationship Id="rId5" Type="http://schemas.openxmlformats.org/officeDocument/2006/relationships/hyperlink" Target="https://journalistsresource.org/tag/election-beat-2020/" TargetMode="External"/><Relationship Id="rId10" Type="http://schemas.openxmlformats.org/officeDocument/2006/relationships/image" Target="../media/image8.jpeg"/><Relationship Id="rId4" Type="http://schemas.openxmlformats.org/officeDocument/2006/relationships/image" Target="../media/image5.png"/><Relationship Id="rId9" Type="http://schemas.openxmlformats.org/officeDocument/2006/relationships/hyperlink" Target="http://dangerouslee.biz/insurance-agency-seo/"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hyperlink" Target="https://blog.scielo.org/en/2015/03/27/peer-review-modalities-pros-and-cons/" TargetMode="External"/><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4.xml"/><Relationship Id="rId7" Type="http://schemas.openxmlformats.org/officeDocument/2006/relationships/hyperlink" Target="https://www.actuaries.digital/2018/10/31/what-makes-a-good-data-scientist-actuaries-podcast/" TargetMode="Externa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7.jpg"/><Relationship Id="rId5" Type="http://schemas.openxmlformats.org/officeDocument/2006/relationships/notesSlide" Target="../notesSlides/notesSlide4.xml"/><Relationship Id="rId4" Type="http://schemas.openxmlformats.org/officeDocument/2006/relationships/slideLayout" Target="../slideLayouts/slideLayout9.xml"/><Relationship Id="rId9" Type="http://schemas.openxmlformats.org/officeDocument/2006/relationships/image" Target="../media/image1.emf"/></Relationships>
</file>

<file path=ppt/slides/_rels/slide36.xml.rels><?xml version="1.0" encoding="UTF-8" standalone="yes"?>
<Relationships xmlns="http://schemas.openxmlformats.org/package/2006/relationships"><Relationship Id="rId8" Type="http://schemas.openxmlformats.org/officeDocument/2006/relationships/image" Target="../media/image28.jpg"/><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1.bin"/><Relationship Id="rId5" Type="http://schemas.openxmlformats.org/officeDocument/2006/relationships/notesSlide" Target="../notesSlides/notesSlide5.xml"/><Relationship Id="rId4" Type="http://schemas.openxmlformats.org/officeDocument/2006/relationships/slideLayout" Target="../slideLayouts/slideLayout9.xml"/><Relationship Id="rId9" Type="http://schemas.openxmlformats.org/officeDocument/2006/relationships/hyperlink" Target="https://www.actuaries.digital/2020/08/06/a-data-scientists-guide-to-data-architecture/"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hyperlink" Target="https://www.publicdomainpictures.net/view-image.php?image=176108&amp;picture=fast-sport-car" TargetMode="External"/><Relationship Id="rId2" Type="http://schemas.openxmlformats.org/officeDocument/2006/relationships/image" Target="../media/image29.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hyperlink" Target="https://www.flickr.com/photos/emptyjames/4768555013" TargetMode="External"/><Relationship Id="rId2" Type="http://schemas.openxmlformats.org/officeDocument/2006/relationships/image" Target="../media/image30.jpe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hyperlink" Target="https://www.pexels.com/photo/disco-disco-ball-discotheque-glamour-party-2123340/" TargetMode="External"/><Relationship Id="rId2" Type="http://schemas.openxmlformats.org/officeDocument/2006/relationships/image" Target="../media/image31.jpeg"/><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hyperlink" Target="https://www.pexels.com/photo/disco-disco-ball-discotheque-glamour-party-2123340/" TargetMode="External"/><Relationship Id="rId2" Type="http://schemas.openxmlformats.org/officeDocument/2006/relationships/image" Target="../media/image31.jpe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hyperlink" Target="http://www.publicdomainpictures.net/view-image.php?image=120577&amp;picture=forklift-truck-loading-up" TargetMode="External"/><Relationship Id="rId2" Type="http://schemas.openxmlformats.org/officeDocument/2006/relationships/image" Target="../media/image32.jpe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6" Type="http://schemas.openxmlformats.org/officeDocument/2006/relationships/image" Target="../media/image42.png"/><Relationship Id="rId21" Type="http://schemas.openxmlformats.org/officeDocument/2006/relationships/customXml" Target="../ink/ink10.xml"/><Relationship Id="rId42" Type="http://schemas.openxmlformats.org/officeDocument/2006/relationships/image" Target="../media/image50.png"/><Relationship Id="rId47" Type="http://schemas.openxmlformats.org/officeDocument/2006/relationships/customXml" Target="../ink/ink23.xml"/><Relationship Id="rId63" Type="http://schemas.openxmlformats.org/officeDocument/2006/relationships/customXml" Target="../ink/ink31.xml"/><Relationship Id="rId68" Type="http://schemas.openxmlformats.org/officeDocument/2006/relationships/image" Target="../media/image63.png"/><Relationship Id="rId2" Type="http://schemas.openxmlformats.org/officeDocument/2006/relationships/image" Target="../media/image33.png"/><Relationship Id="rId16" Type="http://schemas.openxmlformats.org/officeDocument/2006/relationships/image" Target="../media/image37.png"/><Relationship Id="rId29" Type="http://schemas.openxmlformats.org/officeDocument/2006/relationships/customXml" Target="../ink/ink14.xml"/><Relationship Id="rId11" Type="http://schemas.openxmlformats.org/officeDocument/2006/relationships/customXml" Target="../ink/ink5.xml"/><Relationship Id="rId24" Type="http://schemas.openxmlformats.org/officeDocument/2006/relationships/image" Target="../media/image41.png"/><Relationship Id="rId32" Type="http://schemas.openxmlformats.org/officeDocument/2006/relationships/image" Target="../media/image45.png"/><Relationship Id="rId37" Type="http://schemas.openxmlformats.org/officeDocument/2006/relationships/customXml" Target="../ink/ink18.xml"/><Relationship Id="rId40" Type="http://schemas.openxmlformats.org/officeDocument/2006/relationships/image" Target="../media/image49.png"/><Relationship Id="rId45" Type="http://schemas.openxmlformats.org/officeDocument/2006/relationships/customXml" Target="../ink/ink22.xml"/><Relationship Id="rId53" Type="http://schemas.openxmlformats.org/officeDocument/2006/relationships/customXml" Target="../ink/ink26.xml"/><Relationship Id="rId58" Type="http://schemas.openxmlformats.org/officeDocument/2006/relationships/image" Target="../media/image58.png"/><Relationship Id="rId66" Type="http://schemas.openxmlformats.org/officeDocument/2006/relationships/image" Target="../media/image62.png"/><Relationship Id="rId74" Type="http://schemas.openxmlformats.org/officeDocument/2006/relationships/image" Target="../media/image66.png"/><Relationship Id="rId5" Type="http://schemas.openxmlformats.org/officeDocument/2006/relationships/customXml" Target="../ink/ink2.xml"/><Relationship Id="rId61" Type="http://schemas.openxmlformats.org/officeDocument/2006/relationships/customXml" Target="../ink/ink30.xml"/><Relationship Id="rId19" Type="http://schemas.openxmlformats.org/officeDocument/2006/relationships/customXml" Target="../ink/ink9.xml"/><Relationship Id="rId14" Type="http://schemas.openxmlformats.org/officeDocument/2006/relationships/image" Target="../media/image36.png"/><Relationship Id="rId22" Type="http://schemas.openxmlformats.org/officeDocument/2006/relationships/image" Target="../media/image40.png"/><Relationship Id="rId27" Type="http://schemas.openxmlformats.org/officeDocument/2006/relationships/customXml" Target="../ink/ink13.xml"/><Relationship Id="rId30" Type="http://schemas.openxmlformats.org/officeDocument/2006/relationships/image" Target="../media/image44.png"/><Relationship Id="rId35" Type="http://schemas.openxmlformats.org/officeDocument/2006/relationships/customXml" Target="../ink/ink17.xml"/><Relationship Id="rId43" Type="http://schemas.openxmlformats.org/officeDocument/2006/relationships/customXml" Target="../ink/ink21.xml"/><Relationship Id="rId48" Type="http://schemas.openxmlformats.org/officeDocument/2006/relationships/image" Target="../media/image53.png"/><Relationship Id="rId56" Type="http://schemas.openxmlformats.org/officeDocument/2006/relationships/image" Target="../media/image57.png"/><Relationship Id="rId64" Type="http://schemas.openxmlformats.org/officeDocument/2006/relationships/image" Target="../media/image61.png"/><Relationship Id="rId69" Type="http://schemas.openxmlformats.org/officeDocument/2006/relationships/customXml" Target="../ink/ink34.xml"/><Relationship Id="rId8" Type="http://schemas.openxmlformats.org/officeDocument/2006/relationships/image" Target="../media/image330.png"/><Relationship Id="rId51" Type="http://schemas.openxmlformats.org/officeDocument/2006/relationships/customXml" Target="../ink/ink25.xml"/><Relationship Id="rId72" Type="http://schemas.openxmlformats.org/officeDocument/2006/relationships/image" Target="../media/image65.png"/><Relationship Id="rId3" Type="http://schemas.openxmlformats.org/officeDocument/2006/relationships/customXml" Target="../ink/ink1.xml"/><Relationship Id="rId12" Type="http://schemas.openxmlformats.org/officeDocument/2006/relationships/image" Target="../media/image35.png"/><Relationship Id="rId17" Type="http://schemas.openxmlformats.org/officeDocument/2006/relationships/customXml" Target="../ink/ink8.xml"/><Relationship Id="rId25" Type="http://schemas.openxmlformats.org/officeDocument/2006/relationships/customXml" Target="../ink/ink12.xml"/><Relationship Id="rId33" Type="http://schemas.openxmlformats.org/officeDocument/2006/relationships/customXml" Target="../ink/ink16.xml"/><Relationship Id="rId38" Type="http://schemas.openxmlformats.org/officeDocument/2006/relationships/image" Target="../media/image48.png"/><Relationship Id="rId46" Type="http://schemas.openxmlformats.org/officeDocument/2006/relationships/image" Target="../media/image52.png"/><Relationship Id="rId59" Type="http://schemas.openxmlformats.org/officeDocument/2006/relationships/customXml" Target="../ink/ink29.xml"/><Relationship Id="rId67" Type="http://schemas.openxmlformats.org/officeDocument/2006/relationships/customXml" Target="../ink/ink33.xml"/><Relationship Id="rId20" Type="http://schemas.openxmlformats.org/officeDocument/2006/relationships/image" Target="../media/image39.png"/><Relationship Id="rId41" Type="http://schemas.openxmlformats.org/officeDocument/2006/relationships/customXml" Target="../ink/ink20.xml"/><Relationship Id="rId54" Type="http://schemas.openxmlformats.org/officeDocument/2006/relationships/image" Target="../media/image56.png"/><Relationship Id="rId62" Type="http://schemas.openxmlformats.org/officeDocument/2006/relationships/image" Target="../media/image60.png"/><Relationship Id="rId70" Type="http://schemas.openxmlformats.org/officeDocument/2006/relationships/image" Target="../media/image64.png"/><Relationship Id="rId75" Type="http://schemas.openxmlformats.org/officeDocument/2006/relationships/customXml" Target="../ink/ink37.xml"/><Relationship Id="rId1" Type="http://schemas.openxmlformats.org/officeDocument/2006/relationships/slideLayout" Target="../slideLayouts/slideLayout3.xml"/><Relationship Id="rId6" Type="http://schemas.openxmlformats.org/officeDocument/2006/relationships/image" Target="../media/image32.png"/><Relationship Id="rId15" Type="http://schemas.openxmlformats.org/officeDocument/2006/relationships/customXml" Target="../ink/ink7.xml"/><Relationship Id="rId23" Type="http://schemas.openxmlformats.org/officeDocument/2006/relationships/customXml" Target="../ink/ink11.xml"/><Relationship Id="rId28" Type="http://schemas.openxmlformats.org/officeDocument/2006/relationships/image" Target="../media/image43.png"/><Relationship Id="rId36" Type="http://schemas.openxmlformats.org/officeDocument/2006/relationships/image" Target="../media/image47.png"/><Relationship Id="rId49" Type="http://schemas.openxmlformats.org/officeDocument/2006/relationships/customXml" Target="../ink/ink24.xml"/><Relationship Id="rId57" Type="http://schemas.openxmlformats.org/officeDocument/2006/relationships/customXml" Target="../ink/ink28.xml"/><Relationship Id="rId10" Type="http://schemas.openxmlformats.org/officeDocument/2006/relationships/image" Target="../media/image34.png"/><Relationship Id="rId31" Type="http://schemas.openxmlformats.org/officeDocument/2006/relationships/customXml" Target="../ink/ink15.xml"/><Relationship Id="rId44" Type="http://schemas.openxmlformats.org/officeDocument/2006/relationships/image" Target="../media/image51.png"/><Relationship Id="rId52" Type="http://schemas.openxmlformats.org/officeDocument/2006/relationships/image" Target="../media/image55.png"/><Relationship Id="rId60" Type="http://schemas.openxmlformats.org/officeDocument/2006/relationships/image" Target="../media/image59.png"/><Relationship Id="rId65" Type="http://schemas.openxmlformats.org/officeDocument/2006/relationships/customXml" Target="../ink/ink32.xml"/><Relationship Id="rId73" Type="http://schemas.openxmlformats.org/officeDocument/2006/relationships/customXml" Target="../ink/ink36.xml"/><Relationship Id="rId4" Type="http://schemas.openxmlformats.org/officeDocument/2006/relationships/image" Target="../media/image310.png"/><Relationship Id="rId9" Type="http://schemas.openxmlformats.org/officeDocument/2006/relationships/customXml" Target="../ink/ink4.xml"/><Relationship Id="rId13" Type="http://schemas.openxmlformats.org/officeDocument/2006/relationships/customXml" Target="../ink/ink6.xml"/><Relationship Id="rId18" Type="http://schemas.openxmlformats.org/officeDocument/2006/relationships/image" Target="../media/image38.png"/><Relationship Id="rId39" Type="http://schemas.openxmlformats.org/officeDocument/2006/relationships/customXml" Target="../ink/ink19.xml"/><Relationship Id="rId34" Type="http://schemas.openxmlformats.org/officeDocument/2006/relationships/image" Target="../media/image46.png"/><Relationship Id="rId50" Type="http://schemas.openxmlformats.org/officeDocument/2006/relationships/image" Target="../media/image54.png"/><Relationship Id="rId55" Type="http://schemas.openxmlformats.org/officeDocument/2006/relationships/customXml" Target="../ink/ink27.xml"/><Relationship Id="rId76" Type="http://schemas.openxmlformats.org/officeDocument/2006/relationships/image" Target="../media/image67.png"/><Relationship Id="rId7" Type="http://schemas.openxmlformats.org/officeDocument/2006/relationships/customXml" Target="../ink/ink3.xml"/><Relationship Id="rId71" Type="http://schemas.openxmlformats.org/officeDocument/2006/relationships/customXml" Target="../ink/ink35.xml"/></Relationships>
</file>

<file path=ppt/slides/_rels/slide4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hyperlink" Target="http://www.bettertechtips.com/bestbuy/dell-lightweight-laptop/" TargetMode="External"/><Relationship Id="rId2" Type="http://schemas.openxmlformats.org/officeDocument/2006/relationships/image" Target="../media/image69.jpeg"/><Relationship Id="rId1" Type="http://schemas.openxmlformats.org/officeDocument/2006/relationships/slideLayout" Target="../slideLayouts/slideLayout3.xml"/><Relationship Id="rId4" Type="http://schemas.openxmlformats.org/officeDocument/2006/relationships/image" Target="../media/image70.png"/></Relationships>
</file>

<file path=ppt/slides/_rels/slide51.xml.rels><?xml version="1.0" encoding="UTF-8" standalone="yes"?>
<Relationships xmlns="http://schemas.openxmlformats.org/package/2006/relationships"><Relationship Id="rId26" Type="http://schemas.openxmlformats.org/officeDocument/2006/relationships/customXml" Target="../ink/ink50.xml"/><Relationship Id="rId21" Type="http://schemas.openxmlformats.org/officeDocument/2006/relationships/image" Target="../media/image80.png"/><Relationship Id="rId42" Type="http://schemas.openxmlformats.org/officeDocument/2006/relationships/customXml" Target="../ink/ink58.xml"/><Relationship Id="rId47" Type="http://schemas.openxmlformats.org/officeDocument/2006/relationships/image" Target="../media/image93.png"/><Relationship Id="rId63" Type="http://schemas.openxmlformats.org/officeDocument/2006/relationships/image" Target="../media/image101.png"/><Relationship Id="rId68" Type="http://schemas.openxmlformats.org/officeDocument/2006/relationships/customXml" Target="../ink/ink71.xml"/><Relationship Id="rId84" Type="http://schemas.openxmlformats.org/officeDocument/2006/relationships/customXml" Target="../ink/ink80.xml"/><Relationship Id="rId89" Type="http://schemas.openxmlformats.org/officeDocument/2006/relationships/image" Target="../media/image113.png"/><Relationship Id="rId112" Type="http://schemas.openxmlformats.org/officeDocument/2006/relationships/image" Target="../media/image124.png"/><Relationship Id="rId16" Type="http://schemas.openxmlformats.org/officeDocument/2006/relationships/customXml" Target="../ink/ink45.xml"/><Relationship Id="rId107" Type="http://schemas.openxmlformats.org/officeDocument/2006/relationships/customXml" Target="../ink/ink92.xml"/><Relationship Id="rId11" Type="http://schemas.openxmlformats.org/officeDocument/2006/relationships/image" Target="../media/image75.png"/><Relationship Id="rId32" Type="http://schemas.openxmlformats.org/officeDocument/2006/relationships/customXml" Target="../ink/ink53.xml"/><Relationship Id="rId37" Type="http://schemas.openxmlformats.org/officeDocument/2006/relationships/image" Target="../media/image88.png"/><Relationship Id="rId53" Type="http://schemas.openxmlformats.org/officeDocument/2006/relationships/image" Target="../media/image96.png"/><Relationship Id="rId58" Type="http://schemas.openxmlformats.org/officeDocument/2006/relationships/customXml" Target="../ink/ink66.xml"/><Relationship Id="rId74" Type="http://schemas.openxmlformats.org/officeDocument/2006/relationships/customXml" Target="../ink/ink74.xml"/><Relationship Id="rId79" Type="http://schemas.openxmlformats.org/officeDocument/2006/relationships/customXml" Target="../ink/ink77.xml"/><Relationship Id="rId102" Type="http://schemas.openxmlformats.org/officeDocument/2006/relationships/customXml" Target="../ink/ink89.xml"/><Relationship Id="rId5" Type="http://schemas.openxmlformats.org/officeDocument/2006/relationships/image" Target="../media/image72.png"/><Relationship Id="rId90" Type="http://schemas.openxmlformats.org/officeDocument/2006/relationships/customXml" Target="../ink/ink83.xml"/><Relationship Id="rId95" Type="http://schemas.openxmlformats.org/officeDocument/2006/relationships/image" Target="../media/image116.png"/><Relationship Id="rId22" Type="http://schemas.openxmlformats.org/officeDocument/2006/relationships/customXml" Target="../ink/ink48.xml"/><Relationship Id="rId27" Type="http://schemas.openxmlformats.org/officeDocument/2006/relationships/image" Target="../media/image83.png"/><Relationship Id="rId43" Type="http://schemas.openxmlformats.org/officeDocument/2006/relationships/image" Target="../media/image91.png"/><Relationship Id="rId48" Type="http://schemas.openxmlformats.org/officeDocument/2006/relationships/customXml" Target="../ink/ink61.xml"/><Relationship Id="rId64" Type="http://schemas.openxmlformats.org/officeDocument/2006/relationships/customXml" Target="../ink/ink69.xml"/><Relationship Id="rId69" Type="http://schemas.openxmlformats.org/officeDocument/2006/relationships/image" Target="../media/image104.png"/><Relationship Id="rId80" Type="http://schemas.openxmlformats.org/officeDocument/2006/relationships/image" Target="../media/image109.png"/><Relationship Id="rId85" Type="http://schemas.openxmlformats.org/officeDocument/2006/relationships/image" Target="../media/image111.png"/><Relationship Id="rId12" Type="http://schemas.openxmlformats.org/officeDocument/2006/relationships/customXml" Target="../ink/ink43.xml"/><Relationship Id="rId17" Type="http://schemas.openxmlformats.org/officeDocument/2006/relationships/image" Target="../media/image78.png"/><Relationship Id="rId33" Type="http://schemas.openxmlformats.org/officeDocument/2006/relationships/image" Target="../media/image86.png"/><Relationship Id="rId38" Type="http://schemas.openxmlformats.org/officeDocument/2006/relationships/customXml" Target="../ink/ink56.xml"/><Relationship Id="rId59" Type="http://schemas.openxmlformats.org/officeDocument/2006/relationships/image" Target="../media/image99.png"/><Relationship Id="rId103" Type="http://schemas.openxmlformats.org/officeDocument/2006/relationships/customXml" Target="../ink/ink90.xml"/><Relationship Id="rId108" Type="http://schemas.openxmlformats.org/officeDocument/2006/relationships/image" Target="../media/image122.png"/><Relationship Id="rId54" Type="http://schemas.openxmlformats.org/officeDocument/2006/relationships/customXml" Target="../ink/ink64.xml"/><Relationship Id="rId70" Type="http://schemas.openxmlformats.org/officeDocument/2006/relationships/customXml" Target="../ink/ink72.xml"/><Relationship Id="rId75" Type="http://schemas.openxmlformats.org/officeDocument/2006/relationships/image" Target="../media/image107.png"/><Relationship Id="rId91" Type="http://schemas.openxmlformats.org/officeDocument/2006/relationships/image" Target="../media/image114.png"/><Relationship Id="rId96" Type="http://schemas.openxmlformats.org/officeDocument/2006/relationships/customXml" Target="../ink/ink86.xml"/><Relationship Id="rId1" Type="http://schemas.openxmlformats.org/officeDocument/2006/relationships/slideLayout" Target="../slideLayouts/slideLayout3.xml"/><Relationship Id="rId6" Type="http://schemas.openxmlformats.org/officeDocument/2006/relationships/customXml" Target="../ink/ink40.xml"/><Relationship Id="rId15" Type="http://schemas.openxmlformats.org/officeDocument/2006/relationships/image" Target="../media/image77.png"/><Relationship Id="rId23" Type="http://schemas.openxmlformats.org/officeDocument/2006/relationships/image" Target="../media/image81.png"/><Relationship Id="rId28" Type="http://schemas.openxmlformats.org/officeDocument/2006/relationships/customXml" Target="../ink/ink51.xml"/><Relationship Id="rId36" Type="http://schemas.openxmlformats.org/officeDocument/2006/relationships/customXml" Target="../ink/ink55.xml"/><Relationship Id="rId49" Type="http://schemas.openxmlformats.org/officeDocument/2006/relationships/image" Target="../media/image94.png"/><Relationship Id="rId57" Type="http://schemas.openxmlformats.org/officeDocument/2006/relationships/image" Target="../media/image98.png"/><Relationship Id="rId106" Type="http://schemas.openxmlformats.org/officeDocument/2006/relationships/image" Target="../media/image121.png"/><Relationship Id="rId10" Type="http://schemas.openxmlformats.org/officeDocument/2006/relationships/customXml" Target="../ink/ink42.xml"/><Relationship Id="rId31" Type="http://schemas.openxmlformats.org/officeDocument/2006/relationships/image" Target="../media/image85.png"/><Relationship Id="rId44" Type="http://schemas.openxmlformats.org/officeDocument/2006/relationships/customXml" Target="../ink/ink59.xml"/><Relationship Id="rId52" Type="http://schemas.openxmlformats.org/officeDocument/2006/relationships/customXml" Target="../ink/ink63.xml"/><Relationship Id="rId60" Type="http://schemas.openxmlformats.org/officeDocument/2006/relationships/customXml" Target="../ink/ink67.xml"/><Relationship Id="rId65" Type="http://schemas.openxmlformats.org/officeDocument/2006/relationships/image" Target="../media/image102.png"/><Relationship Id="rId73" Type="http://schemas.openxmlformats.org/officeDocument/2006/relationships/image" Target="../media/image106.png"/><Relationship Id="rId78" Type="http://schemas.openxmlformats.org/officeDocument/2006/relationships/customXml" Target="../ink/ink76.xml"/><Relationship Id="rId81" Type="http://schemas.openxmlformats.org/officeDocument/2006/relationships/customXml" Target="../ink/ink78.xml"/><Relationship Id="rId86" Type="http://schemas.openxmlformats.org/officeDocument/2006/relationships/customXml" Target="../ink/ink81.xml"/><Relationship Id="rId94" Type="http://schemas.openxmlformats.org/officeDocument/2006/relationships/customXml" Target="../ink/ink85.xml"/><Relationship Id="rId99" Type="http://schemas.openxmlformats.org/officeDocument/2006/relationships/image" Target="../media/image118.png"/><Relationship Id="rId101" Type="http://schemas.openxmlformats.org/officeDocument/2006/relationships/image" Target="../media/image119.png"/><Relationship Id="rId4" Type="http://schemas.openxmlformats.org/officeDocument/2006/relationships/customXml" Target="../ink/ink39.xml"/><Relationship Id="rId9" Type="http://schemas.openxmlformats.org/officeDocument/2006/relationships/image" Target="../media/image74.png"/><Relationship Id="rId13" Type="http://schemas.openxmlformats.org/officeDocument/2006/relationships/image" Target="../media/image76.png"/><Relationship Id="rId18" Type="http://schemas.openxmlformats.org/officeDocument/2006/relationships/customXml" Target="../ink/ink46.xml"/><Relationship Id="rId39" Type="http://schemas.openxmlformats.org/officeDocument/2006/relationships/image" Target="../media/image89.png"/><Relationship Id="rId109" Type="http://schemas.openxmlformats.org/officeDocument/2006/relationships/customXml" Target="../ink/ink93.xml"/><Relationship Id="rId34" Type="http://schemas.openxmlformats.org/officeDocument/2006/relationships/customXml" Target="../ink/ink54.xml"/><Relationship Id="rId50" Type="http://schemas.openxmlformats.org/officeDocument/2006/relationships/customXml" Target="../ink/ink62.xml"/><Relationship Id="rId55" Type="http://schemas.openxmlformats.org/officeDocument/2006/relationships/image" Target="../media/image97.png"/><Relationship Id="rId76" Type="http://schemas.openxmlformats.org/officeDocument/2006/relationships/customXml" Target="../ink/ink75.xml"/><Relationship Id="rId97" Type="http://schemas.openxmlformats.org/officeDocument/2006/relationships/image" Target="../media/image117.png"/><Relationship Id="rId104" Type="http://schemas.openxmlformats.org/officeDocument/2006/relationships/image" Target="../media/image120.png"/><Relationship Id="rId7" Type="http://schemas.openxmlformats.org/officeDocument/2006/relationships/image" Target="../media/image73.png"/><Relationship Id="rId71" Type="http://schemas.openxmlformats.org/officeDocument/2006/relationships/image" Target="../media/image105.png"/><Relationship Id="rId92" Type="http://schemas.openxmlformats.org/officeDocument/2006/relationships/customXml" Target="../ink/ink84.xml"/><Relationship Id="rId2" Type="http://schemas.openxmlformats.org/officeDocument/2006/relationships/customXml" Target="../ink/ink38.xml"/><Relationship Id="rId29" Type="http://schemas.openxmlformats.org/officeDocument/2006/relationships/image" Target="../media/image84.png"/><Relationship Id="rId24" Type="http://schemas.openxmlformats.org/officeDocument/2006/relationships/customXml" Target="../ink/ink49.xml"/><Relationship Id="rId40" Type="http://schemas.openxmlformats.org/officeDocument/2006/relationships/customXml" Target="../ink/ink57.xml"/><Relationship Id="rId45" Type="http://schemas.openxmlformats.org/officeDocument/2006/relationships/image" Target="../media/image92.png"/><Relationship Id="rId66" Type="http://schemas.openxmlformats.org/officeDocument/2006/relationships/customXml" Target="../ink/ink70.xml"/><Relationship Id="rId87" Type="http://schemas.openxmlformats.org/officeDocument/2006/relationships/image" Target="../media/image112.png"/><Relationship Id="rId110" Type="http://schemas.openxmlformats.org/officeDocument/2006/relationships/image" Target="../media/image123.png"/><Relationship Id="rId61" Type="http://schemas.openxmlformats.org/officeDocument/2006/relationships/image" Target="../media/image100.png"/><Relationship Id="rId82" Type="http://schemas.openxmlformats.org/officeDocument/2006/relationships/image" Target="../media/image110.png"/><Relationship Id="rId19" Type="http://schemas.openxmlformats.org/officeDocument/2006/relationships/image" Target="../media/image79.png"/><Relationship Id="rId14" Type="http://schemas.openxmlformats.org/officeDocument/2006/relationships/customXml" Target="../ink/ink44.xml"/><Relationship Id="rId30" Type="http://schemas.openxmlformats.org/officeDocument/2006/relationships/customXml" Target="../ink/ink52.xml"/><Relationship Id="rId35" Type="http://schemas.openxmlformats.org/officeDocument/2006/relationships/image" Target="../media/image87.png"/><Relationship Id="rId56" Type="http://schemas.openxmlformats.org/officeDocument/2006/relationships/customXml" Target="../ink/ink65.xml"/><Relationship Id="rId77" Type="http://schemas.openxmlformats.org/officeDocument/2006/relationships/image" Target="../media/image108.png"/><Relationship Id="rId100" Type="http://schemas.openxmlformats.org/officeDocument/2006/relationships/customXml" Target="../ink/ink88.xml"/><Relationship Id="rId105" Type="http://schemas.openxmlformats.org/officeDocument/2006/relationships/customXml" Target="../ink/ink91.xml"/><Relationship Id="rId8" Type="http://schemas.openxmlformats.org/officeDocument/2006/relationships/customXml" Target="../ink/ink41.xml"/><Relationship Id="rId51" Type="http://schemas.openxmlformats.org/officeDocument/2006/relationships/image" Target="../media/image95.png"/><Relationship Id="rId72" Type="http://schemas.openxmlformats.org/officeDocument/2006/relationships/customXml" Target="../ink/ink73.xml"/><Relationship Id="rId93" Type="http://schemas.openxmlformats.org/officeDocument/2006/relationships/image" Target="../media/image115.png"/><Relationship Id="rId98" Type="http://schemas.openxmlformats.org/officeDocument/2006/relationships/customXml" Target="../ink/ink87.xml"/><Relationship Id="rId3" Type="http://schemas.openxmlformats.org/officeDocument/2006/relationships/image" Target="../media/image71.png"/><Relationship Id="rId25" Type="http://schemas.openxmlformats.org/officeDocument/2006/relationships/image" Target="../media/image82.png"/><Relationship Id="rId46" Type="http://schemas.openxmlformats.org/officeDocument/2006/relationships/customXml" Target="../ink/ink60.xml"/><Relationship Id="rId67" Type="http://schemas.openxmlformats.org/officeDocument/2006/relationships/image" Target="../media/image103.png"/><Relationship Id="rId20" Type="http://schemas.openxmlformats.org/officeDocument/2006/relationships/customXml" Target="../ink/ink47.xml"/><Relationship Id="rId41" Type="http://schemas.openxmlformats.org/officeDocument/2006/relationships/image" Target="../media/image90.png"/><Relationship Id="rId62" Type="http://schemas.openxmlformats.org/officeDocument/2006/relationships/customXml" Target="../ink/ink68.xml"/><Relationship Id="rId83" Type="http://schemas.openxmlformats.org/officeDocument/2006/relationships/customXml" Target="../ink/ink79.xml"/><Relationship Id="rId88" Type="http://schemas.openxmlformats.org/officeDocument/2006/relationships/customXml" Target="../ink/ink82.xml"/><Relationship Id="rId111" Type="http://schemas.openxmlformats.org/officeDocument/2006/relationships/customXml" Target="../ink/ink94.xml"/></Relationships>
</file>

<file path=ppt/slides/_rels/slide52.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6.png"/><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hyperlink" Target="https://www.mathsisfun.com/mean.html" TargetMode="Externa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image" Target="../media/image130.png"/><Relationship Id="rId1" Type="http://schemas.openxmlformats.org/officeDocument/2006/relationships/slideLayout" Target="../slideLayouts/slideLayout3.xml"/><Relationship Id="rId4" Type="http://schemas.openxmlformats.org/officeDocument/2006/relationships/hyperlink" Target="http://intersection4learning.blogspot.com/2012/01/wonder-wednesday-most-important.html"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www.thebluediamondgallery.com/handwriting/s/statistics.html" TargetMode="External"/><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hyperlink" Target="https://www.pexels.com/photo/black-dslr-camera-mounted-on-black-tripod-212372/" TargetMode="External"/><Relationship Id="rId2" Type="http://schemas.openxmlformats.org/officeDocument/2006/relationships/image" Target="../media/image132.jpeg"/><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3" Type="http://schemas.openxmlformats.org/officeDocument/2006/relationships/hyperlink" Target="http://priyankas-point.blogspot.com/2009_06_14_archive.html" TargetMode="External"/><Relationship Id="rId2" Type="http://schemas.openxmlformats.org/officeDocument/2006/relationships/image" Target="../media/image133.jpeg"/><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3" Type="http://schemas.openxmlformats.org/officeDocument/2006/relationships/hyperlink" Target="http://intersection4learning.blogspot.com/2012/01/wonder-wednesday-most-important.html" TargetMode="External"/><Relationship Id="rId2" Type="http://schemas.openxmlformats.org/officeDocument/2006/relationships/image" Target="../media/image134.jpeg"/><Relationship Id="rId1" Type="http://schemas.openxmlformats.org/officeDocument/2006/relationships/slideLayout" Target="../slideLayouts/slideLayout3.xml"/><Relationship Id="rId4" Type="http://schemas.openxmlformats.org/officeDocument/2006/relationships/image" Target="../media/image135.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8" Type="http://schemas.openxmlformats.org/officeDocument/2006/relationships/image" Target="../media/image28.jpg"/><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1.bin"/><Relationship Id="rId5" Type="http://schemas.openxmlformats.org/officeDocument/2006/relationships/notesSlide" Target="../notesSlides/notesSlide6.xml"/><Relationship Id="rId4" Type="http://schemas.openxmlformats.org/officeDocument/2006/relationships/slideLayout" Target="../slideLayouts/slideLayout9.xml"/><Relationship Id="rId9" Type="http://schemas.openxmlformats.org/officeDocument/2006/relationships/hyperlink" Target="https://www.actuaries.digital/2020/08/06/a-data-scientists-guide-to-data-architecture/" TargetMode="External"/></Relationships>
</file>

<file path=ppt/slides/_rels/slide67.xml.rels><?xml version="1.0" encoding="UTF-8" standalone="yes"?>
<Relationships xmlns="http://schemas.openxmlformats.org/package/2006/relationships"><Relationship Id="rId3" Type="http://schemas.openxmlformats.org/officeDocument/2006/relationships/hyperlink" Target="https://www.scribbr.com/statistics/interquartile-range/" TargetMode="External"/><Relationship Id="rId2" Type="http://schemas.openxmlformats.org/officeDocument/2006/relationships/hyperlink" Target="https://www.scribbr.com/statistics/range/" TargetMode="External"/><Relationship Id="rId1" Type="http://schemas.openxmlformats.org/officeDocument/2006/relationships/slideLayout" Target="../slideLayouts/slideLayout9.xml"/><Relationship Id="rId5" Type="http://schemas.openxmlformats.org/officeDocument/2006/relationships/hyperlink" Target="https://www.scribbr.com/statistics/variance/" TargetMode="External"/><Relationship Id="rId4" Type="http://schemas.openxmlformats.org/officeDocument/2006/relationships/hyperlink" Target="https://www.scribbr.com/statistics/standard-deviation/" TargetMode="External"/></Relationships>
</file>

<file path=ppt/slides/_rels/slide68.xml.rels><?xml version="1.0" encoding="UTF-8" standalone="yes"?>
<Relationships xmlns="http://schemas.openxmlformats.org/package/2006/relationships"><Relationship Id="rId3" Type="http://schemas.openxmlformats.org/officeDocument/2006/relationships/hyperlink" Target="https://www.scribbr.com/methodology/simple-random-sampling/" TargetMode="External"/><Relationship Id="rId2" Type="http://schemas.openxmlformats.org/officeDocument/2006/relationships/image" Target="../media/image138.png"/><Relationship Id="rId1" Type="http://schemas.openxmlformats.org/officeDocument/2006/relationships/slideLayout" Target="../slideLayouts/slideLayout9.xml"/><Relationship Id="rId4" Type="http://schemas.openxmlformats.org/officeDocument/2006/relationships/hyperlink" Target="https://www.scribbr.com/statistics/normal-distribution/" TargetMode="External"/></Relationships>
</file>

<file path=ppt/slides/_rels/slide69.xml.rels><?xml version="1.0" encoding="UTF-8" standalone="yes"?>
<Relationships xmlns="http://schemas.openxmlformats.org/package/2006/relationships"><Relationship Id="rId2" Type="http://schemas.openxmlformats.org/officeDocument/2006/relationships/hyperlink" Target="https://www.scribbr.com/statistics/range/" TargetMode="Externa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hyperlink" Target="https://www.scribbr.com/statistics/outliers/" TargetMode="External"/><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3" Type="http://schemas.openxmlformats.org/officeDocument/2006/relationships/hyperlink" Target="https://pixabay.com/en/question-mark-question-response-1019983/" TargetMode="External"/><Relationship Id="rId2" Type="http://schemas.openxmlformats.org/officeDocument/2006/relationships/image" Target="../media/image139.jpg"/><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9.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hyperlink" Target="https://www.scribbr.com/statistics/interquartile-range/" TargetMode="External"/><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7.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9.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9.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2.xml.rels><?xml version="1.0" encoding="UTF-8" standalone="yes"?>
<Relationships xmlns="http://schemas.openxmlformats.org/package/2006/relationships"><Relationship Id="rId2" Type="http://schemas.openxmlformats.org/officeDocument/2006/relationships/hyperlink" Target="https://www.mathsisfun.com/mean.html" TargetMode="External"/><Relationship Id="rId1" Type="http://schemas.openxmlformats.org/officeDocument/2006/relationships/slideLayout" Target="../slideLayouts/slideLayout9.xml"/></Relationships>
</file>

<file path=ppt/slides/_rels/slide83.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image" Target="../media/image146.png"/><Relationship Id="rId1" Type="http://schemas.openxmlformats.org/officeDocument/2006/relationships/slideLayout" Target="../slideLayouts/slideLayout9.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5.xml.rels><?xml version="1.0" encoding="UTF-8" standalone="yes"?>
<Relationships xmlns="http://schemas.openxmlformats.org/package/2006/relationships"><Relationship Id="rId3" Type="http://schemas.openxmlformats.org/officeDocument/2006/relationships/hyperlink" Target="https://www.mathsisfun.com/numbers/absolute-value.html" TargetMode="External"/><Relationship Id="rId2" Type="http://schemas.openxmlformats.org/officeDocument/2006/relationships/hyperlink" Target="https://www.mathsisfun.com/algebra/sigma-notation.html" TargetMode="External"/><Relationship Id="rId1" Type="http://schemas.openxmlformats.org/officeDocument/2006/relationships/slideLayout" Target="../slideLayouts/slideLayout9.xml"/><Relationship Id="rId4" Type="http://schemas.openxmlformats.org/officeDocument/2006/relationships/image" Target="../media/image148.png"/></Relationships>
</file>

<file path=ppt/slides/_rels/slide86.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9.xml"/></Relationships>
</file>

<file path=ppt/slides/_rels/slide87.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png"/><Relationship Id="rId1" Type="http://schemas.openxmlformats.org/officeDocument/2006/relationships/slideLayout" Target="../slideLayouts/slideLayout9.xml"/></Relationships>
</file>

<file path=ppt/slides/_rels/slide88.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9.xml"/></Relationships>
</file>

<file path=ppt/slides/_rels/slide89.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hyperlink" Target="https://www.mathsisfun.com/data/standard-deviation.html#WhySquare" TargetMode="External"/><Relationship Id="rId2" Type="http://schemas.openxmlformats.org/officeDocument/2006/relationships/hyperlink" Target="https://www.mathsisfun.com/mean.html" TargetMode="External"/><Relationship Id="rId1" Type="http://schemas.openxmlformats.org/officeDocument/2006/relationships/slideLayout" Target="../slideLayouts/slideLayout9.xml"/></Relationships>
</file>

<file path=ppt/slides/_rels/slide91.xml.rels><?xml version="1.0" encoding="UTF-8" standalone="yes"?>
<Relationships xmlns="http://schemas.openxmlformats.org/package/2006/relationships"><Relationship Id="rId2" Type="http://schemas.openxmlformats.org/officeDocument/2006/relationships/image" Target="../media/image153.png"/><Relationship Id="rId1" Type="http://schemas.openxmlformats.org/officeDocument/2006/relationships/slideLayout" Target="../slideLayouts/slideLayout9.xml"/></Relationships>
</file>

<file path=ppt/slides/_rels/slide92.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9.xml"/></Relationships>
</file>

<file path=ppt/slides/_rels/slide93.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155.png"/><Relationship Id="rId1" Type="http://schemas.openxmlformats.org/officeDocument/2006/relationships/slideLayout" Target="../slideLayouts/slideLayout9.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6.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image" Target="../media/image157.png"/><Relationship Id="rId1" Type="http://schemas.openxmlformats.org/officeDocument/2006/relationships/slideLayout" Target="../slideLayouts/slideLayout9.xml"/></Relationships>
</file>

<file path=ppt/slides/_rels/slide97.xml.rels><?xml version="1.0" encoding="UTF-8" standalone="yes"?>
<Relationships xmlns="http://schemas.openxmlformats.org/package/2006/relationships"><Relationship Id="rId3" Type="http://schemas.openxmlformats.org/officeDocument/2006/relationships/hyperlink" Target="https://www.mathsisfun.com/data/mean-deviation.html" TargetMode="External"/><Relationship Id="rId2" Type="http://schemas.openxmlformats.org/officeDocument/2006/relationships/hyperlink" Target="https://www.mathsisfun.com/numbers/absolute-value.html" TargetMode="External"/><Relationship Id="rId1" Type="http://schemas.openxmlformats.org/officeDocument/2006/relationships/slideLayout" Target="../slideLayouts/slideLayout9.xml"/><Relationship Id="rId5" Type="http://schemas.openxmlformats.org/officeDocument/2006/relationships/image" Target="../media/image160.png"/><Relationship Id="rId4" Type="http://schemas.openxmlformats.org/officeDocument/2006/relationships/image" Target="../media/image159.png"/></Relationships>
</file>

<file path=ppt/slides/_rels/slide98.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9.xml"/></Relationships>
</file>

<file path=ppt/slides/_rels/slide99.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1216"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33" name="Title 32">
            <a:extLst>
              <a:ext uri="{FF2B5EF4-FFF2-40B4-BE49-F238E27FC236}">
                <a16:creationId xmlns:a16="http://schemas.microsoft.com/office/drawing/2014/main" id="{2F9043AA-1BB2-49E3-B702-D663491C3B65}"/>
              </a:ext>
            </a:extLst>
          </p:cNvPr>
          <p:cNvSpPr>
            <a:spLocks noGrp="1"/>
          </p:cNvSpPr>
          <p:nvPr>
            <p:ph type="title"/>
          </p:nvPr>
        </p:nvSpPr>
        <p:spPr>
          <a:xfrm>
            <a:off x="81419" y="1053978"/>
            <a:ext cx="2868459" cy="3035543"/>
          </a:xfrm>
        </p:spPr>
        <p:txBody>
          <a:bodyPr/>
          <a:lstStyle/>
          <a:p>
            <a:r>
              <a:rPr lang="en-US" sz="4800" dirty="0"/>
              <a:t>Statistics for </a:t>
            </a:r>
            <a:br>
              <a:rPr lang="en-US" sz="4800" dirty="0"/>
            </a:br>
            <a:r>
              <a:rPr lang="en-US" sz="4800" dirty="0">
                <a:solidFill>
                  <a:schemeClr val="tx2">
                    <a:lumMod val="50000"/>
                  </a:schemeClr>
                </a:solidFill>
              </a:rPr>
              <a:t>Data Science</a:t>
            </a:r>
            <a:br>
              <a:rPr lang="en-US" dirty="0"/>
            </a:br>
            <a:br>
              <a:rPr lang="en-US" dirty="0"/>
            </a:br>
            <a:r>
              <a:rPr lang="en-US" dirty="0"/>
              <a:t> </a:t>
            </a:r>
          </a:p>
        </p:txBody>
      </p:sp>
      <p:pic>
        <p:nvPicPr>
          <p:cNvPr id="44" name="Picture 43" descr="Background pattern&#10;&#10;Description automatically generated">
            <a:extLst>
              <a:ext uri="{FF2B5EF4-FFF2-40B4-BE49-F238E27FC236}">
                <a16:creationId xmlns:a16="http://schemas.microsoft.com/office/drawing/2014/main" id="{4BA223F5-9515-4D0A-940B-6C002E1DC056}"/>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3181610" y="-1"/>
            <a:ext cx="5962389" cy="5143500"/>
          </a:xfrm>
          <a:prstGeom prst="rect">
            <a:avLst/>
          </a:prstGeom>
        </p:spPr>
      </p:pic>
    </p:spTree>
    <p:extLst>
      <p:ext uri="{BB962C8B-B14F-4D97-AF65-F5344CB8AC3E}">
        <p14:creationId xmlns:p14="http://schemas.microsoft.com/office/powerpoint/2010/main" val="1576393387"/>
      </p:ext>
    </p:extLst>
  </p:cSld>
  <p:clrMapOvr>
    <a:masterClrMapping/>
  </p:clrMapOvr>
  <p:transition spd="med">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p:spTree>
    <p:extLst>
      <p:ext uri="{BB962C8B-B14F-4D97-AF65-F5344CB8AC3E}">
        <p14:creationId xmlns:p14="http://schemas.microsoft.com/office/powerpoint/2010/main" val="2425927352"/>
      </p:ext>
    </p:extLst>
  </p:cSld>
  <p:clrMapOvr>
    <a:masterClrMapping/>
  </p:clrMapOvr>
  <p:transition spd="med">
    <p:wipe dir="r"/>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A15513-4618-43CC-A58D-6EBBB5D6C779}"/>
              </a:ext>
            </a:extLst>
          </p:cNvPr>
          <p:cNvSpPr>
            <a:spLocks noGrp="1"/>
          </p:cNvSpPr>
          <p:nvPr>
            <p:ph type="title"/>
          </p:nvPr>
        </p:nvSpPr>
        <p:spPr>
          <a:xfrm>
            <a:off x="0" y="0"/>
            <a:ext cx="8229600" cy="637794"/>
          </a:xfrm>
        </p:spPr>
        <p:txBody>
          <a:bodyPr/>
          <a:lstStyle/>
          <a:p>
            <a:r>
              <a:rPr lang="en-US" dirty="0"/>
              <a:t>Coefficient of Variance (CV)</a:t>
            </a:r>
          </a:p>
        </p:txBody>
      </p:sp>
      <p:sp>
        <p:nvSpPr>
          <p:cNvPr id="3" name="TextBox 2">
            <a:extLst>
              <a:ext uri="{FF2B5EF4-FFF2-40B4-BE49-F238E27FC236}">
                <a16:creationId xmlns:a16="http://schemas.microsoft.com/office/drawing/2014/main" id="{513FCA3B-E05B-4E7A-A5F2-9F78E18C22D3}"/>
              </a:ext>
            </a:extLst>
          </p:cNvPr>
          <p:cNvSpPr txBox="1"/>
          <p:nvPr/>
        </p:nvSpPr>
        <p:spPr>
          <a:xfrm>
            <a:off x="76782" y="502571"/>
            <a:ext cx="8836873" cy="4139595"/>
          </a:xfrm>
          <a:prstGeom prst="rect">
            <a:avLst/>
          </a:prstGeom>
          <a:noFill/>
        </p:spPr>
        <p:txBody>
          <a:bodyPr wrap="square" rtlCol="0">
            <a:spAutoFit/>
          </a:bodyPr>
          <a:lstStyle/>
          <a:p>
            <a:pPr marL="171450" indent="-171450">
              <a:spcBef>
                <a:spcPts val="0"/>
              </a:spcBef>
              <a:spcAft>
                <a:spcPts val="0"/>
              </a:spcAft>
              <a:buClr>
                <a:schemeClr val="bg1"/>
              </a:buClr>
              <a:buFont typeface="Arial" panose="020B0604020202020204" pitchFamily="34" charset="0"/>
              <a:buChar char="•"/>
            </a:pPr>
            <a:r>
              <a:rPr lang="en-US" sz="1800" dirty="0">
                <a:solidFill>
                  <a:schemeClr val="bg2">
                    <a:lumMod val="50000"/>
                    <a:lumOff val="50000"/>
                  </a:schemeClr>
                </a:solidFill>
                <a:latin typeface="Verdana" panose="020B0604030504040204" pitchFamily="34" charset="0"/>
              </a:rPr>
              <a:t>Also known as relative standard deviation (RSD), the coefficient of variation (CV) is a standardized measure of dispersion. </a:t>
            </a:r>
          </a:p>
          <a:p>
            <a:pPr marL="171450" indent="-171450">
              <a:spcBef>
                <a:spcPts val="0"/>
              </a:spcBef>
              <a:spcAft>
                <a:spcPts val="0"/>
              </a:spcAft>
              <a:buClr>
                <a:schemeClr val="bg1"/>
              </a:buClr>
              <a:buFont typeface="Arial" panose="020B0604020202020204" pitchFamily="34" charset="0"/>
              <a:buChar char="•"/>
            </a:pPr>
            <a:r>
              <a:rPr lang="en-US" sz="1800" dirty="0">
                <a:solidFill>
                  <a:schemeClr val="bg2">
                    <a:lumMod val="50000"/>
                    <a:lumOff val="50000"/>
                  </a:schemeClr>
                </a:solidFill>
                <a:latin typeface="Verdana" panose="020B0604030504040204" pitchFamily="34" charset="0"/>
              </a:rPr>
              <a:t>It tells you how variable your data is relative to the mean. It can only be used with ratio levels of measurement because it is a fraction. The coefficient of variation (CV) is the standard deviation divided by the mean.</a:t>
            </a:r>
          </a:p>
          <a:p>
            <a:pPr marL="171450" indent="-171450">
              <a:spcBef>
                <a:spcPts val="0"/>
              </a:spcBef>
              <a:spcAft>
                <a:spcPts val="0"/>
              </a:spcAft>
              <a:buClr>
                <a:schemeClr val="bg1"/>
              </a:buClr>
              <a:buFont typeface="Arial" panose="020B0604020202020204" pitchFamily="34" charset="0"/>
              <a:buChar char="•"/>
            </a:pPr>
            <a:endParaRPr lang="en-US" sz="1800" dirty="0">
              <a:solidFill>
                <a:schemeClr val="bg2">
                  <a:lumMod val="50000"/>
                  <a:lumOff val="50000"/>
                </a:schemeClr>
              </a:solidFill>
              <a:latin typeface="Verdana" panose="020B0604030504040204" pitchFamily="34" charset="0"/>
            </a:endParaRPr>
          </a:p>
          <a:p>
            <a:pPr marL="171450" indent="-171450">
              <a:spcBef>
                <a:spcPts val="0"/>
              </a:spcBef>
              <a:spcAft>
                <a:spcPts val="0"/>
              </a:spcAft>
              <a:buClr>
                <a:schemeClr val="bg1"/>
              </a:buClr>
              <a:buFont typeface="Arial" panose="020B0604020202020204" pitchFamily="34" charset="0"/>
              <a:buChar char="•"/>
            </a:pPr>
            <a:endParaRPr lang="en-US" sz="1800" dirty="0">
              <a:solidFill>
                <a:schemeClr val="bg2">
                  <a:lumMod val="50000"/>
                  <a:lumOff val="50000"/>
                </a:schemeClr>
              </a:solidFill>
              <a:latin typeface="Verdana" panose="020B0604030504040204" pitchFamily="34" charset="0"/>
            </a:endParaRPr>
          </a:p>
          <a:p>
            <a:pPr algn="ctr"/>
            <a:r>
              <a:rPr lang="en-US" sz="1800" dirty="0">
                <a:solidFill>
                  <a:schemeClr val="accent1"/>
                </a:solidFill>
                <a:latin typeface="Verdana" panose="020B0604030504040204" pitchFamily="34" charset="0"/>
              </a:rPr>
              <a:t>CV = SD/Mean</a:t>
            </a:r>
          </a:p>
          <a:p>
            <a:pPr algn="ctr"/>
            <a:endParaRPr lang="en-US" sz="1800" dirty="0">
              <a:solidFill>
                <a:schemeClr val="accent1"/>
              </a:solidFill>
              <a:latin typeface="Verdana" panose="020B0604030504040204" pitchFamily="34" charset="0"/>
            </a:endParaRPr>
          </a:p>
          <a:p>
            <a:pPr algn="ctr"/>
            <a:r>
              <a:rPr lang="en-US" sz="1800" dirty="0">
                <a:solidFill>
                  <a:schemeClr val="accent1"/>
                </a:solidFill>
                <a:latin typeface="Verdana" panose="020B0604030504040204" pitchFamily="34" charset="0"/>
              </a:rPr>
              <a:t>CV = 36.9/13.34 = 0.36</a:t>
            </a:r>
          </a:p>
          <a:p>
            <a:pPr algn="ctr"/>
            <a:endParaRPr lang="en-US" sz="1800" dirty="0">
              <a:solidFill>
                <a:schemeClr val="bg2">
                  <a:lumMod val="50000"/>
                  <a:lumOff val="50000"/>
                </a:schemeClr>
              </a:solidFill>
              <a:latin typeface="Verdana" panose="020B0604030504040204" pitchFamily="34" charset="0"/>
            </a:endParaRPr>
          </a:p>
          <a:p>
            <a:pPr algn="l"/>
            <a:r>
              <a:rPr lang="en-US" sz="1800" dirty="0">
                <a:solidFill>
                  <a:schemeClr val="bg2">
                    <a:lumMod val="50000"/>
                    <a:lumOff val="50000"/>
                  </a:schemeClr>
                </a:solidFill>
                <a:latin typeface="Verdana" panose="020B0604030504040204" pitchFamily="34" charset="0"/>
              </a:rPr>
              <a:t>The coefficient of variation is 0.36 or 36%. This tells you that your data has a large spread because the standard deviation is 36% of the mean</a:t>
            </a:r>
          </a:p>
          <a:p>
            <a:pPr marL="171450" indent="-171450">
              <a:spcBef>
                <a:spcPts val="0"/>
              </a:spcBef>
              <a:spcAft>
                <a:spcPts val="0"/>
              </a:spcAft>
              <a:buClr>
                <a:schemeClr val="bg1"/>
              </a:buClr>
              <a:buFont typeface="Arial" panose="020B0604020202020204" pitchFamily="34" charset="0"/>
              <a:buChar char="•"/>
            </a:pPr>
            <a:endParaRPr lang="en-US" sz="1100" dirty="0">
              <a:solidFill>
                <a:schemeClr val="bg2">
                  <a:lumMod val="50000"/>
                  <a:lumOff val="50000"/>
                </a:schemeClr>
              </a:solidFill>
              <a:latin typeface="Verdana" panose="020B0604030504040204" pitchFamily="34" charset="0"/>
            </a:endParaRPr>
          </a:p>
        </p:txBody>
      </p:sp>
    </p:spTree>
    <p:extLst>
      <p:ext uri="{BB962C8B-B14F-4D97-AF65-F5344CB8AC3E}">
        <p14:creationId xmlns:p14="http://schemas.microsoft.com/office/powerpoint/2010/main" val="3643765442"/>
      </p:ext>
    </p:extLst>
  </p:cSld>
  <p:clrMapOvr>
    <a:masterClrMapping/>
  </p:clrMapOvr>
  <p:transition spd="med">
    <p:wipe dir="r"/>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4FE915-C6F8-4B84-BF0E-CC4886DA14AD}"/>
              </a:ext>
            </a:extLst>
          </p:cNvPr>
          <p:cNvSpPr>
            <a:spLocks noGrp="1"/>
          </p:cNvSpPr>
          <p:nvPr>
            <p:ph type="title"/>
          </p:nvPr>
        </p:nvSpPr>
        <p:spPr>
          <a:xfrm>
            <a:off x="0" y="0"/>
            <a:ext cx="9144000" cy="637794"/>
          </a:xfrm>
        </p:spPr>
        <p:txBody>
          <a:bodyPr/>
          <a:lstStyle/>
          <a:p>
            <a:r>
              <a:rPr lang="en-US" dirty="0"/>
              <a:t>Example : </a:t>
            </a:r>
            <a:br>
              <a:rPr lang="en-US" dirty="0"/>
            </a:br>
            <a:br>
              <a:rPr lang="en-US" dirty="0"/>
            </a:br>
            <a:r>
              <a:rPr lang="en-US" sz="1200" b="0" i="0" dirty="0">
                <a:solidFill>
                  <a:srgbClr val="777777"/>
                </a:solidFill>
                <a:effectLst/>
                <a:latin typeface="pt sans" panose="020B0503020203020204" pitchFamily="34" charset="0"/>
              </a:rPr>
              <a:t>The CV is particularly useful when you want to compare results from two different surveys or tests that have different measures or values. For example, if you are comparing the results from two tests that have different scoring </a:t>
            </a:r>
            <a:r>
              <a:rPr lang="en-US" sz="1200" dirty="0">
                <a:solidFill>
                  <a:srgbClr val="777777"/>
                </a:solidFill>
                <a:latin typeface="pt sans" panose="020B0503020203020204" pitchFamily="34" charset="0"/>
              </a:rPr>
              <a:t>mechanisms. </a:t>
            </a:r>
          </a:p>
        </p:txBody>
      </p:sp>
      <p:graphicFrame>
        <p:nvGraphicFramePr>
          <p:cNvPr id="4" name="Table 4">
            <a:extLst>
              <a:ext uri="{FF2B5EF4-FFF2-40B4-BE49-F238E27FC236}">
                <a16:creationId xmlns:a16="http://schemas.microsoft.com/office/drawing/2014/main" id="{82BE1733-3C10-42E3-A691-1E95C43C85BB}"/>
              </a:ext>
            </a:extLst>
          </p:cNvPr>
          <p:cNvGraphicFramePr>
            <a:graphicFrameLocks noGrp="1"/>
          </p:cNvGraphicFramePr>
          <p:nvPr>
            <p:extLst>
              <p:ext uri="{D42A27DB-BD31-4B8C-83A1-F6EECF244321}">
                <p14:modId xmlns:p14="http://schemas.microsoft.com/office/powerpoint/2010/main" val="2877825890"/>
              </p:ext>
            </p:extLst>
          </p:nvPr>
        </p:nvGraphicFramePr>
        <p:xfrm>
          <a:off x="2900788" y="1544260"/>
          <a:ext cx="6096000" cy="185420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3954299871"/>
                    </a:ext>
                  </a:extLst>
                </a:gridCol>
                <a:gridCol w="2032000">
                  <a:extLst>
                    <a:ext uri="{9D8B030D-6E8A-4147-A177-3AD203B41FA5}">
                      <a16:colId xmlns:a16="http://schemas.microsoft.com/office/drawing/2014/main" val="1596437874"/>
                    </a:ext>
                  </a:extLst>
                </a:gridCol>
                <a:gridCol w="2032000">
                  <a:extLst>
                    <a:ext uri="{9D8B030D-6E8A-4147-A177-3AD203B41FA5}">
                      <a16:colId xmlns:a16="http://schemas.microsoft.com/office/drawing/2014/main" val="4240368581"/>
                    </a:ext>
                  </a:extLst>
                </a:gridCol>
              </a:tblGrid>
              <a:tr h="370840">
                <a:tc>
                  <a:txBody>
                    <a:bodyPr/>
                    <a:lstStyle/>
                    <a:p>
                      <a:endParaRPr lang="en-US">
                        <a:solidFill>
                          <a:schemeClr val="tx2"/>
                        </a:solidFill>
                      </a:endParaRPr>
                    </a:p>
                  </a:txBody>
                  <a:tcPr/>
                </a:tc>
                <a:tc>
                  <a:txBody>
                    <a:bodyPr/>
                    <a:lstStyle/>
                    <a:p>
                      <a:r>
                        <a:rPr lang="en-US" dirty="0">
                          <a:solidFill>
                            <a:schemeClr val="tx2"/>
                          </a:solidFill>
                        </a:rPr>
                        <a:t>SGD </a:t>
                      </a:r>
                    </a:p>
                  </a:txBody>
                  <a:tcPr/>
                </a:tc>
                <a:tc>
                  <a:txBody>
                    <a:bodyPr/>
                    <a:lstStyle/>
                    <a:p>
                      <a:r>
                        <a:rPr lang="en-US" dirty="0">
                          <a:solidFill>
                            <a:schemeClr val="tx2"/>
                          </a:solidFill>
                        </a:rPr>
                        <a:t>MY Ringgit</a:t>
                      </a:r>
                    </a:p>
                  </a:txBody>
                  <a:tcPr/>
                </a:tc>
                <a:extLst>
                  <a:ext uri="{0D108BD9-81ED-4DB2-BD59-A6C34878D82A}">
                    <a16:rowId xmlns:a16="http://schemas.microsoft.com/office/drawing/2014/main" val="1887661748"/>
                  </a:ext>
                </a:extLst>
              </a:tr>
              <a:tr h="370840">
                <a:tc>
                  <a:txBody>
                    <a:bodyPr/>
                    <a:lstStyle/>
                    <a:p>
                      <a:r>
                        <a:rPr lang="en-US" dirty="0"/>
                        <a:t>Mean</a:t>
                      </a:r>
                    </a:p>
                  </a:txBody>
                  <a:tcPr/>
                </a:tc>
                <a:tc>
                  <a:txBody>
                    <a:bodyPr/>
                    <a:lstStyle/>
                    <a:p>
                      <a:endParaRPr lang="en-US" dirty="0"/>
                    </a:p>
                  </a:txBody>
                  <a:tcPr/>
                </a:tc>
                <a:tc>
                  <a:txBody>
                    <a:bodyPr/>
                    <a:lstStyle/>
                    <a:p>
                      <a:endParaRPr lang="en-US"/>
                    </a:p>
                  </a:txBody>
                  <a:tcPr/>
                </a:tc>
                <a:extLst>
                  <a:ext uri="{0D108BD9-81ED-4DB2-BD59-A6C34878D82A}">
                    <a16:rowId xmlns:a16="http://schemas.microsoft.com/office/drawing/2014/main" val="321239270"/>
                  </a:ext>
                </a:extLst>
              </a:tr>
              <a:tr h="370840">
                <a:tc>
                  <a:txBody>
                    <a:bodyPr/>
                    <a:lstStyle/>
                    <a:p>
                      <a:r>
                        <a:rPr lang="en-US" dirty="0"/>
                        <a:t>Sample Variance</a:t>
                      </a:r>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502728200"/>
                  </a:ext>
                </a:extLst>
              </a:tr>
              <a:tr h="370840">
                <a:tc>
                  <a:txBody>
                    <a:bodyPr/>
                    <a:lstStyle/>
                    <a:p>
                      <a:r>
                        <a:rPr lang="en-US" dirty="0"/>
                        <a:t>Sample SD</a:t>
                      </a:r>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041960276"/>
                  </a:ext>
                </a:extLst>
              </a:tr>
              <a:tr h="370840">
                <a:tc>
                  <a:txBody>
                    <a:bodyPr/>
                    <a:lstStyle/>
                    <a:p>
                      <a:r>
                        <a:rPr lang="en-US" dirty="0"/>
                        <a:t>Sample CV</a:t>
                      </a:r>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939018461"/>
                  </a:ext>
                </a:extLst>
              </a:tr>
            </a:tbl>
          </a:graphicData>
        </a:graphic>
      </p:graphicFrame>
      <p:pic>
        <p:nvPicPr>
          <p:cNvPr id="6" name="Picture 5">
            <a:extLst>
              <a:ext uri="{FF2B5EF4-FFF2-40B4-BE49-F238E27FC236}">
                <a16:creationId xmlns:a16="http://schemas.microsoft.com/office/drawing/2014/main" id="{A319A54D-F911-4807-9AAD-7170EAF02AE0}"/>
              </a:ext>
            </a:extLst>
          </p:cNvPr>
          <p:cNvPicPr>
            <a:picLocks noChangeAspect="1"/>
          </p:cNvPicPr>
          <p:nvPr/>
        </p:nvPicPr>
        <p:blipFill>
          <a:blip r:embed="rId2"/>
          <a:stretch>
            <a:fillRect/>
          </a:stretch>
        </p:blipFill>
        <p:spPr>
          <a:xfrm>
            <a:off x="147212" y="1544260"/>
            <a:ext cx="2198119" cy="2433090"/>
          </a:xfrm>
          <a:prstGeom prst="rect">
            <a:avLst/>
          </a:prstGeom>
        </p:spPr>
      </p:pic>
      <p:pic>
        <p:nvPicPr>
          <p:cNvPr id="8" name="Picture 7">
            <a:extLst>
              <a:ext uri="{FF2B5EF4-FFF2-40B4-BE49-F238E27FC236}">
                <a16:creationId xmlns:a16="http://schemas.microsoft.com/office/drawing/2014/main" id="{F2244643-DE6F-479F-98B8-7DC4A272C509}"/>
              </a:ext>
            </a:extLst>
          </p:cNvPr>
          <p:cNvPicPr>
            <a:picLocks noChangeAspect="1"/>
          </p:cNvPicPr>
          <p:nvPr/>
        </p:nvPicPr>
        <p:blipFill>
          <a:blip r:embed="rId3"/>
          <a:stretch>
            <a:fillRect/>
          </a:stretch>
        </p:blipFill>
        <p:spPr>
          <a:xfrm>
            <a:off x="2848339" y="3656263"/>
            <a:ext cx="2400300" cy="1162050"/>
          </a:xfrm>
          <a:prstGeom prst="rect">
            <a:avLst/>
          </a:prstGeom>
        </p:spPr>
      </p:pic>
      <p:pic>
        <p:nvPicPr>
          <p:cNvPr id="10" name="Picture 9">
            <a:extLst>
              <a:ext uri="{FF2B5EF4-FFF2-40B4-BE49-F238E27FC236}">
                <a16:creationId xmlns:a16="http://schemas.microsoft.com/office/drawing/2014/main" id="{68ED49FD-3088-4EE4-BA72-E57EC13DB468}"/>
              </a:ext>
            </a:extLst>
          </p:cNvPr>
          <p:cNvPicPr>
            <a:picLocks noChangeAspect="1"/>
          </p:cNvPicPr>
          <p:nvPr/>
        </p:nvPicPr>
        <p:blipFill>
          <a:blip r:embed="rId4"/>
          <a:stretch>
            <a:fillRect/>
          </a:stretch>
        </p:blipFill>
        <p:spPr>
          <a:xfrm>
            <a:off x="5705475" y="3920327"/>
            <a:ext cx="2524125" cy="466725"/>
          </a:xfrm>
          <a:prstGeom prst="rect">
            <a:avLst/>
          </a:prstGeom>
        </p:spPr>
      </p:pic>
    </p:spTree>
    <p:extLst>
      <p:ext uri="{BB962C8B-B14F-4D97-AF65-F5344CB8AC3E}">
        <p14:creationId xmlns:p14="http://schemas.microsoft.com/office/powerpoint/2010/main" val="2749778074"/>
      </p:ext>
    </p:extLst>
  </p:cSld>
  <p:clrMapOvr>
    <a:masterClrMapping/>
  </p:clrMapOvr>
  <p:transition spd="med">
    <p:wipe dir="r"/>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75BBCD-0354-47E7-94C3-A29794FCA18F}"/>
              </a:ext>
            </a:extLst>
          </p:cNvPr>
          <p:cNvSpPr>
            <a:spLocks noGrp="1"/>
          </p:cNvSpPr>
          <p:nvPr>
            <p:ph type="title"/>
          </p:nvPr>
        </p:nvSpPr>
        <p:spPr>
          <a:xfrm>
            <a:off x="0" y="0"/>
            <a:ext cx="8229600" cy="637794"/>
          </a:xfrm>
        </p:spPr>
        <p:txBody>
          <a:bodyPr/>
          <a:lstStyle/>
          <a:p>
            <a:r>
              <a:rPr lang="en-US" dirty="0"/>
              <a:t>Standard deviation - Example</a:t>
            </a:r>
          </a:p>
        </p:txBody>
      </p:sp>
      <p:sp>
        <p:nvSpPr>
          <p:cNvPr id="3" name="TextBox 2">
            <a:extLst>
              <a:ext uri="{FF2B5EF4-FFF2-40B4-BE49-F238E27FC236}">
                <a16:creationId xmlns:a16="http://schemas.microsoft.com/office/drawing/2014/main" id="{6AFC26AC-E651-4FD1-B690-D878A0FD673F}"/>
              </a:ext>
            </a:extLst>
          </p:cNvPr>
          <p:cNvSpPr txBox="1"/>
          <p:nvPr/>
        </p:nvSpPr>
        <p:spPr>
          <a:xfrm>
            <a:off x="76781" y="637793"/>
            <a:ext cx="7817772" cy="584775"/>
          </a:xfrm>
          <a:prstGeom prst="rect">
            <a:avLst/>
          </a:prstGeom>
          <a:noFill/>
        </p:spPr>
        <p:txBody>
          <a:bodyPr wrap="square" rtlCol="0">
            <a:spAutoFit/>
          </a:bodyPr>
          <a:lstStyle/>
          <a:p>
            <a:pPr>
              <a:spcBef>
                <a:spcPts val="0"/>
              </a:spcBef>
              <a:spcAft>
                <a:spcPts val="0"/>
              </a:spcAft>
              <a:buClr>
                <a:schemeClr val="bg1"/>
              </a:buClr>
            </a:pPr>
            <a:r>
              <a:rPr lang="en-US" sz="1600" b="1" dirty="0">
                <a:solidFill>
                  <a:schemeClr val="bg2">
                    <a:lumMod val="50000"/>
                    <a:lumOff val="50000"/>
                  </a:schemeClr>
                </a:solidFill>
                <a:latin typeface="+mn-lt"/>
              </a:rPr>
              <a:t>Question : </a:t>
            </a:r>
            <a:r>
              <a:rPr lang="en-US" sz="1600" dirty="0">
                <a:solidFill>
                  <a:schemeClr val="bg2">
                    <a:lumMod val="50000"/>
                    <a:lumOff val="50000"/>
                  </a:schemeClr>
                </a:solidFill>
                <a:latin typeface="+mn-lt"/>
              </a:rPr>
              <a:t>95% of student at school are between 1.1m and 1.7m tall. Assuming this data is normally distributed can you calculate the mean and Standard deviation ? </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555369D5-D862-45EA-BCC1-C0EE5BDB6819}"/>
                  </a:ext>
                </a:extLst>
              </p14:cNvPr>
              <p14:cNvContentPartPr/>
              <p14:nvPr/>
            </p14:nvContentPartPr>
            <p14:xfrm>
              <a:off x="1138320" y="547560"/>
              <a:ext cx="7458480" cy="4120200"/>
            </p14:xfrm>
          </p:contentPart>
        </mc:Choice>
        <mc:Fallback>
          <p:pic>
            <p:nvPicPr>
              <p:cNvPr id="4" name="Ink 3">
                <a:extLst>
                  <a:ext uri="{FF2B5EF4-FFF2-40B4-BE49-F238E27FC236}">
                    <a16:creationId xmlns:a16="http://schemas.microsoft.com/office/drawing/2014/main" id="{555369D5-D862-45EA-BCC1-C0EE5BDB6819}"/>
                  </a:ext>
                </a:extLst>
              </p:cNvPr>
              <p:cNvPicPr/>
              <p:nvPr/>
            </p:nvPicPr>
            <p:blipFill>
              <a:blip r:embed="rId3"/>
              <a:stretch>
                <a:fillRect/>
              </a:stretch>
            </p:blipFill>
            <p:spPr>
              <a:xfrm>
                <a:off x="1128960" y="538200"/>
                <a:ext cx="7477200" cy="4138920"/>
              </a:xfrm>
              <a:prstGeom prst="rect">
                <a:avLst/>
              </a:prstGeom>
            </p:spPr>
          </p:pic>
        </mc:Fallback>
      </mc:AlternateContent>
    </p:spTree>
    <p:extLst>
      <p:ext uri="{BB962C8B-B14F-4D97-AF65-F5344CB8AC3E}">
        <p14:creationId xmlns:p14="http://schemas.microsoft.com/office/powerpoint/2010/main" val="3141678141"/>
      </p:ext>
    </p:extLst>
  </p:cSld>
  <p:clrMapOvr>
    <a:masterClrMapping/>
  </p:clrMapOvr>
  <p:transition spd="med">
    <p:wipe dir="r"/>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D35B5-573E-45F2-AA11-938D7EC027C1}"/>
              </a:ext>
            </a:extLst>
          </p:cNvPr>
          <p:cNvSpPr>
            <a:spLocks noGrp="1"/>
          </p:cNvSpPr>
          <p:nvPr>
            <p:ph type="title"/>
          </p:nvPr>
        </p:nvSpPr>
        <p:spPr>
          <a:xfrm>
            <a:off x="0" y="0"/>
            <a:ext cx="8229600" cy="637794"/>
          </a:xfrm>
        </p:spPr>
        <p:txBody>
          <a:bodyPr/>
          <a:lstStyle/>
          <a:p>
            <a:r>
              <a:rPr lang="en-US" dirty="0"/>
              <a:t>Standard Scores – Z score</a:t>
            </a:r>
          </a:p>
        </p:txBody>
      </p:sp>
      <p:sp>
        <p:nvSpPr>
          <p:cNvPr id="3" name="TextBox 2">
            <a:extLst>
              <a:ext uri="{FF2B5EF4-FFF2-40B4-BE49-F238E27FC236}">
                <a16:creationId xmlns:a16="http://schemas.microsoft.com/office/drawing/2014/main" id="{D9CF5642-1192-46E0-B3A4-1166F1C7D7CE}"/>
              </a:ext>
            </a:extLst>
          </p:cNvPr>
          <p:cNvSpPr txBox="1"/>
          <p:nvPr/>
        </p:nvSpPr>
        <p:spPr>
          <a:xfrm>
            <a:off x="328067" y="935340"/>
            <a:ext cx="7412922" cy="2246769"/>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The number of Standard Deviations from the mean is also called the “standard Score”. “ Sigma” or “z-score”. </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Ex : In the same school one of your friend is 1.8m tall</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You can see on the bell curve that 1.85m is 3 standard deviations from the mean of 1.4, so</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Your friend’s height has “z-score” of 3.0</a:t>
            </a:r>
          </a:p>
          <a:p>
            <a:pPr>
              <a:spcBef>
                <a:spcPts val="0"/>
              </a:spcBef>
              <a:spcAft>
                <a:spcPts val="0"/>
              </a:spcAft>
              <a:buClr>
                <a:schemeClr val="bg1"/>
              </a:buClr>
            </a:pPr>
            <a:endParaRPr lang="en-US" sz="1400" dirty="0">
              <a:solidFill>
                <a:schemeClr val="bg2"/>
              </a:solidFill>
              <a:latin typeface="+mn-lt"/>
            </a:endParaRPr>
          </a:p>
        </p:txBody>
      </p:sp>
      <p:pic>
        <p:nvPicPr>
          <p:cNvPr id="7" name="Picture 6">
            <a:extLst>
              <a:ext uri="{FF2B5EF4-FFF2-40B4-BE49-F238E27FC236}">
                <a16:creationId xmlns:a16="http://schemas.microsoft.com/office/drawing/2014/main" id="{FFC91F7C-8051-454D-8388-96BF6F8C1ED9}"/>
              </a:ext>
            </a:extLst>
          </p:cNvPr>
          <p:cNvPicPr>
            <a:picLocks noChangeAspect="1"/>
          </p:cNvPicPr>
          <p:nvPr/>
        </p:nvPicPr>
        <p:blipFill>
          <a:blip r:embed="rId2"/>
          <a:stretch>
            <a:fillRect/>
          </a:stretch>
        </p:blipFill>
        <p:spPr>
          <a:xfrm>
            <a:off x="4955257" y="2664340"/>
            <a:ext cx="3714750" cy="2095500"/>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50564970-059E-49E7-9D1A-73E5750ACF85}"/>
                  </a:ext>
                </a:extLst>
              </p14:cNvPr>
              <p14:cNvContentPartPr/>
              <p14:nvPr/>
            </p14:nvContentPartPr>
            <p14:xfrm>
              <a:off x="2119320" y="109440"/>
              <a:ext cx="6672600" cy="4810680"/>
            </p14:xfrm>
          </p:contentPart>
        </mc:Choice>
        <mc:Fallback>
          <p:pic>
            <p:nvPicPr>
              <p:cNvPr id="4" name="Ink 3">
                <a:extLst>
                  <a:ext uri="{FF2B5EF4-FFF2-40B4-BE49-F238E27FC236}">
                    <a16:creationId xmlns:a16="http://schemas.microsoft.com/office/drawing/2014/main" id="{50564970-059E-49E7-9D1A-73E5750ACF85}"/>
                  </a:ext>
                </a:extLst>
              </p:cNvPr>
              <p:cNvPicPr/>
              <p:nvPr/>
            </p:nvPicPr>
            <p:blipFill>
              <a:blip r:embed="rId4"/>
              <a:stretch>
                <a:fillRect/>
              </a:stretch>
            </p:blipFill>
            <p:spPr>
              <a:xfrm>
                <a:off x="2109960" y="100080"/>
                <a:ext cx="6691320" cy="4829400"/>
              </a:xfrm>
              <a:prstGeom prst="rect">
                <a:avLst/>
              </a:prstGeom>
            </p:spPr>
          </p:pic>
        </mc:Fallback>
      </mc:AlternateContent>
    </p:spTree>
    <p:extLst>
      <p:ext uri="{BB962C8B-B14F-4D97-AF65-F5344CB8AC3E}">
        <p14:creationId xmlns:p14="http://schemas.microsoft.com/office/powerpoint/2010/main" val="4159058822"/>
      </p:ext>
    </p:extLst>
  </p:cSld>
  <p:clrMapOvr>
    <a:masterClrMapping/>
  </p:clrMapOvr>
  <p:transition spd="med">
    <p:wipe dir="r"/>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7C354-71C7-4691-9AF7-C0B53DAD6904}"/>
              </a:ext>
            </a:extLst>
          </p:cNvPr>
          <p:cNvSpPr>
            <a:spLocks noGrp="1"/>
          </p:cNvSpPr>
          <p:nvPr>
            <p:ph type="title"/>
          </p:nvPr>
        </p:nvSpPr>
        <p:spPr>
          <a:xfrm>
            <a:off x="0" y="0"/>
            <a:ext cx="8229600" cy="637794"/>
          </a:xfrm>
        </p:spPr>
        <p:txBody>
          <a:bodyPr/>
          <a:lstStyle/>
          <a:p>
            <a:r>
              <a:rPr lang="en-US" dirty="0"/>
              <a:t>Standard Scores – Z score</a:t>
            </a:r>
          </a:p>
        </p:txBody>
      </p:sp>
      <p:sp>
        <p:nvSpPr>
          <p:cNvPr id="3" name="TextBox 2">
            <a:extLst>
              <a:ext uri="{FF2B5EF4-FFF2-40B4-BE49-F238E27FC236}">
                <a16:creationId xmlns:a16="http://schemas.microsoft.com/office/drawing/2014/main" id="{02017ADE-8590-473B-AC66-8F77B39B00FF}"/>
              </a:ext>
            </a:extLst>
          </p:cNvPr>
          <p:cNvSpPr txBox="1"/>
          <p:nvPr/>
        </p:nvSpPr>
        <p:spPr>
          <a:xfrm>
            <a:off x="209405" y="893460"/>
            <a:ext cx="5137392" cy="1384995"/>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It is also possible to calculate how many standard deviations 1.85 is from the mean</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How far is 1.85 from the mean ? </a:t>
            </a:r>
          </a:p>
          <a:p>
            <a:pPr marL="742950" lvl="1"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It is 1.85 – 1.4 = 0.45m from the mean</a:t>
            </a:r>
          </a:p>
          <a:p>
            <a:pPr lvl="1">
              <a:spcBef>
                <a:spcPts val="0"/>
              </a:spcBef>
              <a:spcAft>
                <a:spcPts val="0"/>
              </a:spcAft>
              <a:buClr>
                <a:schemeClr val="bg1"/>
              </a:buClr>
            </a:pPr>
            <a:endParaRPr lang="en-US" sz="1400" dirty="0">
              <a:solidFill>
                <a:schemeClr val="bg2"/>
              </a:solidFill>
              <a:latin typeface="+mn-lt"/>
            </a:endParaRPr>
          </a:p>
        </p:txBody>
      </p:sp>
      <p:sp>
        <p:nvSpPr>
          <p:cNvPr id="4" name="TextBox 3">
            <a:extLst>
              <a:ext uri="{FF2B5EF4-FFF2-40B4-BE49-F238E27FC236}">
                <a16:creationId xmlns:a16="http://schemas.microsoft.com/office/drawing/2014/main" id="{1C340921-A93E-418E-8C7D-652A415018A5}"/>
              </a:ext>
            </a:extLst>
          </p:cNvPr>
          <p:cNvSpPr txBox="1"/>
          <p:nvPr/>
        </p:nvSpPr>
        <p:spPr>
          <a:xfrm>
            <a:off x="209405" y="2429093"/>
            <a:ext cx="3357453" cy="954107"/>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How many standard deviation is that ? The SD is 0.15m so it is </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endParaRPr lang="en-US" sz="1400" dirty="0" err="1">
              <a:solidFill>
                <a:schemeClr val="bg2"/>
              </a:solidFill>
              <a:latin typeface="+mn-lt"/>
            </a:endParaRPr>
          </a:p>
        </p:txBody>
      </p:sp>
      <p:pic>
        <p:nvPicPr>
          <p:cNvPr id="6" name="Picture 5">
            <a:extLst>
              <a:ext uri="{FF2B5EF4-FFF2-40B4-BE49-F238E27FC236}">
                <a16:creationId xmlns:a16="http://schemas.microsoft.com/office/drawing/2014/main" id="{D95996C3-DB60-464B-ADA7-6360632584BC}"/>
              </a:ext>
            </a:extLst>
          </p:cNvPr>
          <p:cNvPicPr>
            <a:picLocks noChangeAspect="1"/>
          </p:cNvPicPr>
          <p:nvPr/>
        </p:nvPicPr>
        <p:blipFill>
          <a:blip r:embed="rId2"/>
          <a:stretch>
            <a:fillRect/>
          </a:stretch>
        </p:blipFill>
        <p:spPr>
          <a:xfrm>
            <a:off x="4759809" y="1585957"/>
            <a:ext cx="3714750" cy="2095500"/>
          </a:xfrm>
          <a:prstGeom prst="rect">
            <a:avLst/>
          </a:prstGeom>
        </p:spPr>
      </p:pic>
      <p:pic>
        <p:nvPicPr>
          <p:cNvPr id="7" name="Picture 6">
            <a:extLst>
              <a:ext uri="{FF2B5EF4-FFF2-40B4-BE49-F238E27FC236}">
                <a16:creationId xmlns:a16="http://schemas.microsoft.com/office/drawing/2014/main" id="{0B67CD34-7C4A-4AE7-9950-691B1C0CD442}"/>
              </a:ext>
            </a:extLst>
          </p:cNvPr>
          <p:cNvPicPr>
            <a:picLocks noChangeAspect="1"/>
          </p:cNvPicPr>
          <p:nvPr/>
        </p:nvPicPr>
        <p:blipFill>
          <a:blip r:embed="rId3"/>
          <a:stretch>
            <a:fillRect/>
          </a:stretch>
        </p:blipFill>
        <p:spPr>
          <a:xfrm>
            <a:off x="537581" y="2977872"/>
            <a:ext cx="1716681" cy="810655"/>
          </a:xfrm>
          <a:prstGeom prst="rect">
            <a:avLst/>
          </a:prstGeom>
        </p:spPr>
      </p:pic>
      <p:sp>
        <p:nvSpPr>
          <p:cNvPr id="8" name="TextBox 7">
            <a:extLst>
              <a:ext uri="{FF2B5EF4-FFF2-40B4-BE49-F238E27FC236}">
                <a16:creationId xmlns:a16="http://schemas.microsoft.com/office/drawing/2014/main" id="{D4454898-1E55-476F-BF21-5748303D9A9E}"/>
              </a:ext>
            </a:extLst>
          </p:cNvPr>
          <p:cNvSpPr txBox="1"/>
          <p:nvPr/>
        </p:nvSpPr>
        <p:spPr>
          <a:xfrm>
            <a:off x="1305288" y="3931979"/>
            <a:ext cx="2945625"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Z is “z score” (standard Score)</a:t>
            </a:r>
          </a:p>
          <a:p>
            <a:pPr>
              <a:spcBef>
                <a:spcPts val="0"/>
              </a:spcBef>
              <a:spcAft>
                <a:spcPts val="0"/>
              </a:spcAft>
              <a:buClr>
                <a:schemeClr val="bg1"/>
              </a:buClr>
            </a:pPr>
            <a:r>
              <a:rPr lang="en-US" sz="1400" dirty="0">
                <a:solidFill>
                  <a:schemeClr val="bg2"/>
                </a:solidFill>
                <a:latin typeface="+mn-lt"/>
              </a:rPr>
              <a:t>X is the Value to be standardized </a:t>
            </a:r>
          </a:p>
          <a:p>
            <a:pPr>
              <a:spcBef>
                <a:spcPts val="0"/>
              </a:spcBef>
              <a:spcAft>
                <a:spcPts val="0"/>
              </a:spcAft>
              <a:buClr>
                <a:schemeClr val="bg1"/>
              </a:buClr>
            </a:pPr>
            <a:r>
              <a:rPr lang="en-US" sz="1400" dirty="0">
                <a:solidFill>
                  <a:schemeClr val="bg2"/>
                </a:solidFill>
                <a:latin typeface="+mn-lt"/>
              </a:rPr>
              <a:t>µ is the mean</a:t>
            </a:r>
          </a:p>
          <a:p>
            <a:pPr>
              <a:spcBef>
                <a:spcPts val="0"/>
              </a:spcBef>
              <a:spcAft>
                <a:spcPts val="0"/>
              </a:spcAft>
              <a:buClr>
                <a:schemeClr val="bg1"/>
              </a:buClr>
            </a:pPr>
            <a:r>
              <a:rPr lang="en-US" sz="1400" dirty="0">
                <a:solidFill>
                  <a:schemeClr val="bg2"/>
                </a:solidFill>
                <a:latin typeface="+mn-lt"/>
              </a:rPr>
              <a:t>σ is the SD</a:t>
            </a:r>
          </a:p>
        </p:txBody>
      </p:sp>
    </p:spTree>
    <p:extLst>
      <p:ext uri="{BB962C8B-B14F-4D97-AF65-F5344CB8AC3E}">
        <p14:creationId xmlns:p14="http://schemas.microsoft.com/office/powerpoint/2010/main" val="2272793103"/>
      </p:ext>
    </p:extLst>
  </p:cSld>
  <p:clrMapOvr>
    <a:masterClrMapping/>
  </p:clrMapOvr>
  <p:transition spd="med">
    <p:wipe dir="r"/>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395229-5250-4E90-BFE7-38424398256E}"/>
              </a:ext>
            </a:extLst>
          </p:cNvPr>
          <p:cNvSpPr>
            <a:spLocks noGrp="1"/>
          </p:cNvSpPr>
          <p:nvPr>
            <p:ph type="title"/>
          </p:nvPr>
        </p:nvSpPr>
        <p:spPr>
          <a:xfrm>
            <a:off x="0" y="0"/>
            <a:ext cx="8229600" cy="637794"/>
          </a:xfrm>
        </p:spPr>
        <p:txBody>
          <a:bodyPr/>
          <a:lstStyle/>
          <a:p>
            <a:r>
              <a:rPr lang="en-US" dirty="0"/>
              <a:t>Histograms</a:t>
            </a:r>
          </a:p>
        </p:txBody>
      </p:sp>
      <p:sp>
        <p:nvSpPr>
          <p:cNvPr id="3" name="TextBox 2">
            <a:extLst>
              <a:ext uri="{FF2B5EF4-FFF2-40B4-BE49-F238E27FC236}">
                <a16:creationId xmlns:a16="http://schemas.microsoft.com/office/drawing/2014/main" id="{02CA0D85-203F-4043-BAA0-B836164FA90E}"/>
              </a:ext>
            </a:extLst>
          </p:cNvPr>
          <p:cNvSpPr txBox="1"/>
          <p:nvPr/>
        </p:nvSpPr>
        <p:spPr>
          <a:xfrm>
            <a:off x="97722" y="567762"/>
            <a:ext cx="6875451" cy="3985706"/>
          </a:xfrm>
          <a:prstGeom prst="rect">
            <a:avLst/>
          </a:prstGeom>
          <a:noFill/>
        </p:spPr>
        <p:txBody>
          <a:bodyPr wrap="square" rtlCol="0">
            <a:spAutoFit/>
          </a:bodyPr>
          <a:lstStyle/>
          <a:p>
            <a:pPr algn="l"/>
            <a:r>
              <a:rPr lang="en-US" sz="1100" b="0" i="0" dirty="0">
                <a:solidFill>
                  <a:schemeClr val="bg2">
                    <a:lumMod val="50000"/>
                    <a:lumOff val="50000"/>
                  </a:schemeClr>
                </a:solidFill>
                <a:effectLst/>
                <a:latin typeface="Verdana" panose="020B0604030504040204" pitchFamily="34" charset="0"/>
              </a:rPr>
              <a:t>It is like a </a:t>
            </a:r>
            <a:r>
              <a:rPr lang="en-US" sz="1100" b="0" i="0" dirty="0">
                <a:solidFill>
                  <a:schemeClr val="bg2">
                    <a:lumMod val="50000"/>
                    <a:lumOff val="50000"/>
                  </a:schemeClr>
                </a:solidFill>
                <a:effectLst/>
                <a:latin typeface="Verdana" panose="020B0604030504040204" pitchFamily="34" charset="0"/>
                <a:hlinkClick r:id="rId2">
                  <a:extLst>
                    <a:ext uri="{A12FA001-AC4F-418D-AE19-62706E023703}">
                      <ahyp:hlinkClr xmlns:ahyp="http://schemas.microsoft.com/office/drawing/2018/hyperlinkcolor" val="tx"/>
                    </a:ext>
                  </a:extLst>
                </a:hlinkClick>
              </a:rPr>
              <a:t>Bar Chart</a:t>
            </a:r>
            <a:r>
              <a:rPr lang="en-US" sz="1100" b="0" i="0" dirty="0">
                <a:solidFill>
                  <a:schemeClr val="bg2">
                    <a:lumMod val="50000"/>
                    <a:lumOff val="50000"/>
                  </a:schemeClr>
                </a:solidFill>
                <a:effectLst/>
                <a:latin typeface="Verdana" panose="020B0604030504040204" pitchFamily="34" charset="0"/>
              </a:rPr>
              <a:t>, but a histogram groups numbers into </a:t>
            </a:r>
            <a:r>
              <a:rPr lang="en-US" sz="1100" b="1" i="0" dirty="0">
                <a:solidFill>
                  <a:schemeClr val="bg2">
                    <a:lumMod val="50000"/>
                    <a:lumOff val="50000"/>
                  </a:schemeClr>
                </a:solidFill>
                <a:effectLst/>
                <a:latin typeface="Verdana" panose="020B0604030504040204" pitchFamily="34" charset="0"/>
              </a:rPr>
              <a:t>ranges </a:t>
            </a:r>
            <a:r>
              <a:rPr lang="en-US" sz="1100" b="0" i="0" dirty="0">
                <a:solidFill>
                  <a:schemeClr val="bg2">
                    <a:lumMod val="50000"/>
                    <a:lumOff val="50000"/>
                  </a:schemeClr>
                </a:solidFill>
                <a:effectLst/>
                <a:latin typeface="Verdana" panose="020B0604030504040204" pitchFamily="34" charset="0"/>
              </a:rPr>
              <a:t>.</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The height of each bar shows how many fall into each range.</a:t>
            </a:r>
          </a:p>
          <a:p>
            <a:pPr algn="l"/>
            <a:r>
              <a:rPr lang="en-US" sz="1100" b="0" i="0" dirty="0">
                <a:solidFill>
                  <a:schemeClr val="bg2">
                    <a:lumMod val="50000"/>
                    <a:lumOff val="50000"/>
                  </a:schemeClr>
                </a:solidFill>
                <a:effectLst/>
                <a:latin typeface="Verdana" panose="020B0604030504040204" pitchFamily="34" charset="0"/>
              </a:rPr>
              <a:t>And you decide what ranges to use!</a:t>
            </a:r>
          </a:p>
          <a:p>
            <a:pPr algn="l"/>
            <a:endParaRPr lang="en-US" sz="1100" b="1" dirty="0">
              <a:solidFill>
                <a:schemeClr val="bg2">
                  <a:lumMod val="50000"/>
                  <a:lumOff val="50000"/>
                </a:schemeClr>
              </a:solidFill>
              <a:latin typeface="Verdana" panose="020B0604030504040204" pitchFamily="34" charset="0"/>
            </a:endParaRPr>
          </a:p>
          <a:p>
            <a:pPr algn="l"/>
            <a:endParaRPr lang="en-US" sz="1100" b="1" i="0" dirty="0">
              <a:solidFill>
                <a:schemeClr val="bg2">
                  <a:lumMod val="50000"/>
                  <a:lumOff val="50000"/>
                </a:schemeClr>
              </a:solidFill>
              <a:effectLst/>
              <a:latin typeface="Verdana" panose="020B0604030504040204" pitchFamily="34" charset="0"/>
            </a:endParaRPr>
          </a:p>
          <a:p>
            <a:pPr algn="l"/>
            <a:r>
              <a:rPr lang="en-US" sz="1100" b="1" i="0" dirty="0">
                <a:solidFill>
                  <a:schemeClr val="bg2">
                    <a:lumMod val="50000"/>
                    <a:lumOff val="50000"/>
                  </a:schemeClr>
                </a:solidFill>
                <a:effectLst/>
                <a:latin typeface="Verdana" panose="020B0604030504040204" pitchFamily="34" charset="0"/>
              </a:rPr>
              <a:t>Ex: </a:t>
            </a:r>
          </a:p>
          <a:p>
            <a:pPr algn="l"/>
            <a:endParaRPr lang="en-US" sz="1100" b="1" dirty="0">
              <a:solidFill>
                <a:schemeClr val="bg2">
                  <a:lumMod val="50000"/>
                  <a:lumOff val="50000"/>
                </a:schemeClr>
              </a:solidFill>
              <a:latin typeface="Verdana" panose="020B0604030504040204" pitchFamily="34" charset="0"/>
            </a:endParaRPr>
          </a:p>
          <a:p>
            <a:pPr algn="l"/>
            <a:r>
              <a:rPr lang="en-US" sz="1400" b="0" i="0" dirty="0">
                <a:solidFill>
                  <a:schemeClr val="bg2">
                    <a:lumMod val="50000"/>
                    <a:lumOff val="50000"/>
                  </a:schemeClr>
                </a:solidFill>
                <a:effectLst/>
                <a:latin typeface="Verdana" panose="020B0604030504040204" pitchFamily="34" charset="0"/>
              </a:rPr>
              <a:t>The heights vary from 100 cm to 340 cm</a:t>
            </a:r>
          </a:p>
          <a:p>
            <a:pPr algn="l"/>
            <a:r>
              <a:rPr lang="en-US" sz="1400" b="0" i="0" dirty="0">
                <a:solidFill>
                  <a:schemeClr val="bg2">
                    <a:lumMod val="50000"/>
                    <a:lumOff val="50000"/>
                  </a:schemeClr>
                </a:solidFill>
                <a:effectLst/>
                <a:latin typeface="Verdana" panose="020B0604030504040204" pitchFamily="34" charset="0"/>
              </a:rPr>
              <a:t>You decide to put the results into groups of 50 cm:</a:t>
            </a:r>
          </a:p>
          <a:p>
            <a:pPr algn="l"/>
            <a:endParaRPr lang="en-US" sz="1400" b="0" i="0" dirty="0">
              <a:solidFill>
                <a:schemeClr val="bg2">
                  <a:lumMod val="50000"/>
                  <a:lumOff val="50000"/>
                </a:schemeClr>
              </a:solidFill>
              <a:effectLst/>
              <a:latin typeface="Verdana" panose="020B0604030504040204" pitchFamily="34" charset="0"/>
            </a:endParaRPr>
          </a:p>
          <a:p>
            <a:pPr marL="171450" indent="-171450" algn="l">
              <a:buFont typeface="Arial" panose="020B0604020202020204" pitchFamily="34" charset="0"/>
              <a:buChar char="•"/>
            </a:pPr>
            <a:r>
              <a:rPr lang="en-US" sz="1400" b="0" i="0" dirty="0">
                <a:solidFill>
                  <a:schemeClr val="bg2">
                    <a:lumMod val="50000"/>
                    <a:lumOff val="50000"/>
                  </a:schemeClr>
                </a:solidFill>
                <a:effectLst/>
                <a:latin typeface="Verdana" panose="020B0604030504040204" pitchFamily="34" charset="0"/>
              </a:rPr>
              <a:t>The </a:t>
            </a:r>
            <a:r>
              <a:rPr lang="en-US" sz="1400" b="1" i="0" dirty="0">
                <a:solidFill>
                  <a:schemeClr val="bg2">
                    <a:lumMod val="50000"/>
                    <a:lumOff val="50000"/>
                  </a:schemeClr>
                </a:solidFill>
                <a:effectLst/>
                <a:latin typeface="Verdana" panose="020B0604030504040204" pitchFamily="34" charset="0"/>
              </a:rPr>
              <a:t>100 to just below 150 cm</a:t>
            </a:r>
            <a:r>
              <a:rPr lang="en-US" sz="1400" b="0" i="0" dirty="0">
                <a:solidFill>
                  <a:schemeClr val="bg2">
                    <a:lumMod val="50000"/>
                    <a:lumOff val="50000"/>
                  </a:schemeClr>
                </a:solidFill>
                <a:effectLst/>
                <a:latin typeface="Verdana" panose="020B0604030504040204" pitchFamily="34" charset="0"/>
              </a:rPr>
              <a:t> range,</a:t>
            </a:r>
          </a:p>
          <a:p>
            <a:pPr marL="171450" indent="-171450" algn="l">
              <a:buFont typeface="Arial" panose="020B0604020202020204" pitchFamily="34" charset="0"/>
              <a:buChar char="•"/>
            </a:pPr>
            <a:r>
              <a:rPr lang="en-US" sz="1400" b="0" i="0" dirty="0">
                <a:solidFill>
                  <a:schemeClr val="bg2">
                    <a:lumMod val="50000"/>
                    <a:lumOff val="50000"/>
                  </a:schemeClr>
                </a:solidFill>
                <a:effectLst/>
                <a:latin typeface="Verdana" panose="020B0604030504040204" pitchFamily="34" charset="0"/>
              </a:rPr>
              <a:t>The </a:t>
            </a:r>
            <a:r>
              <a:rPr lang="en-US" sz="1400" b="1" i="0" dirty="0">
                <a:solidFill>
                  <a:schemeClr val="bg2">
                    <a:lumMod val="50000"/>
                    <a:lumOff val="50000"/>
                  </a:schemeClr>
                </a:solidFill>
                <a:effectLst/>
                <a:latin typeface="Verdana" panose="020B0604030504040204" pitchFamily="34" charset="0"/>
              </a:rPr>
              <a:t>150 to just below 200 cm</a:t>
            </a:r>
            <a:r>
              <a:rPr lang="en-US" sz="1400" b="0" i="0" dirty="0">
                <a:solidFill>
                  <a:schemeClr val="bg2">
                    <a:lumMod val="50000"/>
                    <a:lumOff val="50000"/>
                  </a:schemeClr>
                </a:solidFill>
                <a:effectLst/>
                <a:latin typeface="Verdana" panose="020B0604030504040204" pitchFamily="34" charset="0"/>
              </a:rPr>
              <a:t> range,</a:t>
            </a:r>
          </a:p>
          <a:p>
            <a:pPr marL="171450" indent="-171450" algn="l">
              <a:buFont typeface="Arial" panose="020B0604020202020204" pitchFamily="34" charset="0"/>
              <a:buChar char="•"/>
            </a:pPr>
            <a:r>
              <a:rPr lang="en-US" sz="1400" b="0" i="0" dirty="0">
                <a:solidFill>
                  <a:schemeClr val="bg2">
                    <a:lumMod val="50000"/>
                    <a:lumOff val="50000"/>
                  </a:schemeClr>
                </a:solidFill>
                <a:effectLst/>
                <a:latin typeface="Verdana" panose="020B0604030504040204" pitchFamily="34" charset="0"/>
              </a:rPr>
              <a:t>etc...</a:t>
            </a:r>
          </a:p>
          <a:p>
            <a:pPr algn="l">
              <a:buFont typeface="Arial" panose="020B0604020202020204" pitchFamily="34" charset="0"/>
              <a:buChar char="•"/>
            </a:pPr>
            <a:endParaRPr lang="en-US" sz="1400" b="0" i="0" dirty="0">
              <a:solidFill>
                <a:schemeClr val="bg2">
                  <a:lumMod val="50000"/>
                  <a:lumOff val="50000"/>
                </a:schemeClr>
              </a:solidFill>
              <a:effectLst/>
              <a:latin typeface="Verdana" panose="020B0604030504040204" pitchFamily="34" charset="0"/>
            </a:endParaRPr>
          </a:p>
          <a:p>
            <a:pPr algn="l"/>
            <a:r>
              <a:rPr lang="en-US" sz="1400" b="0" i="0" dirty="0">
                <a:solidFill>
                  <a:schemeClr val="bg2">
                    <a:lumMod val="50000"/>
                    <a:lumOff val="50000"/>
                  </a:schemeClr>
                </a:solidFill>
                <a:effectLst/>
                <a:latin typeface="Verdana" panose="020B0604030504040204" pitchFamily="34" charset="0"/>
              </a:rPr>
              <a:t>So, a tree that is 260 cm tall is added to the "250-300" range.</a:t>
            </a:r>
          </a:p>
          <a:p>
            <a:pPr algn="l"/>
            <a:r>
              <a:rPr lang="en-US" sz="1400" b="0" i="0" dirty="0">
                <a:solidFill>
                  <a:schemeClr val="bg2">
                    <a:lumMod val="50000"/>
                    <a:lumOff val="50000"/>
                  </a:schemeClr>
                </a:solidFill>
                <a:effectLst/>
                <a:latin typeface="Verdana" panose="020B0604030504040204" pitchFamily="34" charset="0"/>
              </a:rPr>
              <a:t>And here is the result: </a:t>
            </a:r>
            <a:r>
              <a:rPr lang="en-US" sz="1400" dirty="0">
                <a:solidFill>
                  <a:schemeClr val="bg2">
                    <a:lumMod val="50000"/>
                    <a:lumOff val="50000"/>
                  </a:schemeClr>
                </a:solidFill>
                <a:latin typeface="Verdana" panose="020B0604030504040204" pitchFamily="34" charset="0"/>
              </a:rPr>
              <a:t>You can see (for example) that there are </a:t>
            </a:r>
            <a:r>
              <a:rPr lang="en-US" sz="1400" b="1" dirty="0">
                <a:solidFill>
                  <a:schemeClr val="bg2">
                    <a:lumMod val="50000"/>
                    <a:lumOff val="50000"/>
                  </a:schemeClr>
                </a:solidFill>
                <a:latin typeface="Verdana" panose="020B0604030504040204" pitchFamily="34" charset="0"/>
              </a:rPr>
              <a:t>30 trees </a:t>
            </a:r>
            <a:r>
              <a:rPr lang="en-US" sz="1400" dirty="0">
                <a:solidFill>
                  <a:schemeClr val="bg2">
                    <a:lumMod val="50000"/>
                    <a:lumOff val="50000"/>
                  </a:schemeClr>
                </a:solidFill>
                <a:latin typeface="Verdana" panose="020B0604030504040204" pitchFamily="34" charset="0"/>
              </a:rPr>
              <a:t>from 150 cm to just below 200 cm tall</a:t>
            </a:r>
          </a:p>
          <a:p>
            <a:pPr algn="l"/>
            <a:endParaRPr lang="en-US" sz="1100" b="1" i="0" dirty="0">
              <a:solidFill>
                <a:schemeClr val="bg2">
                  <a:lumMod val="50000"/>
                  <a:lumOff val="50000"/>
                </a:schemeClr>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4AB5BAB6-917D-48BD-A220-866ABDB030B4}"/>
              </a:ext>
            </a:extLst>
          </p:cNvPr>
          <p:cNvPicPr>
            <a:picLocks noChangeAspect="1"/>
          </p:cNvPicPr>
          <p:nvPr/>
        </p:nvPicPr>
        <p:blipFill>
          <a:blip r:embed="rId3"/>
          <a:stretch>
            <a:fillRect/>
          </a:stretch>
        </p:blipFill>
        <p:spPr>
          <a:xfrm>
            <a:off x="7189475" y="0"/>
            <a:ext cx="1644959" cy="1472812"/>
          </a:xfrm>
          <a:prstGeom prst="rect">
            <a:avLst/>
          </a:prstGeom>
        </p:spPr>
      </p:pic>
      <p:sp>
        <p:nvSpPr>
          <p:cNvPr id="6" name="TextBox 5">
            <a:extLst>
              <a:ext uri="{FF2B5EF4-FFF2-40B4-BE49-F238E27FC236}">
                <a16:creationId xmlns:a16="http://schemas.microsoft.com/office/drawing/2014/main" id="{B2C1368F-05C5-41F3-8C92-C3184D2F0C42}"/>
              </a:ext>
            </a:extLst>
          </p:cNvPr>
          <p:cNvSpPr txBox="1"/>
          <p:nvPr/>
        </p:nvSpPr>
        <p:spPr>
          <a:xfrm>
            <a:off x="97722" y="4167151"/>
            <a:ext cx="7824751" cy="276999"/>
          </a:xfrm>
          <a:prstGeom prst="rect">
            <a:avLst/>
          </a:prstGeom>
          <a:noFill/>
        </p:spPr>
        <p:txBody>
          <a:bodyPr wrap="square" rtlCol="0">
            <a:spAutoFit/>
          </a:bodyPr>
          <a:lstStyle/>
          <a:p>
            <a:pPr>
              <a:spcBef>
                <a:spcPts val="0"/>
              </a:spcBef>
              <a:spcAft>
                <a:spcPts val="0"/>
              </a:spcAft>
              <a:buClr>
                <a:schemeClr val="bg1"/>
              </a:buClr>
            </a:pPr>
            <a:r>
              <a:rPr lang="en-US" sz="1200" b="0" i="0" dirty="0">
                <a:solidFill>
                  <a:schemeClr val="bg2">
                    <a:lumMod val="50000"/>
                    <a:lumOff val="50000"/>
                  </a:schemeClr>
                </a:solidFill>
                <a:effectLst/>
                <a:latin typeface="Verdana" panose="020B0604030504040204" pitchFamily="34" charset="0"/>
              </a:rPr>
              <a:t>The range of each bar is also called the </a:t>
            </a:r>
            <a:r>
              <a:rPr lang="en-US" sz="1200" b="1" i="0" dirty="0">
                <a:solidFill>
                  <a:schemeClr val="bg2">
                    <a:lumMod val="50000"/>
                    <a:lumOff val="50000"/>
                  </a:schemeClr>
                </a:solidFill>
                <a:effectLst/>
                <a:latin typeface="Verdana" panose="020B0604030504040204" pitchFamily="34" charset="0"/>
              </a:rPr>
              <a:t>Class Interval</a:t>
            </a:r>
            <a:endParaRPr lang="en-US" sz="1600" dirty="0">
              <a:solidFill>
                <a:schemeClr val="bg2">
                  <a:lumMod val="50000"/>
                  <a:lumOff val="50000"/>
                </a:schemeClr>
              </a:solidFill>
              <a:latin typeface="+mn-lt"/>
            </a:endParaRPr>
          </a:p>
        </p:txBody>
      </p:sp>
      <p:pic>
        <p:nvPicPr>
          <p:cNvPr id="8" name="Picture 7">
            <a:extLst>
              <a:ext uri="{FF2B5EF4-FFF2-40B4-BE49-F238E27FC236}">
                <a16:creationId xmlns:a16="http://schemas.microsoft.com/office/drawing/2014/main" id="{333C77C3-B4B9-46DA-8353-DCB6A97BD6C3}"/>
              </a:ext>
            </a:extLst>
          </p:cNvPr>
          <p:cNvPicPr>
            <a:picLocks noChangeAspect="1"/>
          </p:cNvPicPr>
          <p:nvPr/>
        </p:nvPicPr>
        <p:blipFill>
          <a:blip r:embed="rId4"/>
          <a:stretch>
            <a:fillRect/>
          </a:stretch>
        </p:blipFill>
        <p:spPr>
          <a:xfrm>
            <a:off x="7098089" y="2023881"/>
            <a:ext cx="1827730" cy="1759361"/>
          </a:xfrm>
          <a:prstGeom prst="rect">
            <a:avLst/>
          </a:prstGeom>
        </p:spPr>
      </p:pic>
    </p:spTree>
    <p:extLst>
      <p:ext uri="{BB962C8B-B14F-4D97-AF65-F5344CB8AC3E}">
        <p14:creationId xmlns:p14="http://schemas.microsoft.com/office/powerpoint/2010/main" val="1076367964"/>
      </p:ext>
    </p:extLst>
  </p:cSld>
  <p:clrMapOvr>
    <a:masterClrMapping/>
  </p:clrMapOvr>
  <p:transition spd="med">
    <p:wipe dir="r"/>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AD516-EB32-4D6F-A996-A221CB731514}"/>
              </a:ext>
            </a:extLst>
          </p:cNvPr>
          <p:cNvSpPr>
            <a:spLocks noGrp="1"/>
          </p:cNvSpPr>
          <p:nvPr>
            <p:ph type="title"/>
          </p:nvPr>
        </p:nvSpPr>
        <p:spPr/>
        <p:txBody>
          <a:bodyPr/>
          <a:lstStyle/>
          <a:p>
            <a:r>
              <a:rPr lang="en-US" dirty="0"/>
              <a:t>Histograms</a:t>
            </a:r>
          </a:p>
        </p:txBody>
      </p:sp>
      <p:pic>
        <p:nvPicPr>
          <p:cNvPr id="3" name="Picture 2">
            <a:extLst>
              <a:ext uri="{FF2B5EF4-FFF2-40B4-BE49-F238E27FC236}">
                <a16:creationId xmlns:a16="http://schemas.microsoft.com/office/drawing/2014/main" id="{1B4DE7F2-4C3F-4932-B02E-677EDE091489}"/>
              </a:ext>
            </a:extLst>
          </p:cNvPr>
          <p:cNvPicPr>
            <a:picLocks noChangeAspect="1"/>
          </p:cNvPicPr>
          <p:nvPr/>
        </p:nvPicPr>
        <p:blipFill>
          <a:blip r:embed="rId2"/>
          <a:stretch>
            <a:fillRect/>
          </a:stretch>
        </p:blipFill>
        <p:spPr>
          <a:xfrm>
            <a:off x="7014327" y="1144382"/>
            <a:ext cx="1827730" cy="1759361"/>
          </a:xfrm>
          <a:prstGeom prst="rect">
            <a:avLst/>
          </a:prstGeom>
        </p:spPr>
      </p:pic>
      <p:sp>
        <p:nvSpPr>
          <p:cNvPr id="4" name="TextBox 3">
            <a:extLst>
              <a:ext uri="{FF2B5EF4-FFF2-40B4-BE49-F238E27FC236}">
                <a16:creationId xmlns:a16="http://schemas.microsoft.com/office/drawing/2014/main" id="{CA3E50D1-0830-44E2-884E-56D3C7A922DC}"/>
              </a:ext>
            </a:extLst>
          </p:cNvPr>
          <p:cNvSpPr txBox="1"/>
          <p:nvPr/>
        </p:nvSpPr>
        <p:spPr>
          <a:xfrm>
            <a:off x="174504" y="984202"/>
            <a:ext cx="6114614" cy="1969770"/>
          </a:xfrm>
          <a:prstGeom prst="rect">
            <a:avLst/>
          </a:prstGeom>
          <a:noFill/>
        </p:spPr>
        <p:txBody>
          <a:bodyPr wrap="square" rtlCol="0">
            <a:spAutoFit/>
          </a:bodyPr>
          <a:lstStyle/>
          <a:p>
            <a:pPr algn="l"/>
            <a:r>
              <a:rPr lang="en-US" sz="1800" b="0" i="0" dirty="0">
                <a:solidFill>
                  <a:schemeClr val="bg2">
                    <a:lumMod val="50000"/>
                    <a:lumOff val="50000"/>
                  </a:schemeClr>
                </a:solidFill>
                <a:effectLst/>
                <a:latin typeface="Verdana" panose="020B0604030504040204" pitchFamily="34" charset="0"/>
              </a:rPr>
              <a:t>So, a tree that is 260 cm tall is added to the "250-300" range.</a:t>
            </a:r>
          </a:p>
          <a:p>
            <a:pPr algn="l"/>
            <a:endParaRPr lang="en-US" sz="1800" b="0" i="0" dirty="0">
              <a:solidFill>
                <a:schemeClr val="bg2">
                  <a:lumMod val="50000"/>
                  <a:lumOff val="50000"/>
                </a:schemeClr>
              </a:solidFill>
              <a:effectLst/>
              <a:latin typeface="Verdana" panose="020B0604030504040204" pitchFamily="34" charset="0"/>
            </a:endParaRPr>
          </a:p>
          <a:p>
            <a:pPr algn="l"/>
            <a:r>
              <a:rPr lang="en-US" sz="1800" b="0" i="0" dirty="0">
                <a:solidFill>
                  <a:schemeClr val="bg2">
                    <a:lumMod val="50000"/>
                    <a:lumOff val="50000"/>
                  </a:schemeClr>
                </a:solidFill>
                <a:effectLst/>
                <a:latin typeface="Verdana" panose="020B0604030504040204" pitchFamily="34" charset="0"/>
              </a:rPr>
              <a:t>And here is the result: </a:t>
            </a:r>
            <a:r>
              <a:rPr lang="en-US" sz="1800" dirty="0">
                <a:solidFill>
                  <a:schemeClr val="bg2">
                    <a:lumMod val="50000"/>
                    <a:lumOff val="50000"/>
                  </a:schemeClr>
                </a:solidFill>
                <a:latin typeface="Verdana" panose="020B0604030504040204" pitchFamily="34" charset="0"/>
              </a:rPr>
              <a:t>You can see (for example) that there are </a:t>
            </a:r>
            <a:r>
              <a:rPr lang="en-US" sz="1800" b="1" dirty="0">
                <a:solidFill>
                  <a:schemeClr val="bg2">
                    <a:lumMod val="50000"/>
                    <a:lumOff val="50000"/>
                  </a:schemeClr>
                </a:solidFill>
                <a:latin typeface="Verdana" panose="020B0604030504040204" pitchFamily="34" charset="0"/>
              </a:rPr>
              <a:t>30 trees </a:t>
            </a:r>
            <a:r>
              <a:rPr lang="en-US" sz="1800" dirty="0">
                <a:solidFill>
                  <a:schemeClr val="bg2">
                    <a:lumMod val="50000"/>
                    <a:lumOff val="50000"/>
                  </a:schemeClr>
                </a:solidFill>
                <a:latin typeface="Verdana" panose="020B0604030504040204" pitchFamily="34" charset="0"/>
              </a:rPr>
              <a:t>from 150 cm to just below 200 cm tall</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3098595869"/>
      </p:ext>
    </p:extLst>
  </p:cSld>
  <p:clrMapOvr>
    <a:masterClrMapping/>
  </p:clrMapOvr>
  <p:transition spd="med">
    <p:wipe dir="r"/>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A9319C-B967-4DBC-B577-C36D61D4087E}"/>
              </a:ext>
            </a:extLst>
          </p:cNvPr>
          <p:cNvSpPr>
            <a:spLocks noGrp="1"/>
          </p:cNvSpPr>
          <p:nvPr>
            <p:ph type="title"/>
          </p:nvPr>
        </p:nvSpPr>
        <p:spPr>
          <a:xfrm>
            <a:off x="0" y="0"/>
            <a:ext cx="7280299" cy="640080"/>
          </a:xfrm>
        </p:spPr>
        <p:txBody>
          <a:bodyPr>
            <a:normAutofit/>
          </a:bodyPr>
          <a:lstStyle/>
          <a:p>
            <a:r>
              <a:rPr lang="en-US" sz="2200" dirty="0"/>
              <a:t>Difference between Bar chart and Histogram?</a:t>
            </a:r>
            <a:br>
              <a:rPr lang="en-US" sz="1500" dirty="0"/>
            </a:br>
            <a:endParaRPr lang="en-US" sz="1500" dirty="0"/>
          </a:p>
        </p:txBody>
      </p:sp>
      <p:pic>
        <p:nvPicPr>
          <p:cNvPr id="4" name="Picture 3">
            <a:extLst>
              <a:ext uri="{FF2B5EF4-FFF2-40B4-BE49-F238E27FC236}">
                <a16:creationId xmlns:a16="http://schemas.microsoft.com/office/drawing/2014/main" id="{2C7EC81D-861C-48BD-A0A8-B2F91ABA3322}"/>
              </a:ext>
            </a:extLst>
          </p:cNvPr>
          <p:cNvPicPr>
            <a:picLocks noChangeAspect="1"/>
          </p:cNvPicPr>
          <p:nvPr/>
        </p:nvPicPr>
        <p:blipFill>
          <a:blip r:embed="rId2"/>
          <a:stretch>
            <a:fillRect/>
          </a:stretch>
        </p:blipFill>
        <p:spPr>
          <a:xfrm>
            <a:off x="1307381" y="604652"/>
            <a:ext cx="3774169" cy="1537974"/>
          </a:xfrm>
          <a:prstGeom prst="rect">
            <a:avLst/>
          </a:prstGeom>
          <a:noFill/>
        </p:spPr>
      </p:pic>
      <p:pic>
        <p:nvPicPr>
          <p:cNvPr id="5" name="Picture 4">
            <a:extLst>
              <a:ext uri="{FF2B5EF4-FFF2-40B4-BE49-F238E27FC236}">
                <a16:creationId xmlns:a16="http://schemas.microsoft.com/office/drawing/2014/main" id="{AF69502C-67C4-4044-81C1-D6941ED26107}"/>
              </a:ext>
            </a:extLst>
          </p:cNvPr>
          <p:cNvPicPr>
            <a:picLocks noChangeAspect="1"/>
          </p:cNvPicPr>
          <p:nvPr/>
        </p:nvPicPr>
        <p:blipFill>
          <a:blip r:embed="rId3"/>
          <a:stretch>
            <a:fillRect/>
          </a:stretch>
        </p:blipFill>
        <p:spPr>
          <a:xfrm>
            <a:off x="583908" y="2304396"/>
            <a:ext cx="5321300" cy="2419350"/>
          </a:xfrm>
          <a:prstGeom prst="rect">
            <a:avLst/>
          </a:prstGeom>
        </p:spPr>
      </p:pic>
      <p:sp>
        <p:nvSpPr>
          <p:cNvPr id="6" name="TextBox 5">
            <a:extLst>
              <a:ext uri="{FF2B5EF4-FFF2-40B4-BE49-F238E27FC236}">
                <a16:creationId xmlns:a16="http://schemas.microsoft.com/office/drawing/2014/main" id="{20129627-80D3-4973-A282-9C67B56BC036}"/>
              </a:ext>
            </a:extLst>
          </p:cNvPr>
          <p:cNvSpPr txBox="1"/>
          <p:nvPr/>
        </p:nvSpPr>
        <p:spPr>
          <a:xfrm>
            <a:off x="5451499" y="565726"/>
            <a:ext cx="3471227" cy="1615827"/>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Histograms are a great way to show results of </a:t>
            </a:r>
            <a:r>
              <a:rPr lang="en-US" sz="1100" b="0" i="0" dirty="0">
                <a:solidFill>
                  <a:srgbClr val="333333"/>
                </a:solidFill>
                <a:effectLst/>
                <a:latin typeface="Verdana" panose="020B0604030504040204" pitchFamily="34" charset="0"/>
                <a:hlinkClick r:id="rId4"/>
              </a:rPr>
              <a:t>continuous data</a:t>
            </a:r>
            <a:r>
              <a:rPr lang="en-US" sz="1100" b="0" i="0" dirty="0">
                <a:solidFill>
                  <a:srgbClr val="333333"/>
                </a:solidFill>
                <a:effectLst/>
                <a:latin typeface="Verdana" panose="020B0604030504040204" pitchFamily="34" charset="0"/>
              </a:rPr>
              <a:t>, such as:</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weight</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height</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how much time</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etc.</a:t>
            </a:r>
          </a:p>
          <a:p>
            <a:pPr algn="l"/>
            <a:r>
              <a:rPr lang="en-US" sz="1100" b="0" i="0" dirty="0">
                <a:solidFill>
                  <a:srgbClr val="333333"/>
                </a:solidFill>
                <a:effectLst/>
                <a:latin typeface="Verdana" panose="020B0604030504040204" pitchFamily="34" charset="0"/>
              </a:rPr>
              <a:t>But when the data is in </a:t>
            </a:r>
            <a:r>
              <a:rPr lang="en-US" sz="1100" b="1" i="0" dirty="0">
                <a:solidFill>
                  <a:srgbClr val="333333"/>
                </a:solidFill>
                <a:effectLst/>
                <a:latin typeface="Verdana" panose="020B0604030504040204" pitchFamily="34" charset="0"/>
              </a:rPr>
              <a:t>categories</a:t>
            </a:r>
            <a:r>
              <a:rPr lang="en-US" sz="1100" b="0" i="0" dirty="0">
                <a:solidFill>
                  <a:srgbClr val="333333"/>
                </a:solidFill>
                <a:effectLst/>
                <a:latin typeface="Verdana" panose="020B0604030504040204" pitchFamily="34" charset="0"/>
              </a:rPr>
              <a:t> (such as Country or </a:t>
            </a:r>
            <a:r>
              <a:rPr lang="en-US" sz="1100" b="0" i="0" dirty="0" err="1">
                <a:solidFill>
                  <a:srgbClr val="333333"/>
                </a:solidFill>
                <a:effectLst/>
                <a:latin typeface="Verdana" panose="020B0604030504040204" pitchFamily="34" charset="0"/>
              </a:rPr>
              <a:t>Favourite</a:t>
            </a:r>
            <a:r>
              <a:rPr lang="en-US" sz="1100" b="0" i="0" dirty="0">
                <a:solidFill>
                  <a:srgbClr val="333333"/>
                </a:solidFill>
                <a:effectLst/>
                <a:latin typeface="Verdana" panose="020B0604030504040204" pitchFamily="34" charset="0"/>
              </a:rPr>
              <a:t> Movie), we should use a </a:t>
            </a:r>
            <a:r>
              <a:rPr lang="en-US" sz="1100" b="0" i="0" dirty="0">
                <a:solidFill>
                  <a:srgbClr val="333333"/>
                </a:solidFill>
                <a:effectLst/>
                <a:latin typeface="Verdana" panose="020B0604030504040204" pitchFamily="34" charset="0"/>
                <a:hlinkClick r:id="rId5"/>
              </a:rPr>
              <a:t>Bar Chart</a:t>
            </a:r>
            <a:r>
              <a:rPr lang="en-US" sz="1100" b="0" i="0" dirty="0">
                <a:solidFill>
                  <a:srgbClr val="333333"/>
                </a:solidFill>
                <a:effectLst/>
                <a:latin typeface="Verdana" panose="020B0604030504040204" pitchFamily="34" charset="0"/>
              </a:rPr>
              <a:t>.</a:t>
            </a:r>
          </a:p>
        </p:txBody>
      </p:sp>
    </p:spTree>
    <p:extLst>
      <p:ext uri="{BB962C8B-B14F-4D97-AF65-F5344CB8AC3E}">
        <p14:creationId xmlns:p14="http://schemas.microsoft.com/office/powerpoint/2010/main" val="209970773"/>
      </p:ext>
    </p:extLst>
  </p:cSld>
  <p:clrMapOvr>
    <a:masterClrMapping/>
  </p:clrMapOvr>
  <p:transition spd="med">
    <p:wipe dir="r"/>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FF00B5-B4A0-49F0-B8B8-411104EA6D5A}"/>
              </a:ext>
            </a:extLst>
          </p:cNvPr>
          <p:cNvSpPr>
            <a:spLocks noGrp="1"/>
          </p:cNvSpPr>
          <p:nvPr>
            <p:ph type="title"/>
          </p:nvPr>
        </p:nvSpPr>
        <p:spPr>
          <a:xfrm>
            <a:off x="0" y="22860"/>
            <a:ext cx="4295219" cy="640080"/>
          </a:xfrm>
        </p:spPr>
        <p:txBody>
          <a:bodyPr/>
          <a:lstStyle/>
          <a:p>
            <a:r>
              <a:rPr lang="en-US" dirty="0"/>
              <a:t>Frequency Histogram</a:t>
            </a:r>
          </a:p>
        </p:txBody>
      </p:sp>
      <p:sp>
        <p:nvSpPr>
          <p:cNvPr id="3" name="Content Placeholder 2">
            <a:extLst>
              <a:ext uri="{FF2B5EF4-FFF2-40B4-BE49-F238E27FC236}">
                <a16:creationId xmlns:a16="http://schemas.microsoft.com/office/drawing/2014/main" id="{DEEEA18E-63DE-4CC5-A149-9DD21D04AE4B}"/>
              </a:ext>
            </a:extLst>
          </p:cNvPr>
          <p:cNvSpPr>
            <a:spLocks noGrp="1"/>
          </p:cNvSpPr>
          <p:nvPr>
            <p:ph sz="half" idx="13"/>
          </p:nvPr>
        </p:nvSpPr>
        <p:spPr>
          <a:xfrm>
            <a:off x="162637" y="1021894"/>
            <a:ext cx="8122804" cy="3200400"/>
          </a:xfrm>
        </p:spPr>
        <p:txBody>
          <a:bodyPr/>
          <a:lstStyle/>
          <a:p>
            <a:r>
              <a:rPr lang="en-US" b="0" i="0" dirty="0">
                <a:solidFill>
                  <a:srgbClr val="333333"/>
                </a:solidFill>
                <a:effectLst/>
                <a:latin typeface="Verdana" panose="020B0604030504040204" pitchFamily="34" charset="0"/>
              </a:rPr>
              <a:t>A Frequency Histogram is a special graph that uses vertical columns to show frequencies (how many times each score occurs):</a:t>
            </a:r>
            <a:endParaRPr lang="en-US" dirty="0"/>
          </a:p>
        </p:txBody>
      </p:sp>
      <p:pic>
        <p:nvPicPr>
          <p:cNvPr id="5" name="Picture 4">
            <a:extLst>
              <a:ext uri="{FF2B5EF4-FFF2-40B4-BE49-F238E27FC236}">
                <a16:creationId xmlns:a16="http://schemas.microsoft.com/office/drawing/2014/main" id="{F805CE92-2871-4815-B6D7-19282192ABEA}"/>
              </a:ext>
            </a:extLst>
          </p:cNvPr>
          <p:cNvPicPr>
            <a:picLocks noChangeAspect="1"/>
          </p:cNvPicPr>
          <p:nvPr/>
        </p:nvPicPr>
        <p:blipFill>
          <a:blip r:embed="rId2"/>
          <a:stretch>
            <a:fillRect/>
          </a:stretch>
        </p:blipFill>
        <p:spPr>
          <a:xfrm>
            <a:off x="2096940" y="1756207"/>
            <a:ext cx="2198279" cy="2365399"/>
          </a:xfrm>
          <a:prstGeom prst="rect">
            <a:avLst/>
          </a:prstGeom>
        </p:spPr>
      </p:pic>
      <p:sp>
        <p:nvSpPr>
          <p:cNvPr id="6" name="TextBox 5">
            <a:extLst>
              <a:ext uri="{FF2B5EF4-FFF2-40B4-BE49-F238E27FC236}">
                <a16:creationId xmlns:a16="http://schemas.microsoft.com/office/drawing/2014/main" id="{9F19E738-DFF2-4014-8A2C-7A2B1FE43B4A}"/>
              </a:ext>
            </a:extLst>
          </p:cNvPr>
          <p:cNvSpPr txBox="1"/>
          <p:nvPr/>
        </p:nvSpPr>
        <p:spPr>
          <a:xfrm>
            <a:off x="5514321" y="2324391"/>
            <a:ext cx="3148048" cy="769441"/>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333333"/>
                </a:solidFill>
                <a:effectLst/>
                <a:latin typeface="Verdana" panose="020B0604030504040204" pitchFamily="34" charset="0"/>
              </a:rPr>
              <a:t>Here I have added up how often 1 occurs (2 times),</a:t>
            </a:r>
            <a:br>
              <a:rPr lang="en-US" sz="1100" dirty="0"/>
            </a:br>
            <a:r>
              <a:rPr lang="en-US" sz="1100" b="0" i="0" dirty="0">
                <a:solidFill>
                  <a:srgbClr val="333333"/>
                </a:solidFill>
                <a:effectLst/>
                <a:latin typeface="Verdana" panose="020B0604030504040204" pitchFamily="34" charset="0"/>
              </a:rPr>
              <a:t>how often 2 occurs (5 times), </a:t>
            </a:r>
            <a:r>
              <a:rPr lang="en-US" sz="1100" b="0" i="0" dirty="0" err="1">
                <a:solidFill>
                  <a:srgbClr val="333333"/>
                </a:solidFill>
                <a:effectLst/>
                <a:latin typeface="Verdana" panose="020B0604030504040204" pitchFamily="34" charset="0"/>
              </a:rPr>
              <a:t>etc</a:t>
            </a:r>
            <a:r>
              <a:rPr lang="en-US" sz="1100" b="0" i="0" dirty="0">
                <a:solidFill>
                  <a:srgbClr val="333333"/>
                </a:solidFill>
                <a:effectLst/>
                <a:latin typeface="Verdana" panose="020B0604030504040204" pitchFamily="34" charset="0"/>
              </a:rPr>
              <a:t>,</a:t>
            </a:r>
            <a:br>
              <a:rPr lang="en-US" sz="1100" dirty="0"/>
            </a:br>
            <a:r>
              <a:rPr lang="en-US" sz="1100" b="0" i="0" dirty="0">
                <a:solidFill>
                  <a:srgbClr val="333333"/>
                </a:solidFill>
                <a:effectLst/>
                <a:latin typeface="Verdana" panose="020B0604030504040204" pitchFamily="34" charset="0"/>
              </a:rPr>
              <a:t>and shown them as a histogram.</a:t>
            </a:r>
            <a:endParaRPr lang="en-US" sz="1400" dirty="0">
              <a:solidFill>
                <a:schemeClr val="bg2"/>
              </a:solidFill>
              <a:latin typeface="+mn-lt"/>
            </a:endParaRPr>
          </a:p>
        </p:txBody>
      </p:sp>
    </p:spTree>
    <p:extLst>
      <p:ext uri="{BB962C8B-B14F-4D97-AF65-F5344CB8AC3E}">
        <p14:creationId xmlns:p14="http://schemas.microsoft.com/office/powerpoint/2010/main" val="2761370973"/>
      </p:ext>
    </p:extLst>
  </p:cSld>
  <p:clrMapOvr>
    <a:masterClrMapping/>
  </p:clrMapOvr>
  <p:transition spd="med">
    <p:wipe dir="r"/>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CE449-810C-4947-8A30-C5C6A047DDE9}"/>
              </a:ext>
            </a:extLst>
          </p:cNvPr>
          <p:cNvSpPr>
            <a:spLocks noGrp="1"/>
          </p:cNvSpPr>
          <p:nvPr>
            <p:ph type="title"/>
          </p:nvPr>
        </p:nvSpPr>
        <p:spPr>
          <a:xfrm>
            <a:off x="0" y="0"/>
            <a:ext cx="8298577" cy="640080"/>
          </a:xfrm>
        </p:spPr>
        <p:txBody>
          <a:bodyPr/>
          <a:lstStyle/>
          <a:p>
            <a:r>
              <a:rPr lang="en-US" dirty="0"/>
              <a:t>Normal Distribution</a:t>
            </a:r>
          </a:p>
        </p:txBody>
      </p:sp>
      <p:sp>
        <p:nvSpPr>
          <p:cNvPr id="3" name="Content Placeholder 2">
            <a:extLst>
              <a:ext uri="{FF2B5EF4-FFF2-40B4-BE49-F238E27FC236}">
                <a16:creationId xmlns:a16="http://schemas.microsoft.com/office/drawing/2014/main" id="{2B48B4E7-A91E-41DB-854D-B66CBEEBA92C}"/>
              </a:ext>
            </a:extLst>
          </p:cNvPr>
          <p:cNvSpPr>
            <a:spLocks noGrp="1"/>
          </p:cNvSpPr>
          <p:nvPr>
            <p:ph sz="half" idx="13"/>
          </p:nvPr>
        </p:nvSpPr>
        <p:spPr>
          <a:xfrm>
            <a:off x="0" y="547244"/>
            <a:ext cx="9065124" cy="3200400"/>
          </a:xfrm>
        </p:spPr>
        <p:txBody>
          <a:bodyPr/>
          <a:lstStyle/>
          <a:p>
            <a:r>
              <a:rPr lang="en-US" b="0" i="0" dirty="0">
                <a:solidFill>
                  <a:schemeClr val="bg2">
                    <a:lumMod val="50000"/>
                    <a:lumOff val="50000"/>
                  </a:schemeClr>
                </a:solidFill>
                <a:effectLst/>
                <a:latin typeface="Verdana" panose="020B0604030504040204" pitchFamily="34" charset="0"/>
              </a:rPr>
              <a:t>Data can be "distributed" (spread out) in different ways.</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0B486642-3923-4FF0-9B98-6FC95566A6AA}"/>
              </a:ext>
            </a:extLst>
          </p:cNvPr>
          <p:cNvPicPr>
            <a:picLocks noChangeAspect="1"/>
          </p:cNvPicPr>
          <p:nvPr/>
        </p:nvPicPr>
        <p:blipFill>
          <a:blip r:embed="rId2"/>
          <a:stretch>
            <a:fillRect/>
          </a:stretch>
        </p:blipFill>
        <p:spPr>
          <a:xfrm>
            <a:off x="1131584" y="911681"/>
            <a:ext cx="3440416" cy="1677083"/>
          </a:xfrm>
          <a:prstGeom prst="rect">
            <a:avLst/>
          </a:prstGeom>
        </p:spPr>
      </p:pic>
      <p:pic>
        <p:nvPicPr>
          <p:cNvPr id="7" name="Picture 6">
            <a:extLst>
              <a:ext uri="{FF2B5EF4-FFF2-40B4-BE49-F238E27FC236}">
                <a16:creationId xmlns:a16="http://schemas.microsoft.com/office/drawing/2014/main" id="{B8949DF2-72CB-4E05-BB91-D4723A9CD9FD}"/>
              </a:ext>
            </a:extLst>
          </p:cNvPr>
          <p:cNvPicPr>
            <a:picLocks noChangeAspect="1"/>
          </p:cNvPicPr>
          <p:nvPr/>
        </p:nvPicPr>
        <p:blipFill>
          <a:blip r:embed="rId3"/>
          <a:stretch>
            <a:fillRect/>
          </a:stretch>
        </p:blipFill>
        <p:spPr>
          <a:xfrm>
            <a:off x="4771115" y="1076325"/>
            <a:ext cx="1566863" cy="1495425"/>
          </a:xfrm>
          <a:prstGeom prst="rect">
            <a:avLst/>
          </a:prstGeom>
        </p:spPr>
      </p:pic>
      <p:pic>
        <p:nvPicPr>
          <p:cNvPr id="9" name="Picture 8">
            <a:extLst>
              <a:ext uri="{FF2B5EF4-FFF2-40B4-BE49-F238E27FC236}">
                <a16:creationId xmlns:a16="http://schemas.microsoft.com/office/drawing/2014/main" id="{31EBBA0A-2C14-4CC3-BC2F-11A65B17871E}"/>
              </a:ext>
            </a:extLst>
          </p:cNvPr>
          <p:cNvPicPr>
            <a:picLocks noChangeAspect="1"/>
          </p:cNvPicPr>
          <p:nvPr/>
        </p:nvPicPr>
        <p:blipFill>
          <a:blip r:embed="rId4"/>
          <a:stretch>
            <a:fillRect/>
          </a:stretch>
        </p:blipFill>
        <p:spPr>
          <a:xfrm>
            <a:off x="1986552" y="3242908"/>
            <a:ext cx="3440416" cy="1648533"/>
          </a:xfrm>
          <a:prstGeom prst="rect">
            <a:avLst/>
          </a:prstGeom>
        </p:spPr>
      </p:pic>
      <p:sp>
        <p:nvSpPr>
          <p:cNvPr id="10" name="TextBox 9">
            <a:extLst>
              <a:ext uri="{FF2B5EF4-FFF2-40B4-BE49-F238E27FC236}">
                <a16:creationId xmlns:a16="http://schemas.microsoft.com/office/drawing/2014/main" id="{E9F194E7-7F64-4C16-9487-1D5CACD12279}"/>
              </a:ext>
            </a:extLst>
          </p:cNvPr>
          <p:cNvSpPr txBox="1"/>
          <p:nvPr/>
        </p:nvSpPr>
        <p:spPr>
          <a:xfrm>
            <a:off x="0" y="2860365"/>
            <a:ext cx="2205728"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Normal Distribution : </a:t>
            </a:r>
          </a:p>
        </p:txBody>
      </p:sp>
    </p:spTree>
    <p:extLst>
      <p:ext uri="{BB962C8B-B14F-4D97-AF65-F5344CB8AC3E}">
        <p14:creationId xmlns:p14="http://schemas.microsoft.com/office/powerpoint/2010/main" val="2608275495"/>
      </p:ext>
    </p:extLst>
  </p:cSld>
  <p:clrMapOvr>
    <a:masterClrMapping/>
  </p:clrMapOvr>
  <p:transition spd="med">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AD2AC30-CBBF-43EB-AF23-963B8A7A6A13}"/>
              </a:ext>
            </a:extLst>
          </p:cNvPr>
          <p:cNvSpPr/>
          <p:nvPr/>
        </p:nvSpPr>
        <p:spPr>
          <a:xfrm>
            <a:off x="132621" y="1777656"/>
            <a:ext cx="7545547" cy="483913"/>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pic>
        <p:nvPicPr>
          <p:cNvPr id="7" name="Picture 6" descr="A hand holding a sign&#10;&#10;Description automatically generated with low confidence">
            <a:extLst>
              <a:ext uri="{FF2B5EF4-FFF2-40B4-BE49-F238E27FC236}">
                <a16:creationId xmlns:a16="http://schemas.microsoft.com/office/drawing/2014/main" id="{E7CF08A8-2253-494F-B061-34EC8A35B25D}"/>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442633" y="3365844"/>
            <a:ext cx="2237462" cy="1491641"/>
          </a:xfrm>
          <a:prstGeom prst="rect">
            <a:avLst/>
          </a:prstGeom>
        </p:spPr>
      </p:pic>
      <p:sp>
        <p:nvSpPr>
          <p:cNvPr id="2" name="Title 1">
            <a:extLst>
              <a:ext uri="{FF2B5EF4-FFF2-40B4-BE49-F238E27FC236}">
                <a16:creationId xmlns:a16="http://schemas.microsoft.com/office/drawing/2014/main" id="{0346C8A9-0ABB-4118-8AEB-EBEA4B84D459}"/>
              </a:ext>
            </a:extLst>
          </p:cNvPr>
          <p:cNvSpPr>
            <a:spLocks noGrp="1"/>
          </p:cNvSpPr>
          <p:nvPr>
            <p:ph type="title"/>
          </p:nvPr>
        </p:nvSpPr>
        <p:spPr>
          <a:xfrm>
            <a:off x="80166" y="52681"/>
            <a:ext cx="7955280" cy="640080"/>
          </a:xfrm>
        </p:spPr>
        <p:txBody>
          <a:bodyPr/>
          <a:lstStyle/>
          <a:p>
            <a:r>
              <a:rPr lang="en-US" dirty="0"/>
              <a:t>Population &amp; Sample</a:t>
            </a:r>
          </a:p>
        </p:txBody>
      </p:sp>
      <p:sp>
        <p:nvSpPr>
          <p:cNvPr id="3" name="Content Placeholder 2">
            <a:extLst>
              <a:ext uri="{FF2B5EF4-FFF2-40B4-BE49-F238E27FC236}">
                <a16:creationId xmlns:a16="http://schemas.microsoft.com/office/drawing/2014/main" id="{ED8E31E5-95A7-4252-A308-0E980CDDFA19}"/>
              </a:ext>
            </a:extLst>
          </p:cNvPr>
          <p:cNvSpPr>
            <a:spLocks noGrp="1"/>
          </p:cNvSpPr>
          <p:nvPr>
            <p:ph sz="half" idx="1"/>
          </p:nvPr>
        </p:nvSpPr>
        <p:spPr>
          <a:xfrm>
            <a:off x="80166" y="692761"/>
            <a:ext cx="7924386" cy="3200400"/>
          </a:xfrm>
        </p:spPr>
        <p:txBody>
          <a:bodyPr/>
          <a:lstStyle/>
          <a:p>
            <a:r>
              <a:rPr lang="en-US" dirty="0">
                <a:solidFill>
                  <a:schemeClr val="bg2">
                    <a:lumMod val="50000"/>
                    <a:lumOff val="50000"/>
                  </a:schemeClr>
                </a:solidFill>
              </a:rPr>
              <a:t>A </a:t>
            </a:r>
            <a:r>
              <a:rPr lang="en-US" b="1" dirty="0">
                <a:solidFill>
                  <a:schemeClr val="bg1"/>
                </a:solidFill>
              </a:rPr>
              <a:t>population</a:t>
            </a:r>
            <a:r>
              <a:rPr lang="en-US" dirty="0">
                <a:solidFill>
                  <a:schemeClr val="bg2">
                    <a:lumMod val="50000"/>
                    <a:lumOff val="50000"/>
                  </a:schemeClr>
                </a:solidFill>
              </a:rPr>
              <a:t> is the collection of all items of interest to our study and is usually denoted with an uppercase N.. The numbers we've obtained when using a population are called parameters..</a:t>
            </a:r>
          </a:p>
          <a:p>
            <a:r>
              <a:rPr lang="en-US" dirty="0">
                <a:solidFill>
                  <a:schemeClr val="bg2">
                    <a:lumMod val="50000"/>
                    <a:lumOff val="50000"/>
                  </a:schemeClr>
                </a:solidFill>
              </a:rPr>
              <a:t>A </a:t>
            </a:r>
            <a:r>
              <a:rPr lang="en-US" b="1" dirty="0">
                <a:solidFill>
                  <a:schemeClr val="bg1"/>
                </a:solidFill>
              </a:rPr>
              <a:t>sample</a:t>
            </a:r>
            <a:r>
              <a:rPr lang="en-US" dirty="0">
                <a:solidFill>
                  <a:schemeClr val="bg2">
                    <a:lumMod val="50000"/>
                    <a:lumOff val="50000"/>
                  </a:schemeClr>
                </a:solidFill>
              </a:rPr>
              <a:t> is a subset of the population and is denoted with a lowercase n and the numbers we've obtained when working with the sample are called statistics.</a:t>
            </a:r>
          </a:p>
        </p:txBody>
      </p:sp>
      <p:pic>
        <p:nvPicPr>
          <p:cNvPr id="5" name="Picture 4" descr="A picture containing tree, outdoor, sky, grass&#10;&#10;Description automatically generated">
            <a:extLst>
              <a:ext uri="{FF2B5EF4-FFF2-40B4-BE49-F238E27FC236}">
                <a16:creationId xmlns:a16="http://schemas.microsoft.com/office/drawing/2014/main" id="{431BA9D4-D8FA-4E00-8D33-B168C9712A2F}"/>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373330" y="2571750"/>
            <a:ext cx="2138607" cy="1247197"/>
          </a:xfrm>
          <a:prstGeom prst="rect">
            <a:avLst/>
          </a:prstGeom>
        </p:spPr>
      </p:pic>
      <p:pic>
        <p:nvPicPr>
          <p:cNvPr id="10" name="Picture 9">
            <a:extLst>
              <a:ext uri="{FF2B5EF4-FFF2-40B4-BE49-F238E27FC236}">
                <a16:creationId xmlns:a16="http://schemas.microsoft.com/office/drawing/2014/main" id="{356CE689-21BC-4E4B-B48F-87112F3A0EA6}"/>
              </a:ext>
            </a:extLst>
          </p:cNvPr>
          <p:cNvPicPr>
            <a:picLocks noChangeAspect="1"/>
          </p:cNvPicPr>
          <p:nvPr/>
        </p:nvPicPr>
        <p:blipFill>
          <a:blip r:embed="rId6"/>
          <a:stretch>
            <a:fillRect/>
          </a:stretch>
        </p:blipFill>
        <p:spPr>
          <a:xfrm>
            <a:off x="4481048" y="2411832"/>
            <a:ext cx="4324457" cy="2378765"/>
          </a:xfrm>
          <a:prstGeom prst="rect">
            <a:avLst/>
          </a:prstGeom>
        </p:spPr>
      </p:pic>
      <p:sp>
        <p:nvSpPr>
          <p:cNvPr id="11" name="TextBox 10">
            <a:extLst>
              <a:ext uri="{FF2B5EF4-FFF2-40B4-BE49-F238E27FC236}">
                <a16:creationId xmlns:a16="http://schemas.microsoft.com/office/drawing/2014/main" id="{828B196D-C3C6-48AA-BBC5-176FE77028BF}"/>
              </a:ext>
            </a:extLst>
          </p:cNvPr>
          <p:cNvSpPr txBox="1"/>
          <p:nvPr/>
        </p:nvSpPr>
        <p:spPr>
          <a:xfrm>
            <a:off x="132622" y="1777656"/>
            <a:ext cx="7598002"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tx2"/>
                </a:solidFill>
                <a:latin typeface="Arial" panose="020B0604020202020204" pitchFamily="34" charset="0"/>
                <a:cs typeface="Arial" panose="020B0604020202020204" pitchFamily="34" charset="0"/>
              </a:rPr>
              <a:t>Example : Let's say we want to perform a survey of the job prospects of the students studying in the New York University, what is the population?</a:t>
            </a:r>
          </a:p>
          <a:p>
            <a:pPr>
              <a:spcBef>
                <a:spcPts val="0"/>
              </a:spcBef>
              <a:spcAft>
                <a:spcPts val="0"/>
              </a:spcAft>
              <a:buClr>
                <a:schemeClr val="bg1"/>
              </a:buClr>
            </a:pPr>
            <a:r>
              <a:rPr lang="en-US" sz="1400" dirty="0">
                <a:solidFill>
                  <a:schemeClr val="bg2"/>
                </a:solidFill>
                <a:latin typeface="+mn-lt"/>
              </a:rPr>
              <a:t> </a:t>
            </a:r>
          </a:p>
        </p:txBody>
      </p:sp>
    </p:spTree>
    <p:extLst>
      <p:ext uri="{BB962C8B-B14F-4D97-AF65-F5344CB8AC3E}">
        <p14:creationId xmlns:p14="http://schemas.microsoft.com/office/powerpoint/2010/main" val="1833670930"/>
      </p:ext>
    </p:extLst>
  </p:cSld>
  <p:clrMapOvr>
    <a:masterClrMapping/>
  </p:clrMapOvr>
  <p:transition spd="med">
    <p:wipe dir="r"/>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66639C-8CEC-428A-9B08-0BF1C8C1A8AE}"/>
              </a:ext>
            </a:extLst>
          </p:cNvPr>
          <p:cNvSpPr>
            <a:spLocks noGrp="1"/>
          </p:cNvSpPr>
          <p:nvPr>
            <p:ph type="title"/>
          </p:nvPr>
        </p:nvSpPr>
        <p:spPr>
          <a:xfrm>
            <a:off x="0" y="0"/>
            <a:ext cx="7782046" cy="640080"/>
          </a:xfrm>
        </p:spPr>
        <p:txBody>
          <a:bodyPr/>
          <a:lstStyle/>
          <a:p>
            <a:r>
              <a:rPr lang="en-US" dirty="0"/>
              <a:t>Normal Distribution - Continued</a:t>
            </a:r>
          </a:p>
        </p:txBody>
      </p:sp>
      <p:sp>
        <p:nvSpPr>
          <p:cNvPr id="3" name="Content Placeholder 2">
            <a:extLst>
              <a:ext uri="{FF2B5EF4-FFF2-40B4-BE49-F238E27FC236}">
                <a16:creationId xmlns:a16="http://schemas.microsoft.com/office/drawing/2014/main" id="{D6C06C03-2BE3-4DB4-AD24-8584747C8398}"/>
              </a:ext>
            </a:extLst>
          </p:cNvPr>
          <p:cNvSpPr>
            <a:spLocks noGrp="1"/>
          </p:cNvSpPr>
          <p:nvPr>
            <p:ph sz="half" idx="13"/>
          </p:nvPr>
        </p:nvSpPr>
        <p:spPr>
          <a:xfrm>
            <a:off x="57935" y="640080"/>
            <a:ext cx="7962260" cy="3200400"/>
          </a:xfrm>
        </p:spPr>
        <p:txBody>
          <a:bodyPr/>
          <a:lstStyle/>
          <a:p>
            <a:r>
              <a:rPr lang="en-US" b="0" i="0" dirty="0">
                <a:solidFill>
                  <a:srgbClr val="333333"/>
                </a:solidFill>
                <a:effectLst/>
                <a:latin typeface="Verdana" panose="020B0604030504040204" pitchFamily="34" charset="0"/>
              </a:rPr>
              <a:t>It is often called a "Bell Curve“ because it looks like a bell.</a:t>
            </a:r>
            <a:endParaRPr lang="en-US" dirty="0">
              <a:solidFill>
                <a:srgbClr val="333333"/>
              </a:solidFill>
              <a:latin typeface="Verdana" panose="020B0604030504040204" pitchFamily="34" charset="0"/>
            </a:endParaRPr>
          </a:p>
          <a:p>
            <a:pPr algn="l"/>
            <a:r>
              <a:rPr lang="en-US" b="0" i="0" dirty="0">
                <a:solidFill>
                  <a:srgbClr val="333333"/>
                </a:solidFill>
                <a:effectLst/>
                <a:latin typeface="Verdana" panose="020B0604030504040204" pitchFamily="34" charset="0"/>
              </a:rPr>
              <a:t>Many things closely follow a Normal Distribution:</a:t>
            </a:r>
          </a:p>
          <a:p>
            <a:pPr lvl="1">
              <a:buFont typeface="Arial" panose="020B0604020202020204" pitchFamily="34" charset="0"/>
              <a:buChar char="•"/>
            </a:pPr>
            <a:r>
              <a:rPr lang="en-US" b="0" i="0" dirty="0">
                <a:solidFill>
                  <a:srgbClr val="333333"/>
                </a:solidFill>
                <a:effectLst/>
                <a:latin typeface="Verdana" panose="020B0604030504040204" pitchFamily="34" charset="0"/>
              </a:rPr>
              <a:t>heights of people</a:t>
            </a:r>
          </a:p>
          <a:p>
            <a:pPr lvl="1">
              <a:buFont typeface="Arial" panose="020B0604020202020204" pitchFamily="34" charset="0"/>
              <a:buChar char="•"/>
            </a:pPr>
            <a:r>
              <a:rPr lang="en-US" b="0" i="0" dirty="0">
                <a:solidFill>
                  <a:srgbClr val="333333"/>
                </a:solidFill>
                <a:effectLst/>
                <a:latin typeface="Verdana" panose="020B0604030504040204" pitchFamily="34" charset="0"/>
              </a:rPr>
              <a:t>size of things produced by machines</a:t>
            </a:r>
          </a:p>
          <a:p>
            <a:pPr lvl="1">
              <a:buFont typeface="Arial" panose="020B0604020202020204" pitchFamily="34" charset="0"/>
              <a:buChar char="•"/>
            </a:pPr>
            <a:r>
              <a:rPr lang="en-US" b="0" i="0" dirty="0">
                <a:solidFill>
                  <a:srgbClr val="333333"/>
                </a:solidFill>
                <a:effectLst/>
                <a:latin typeface="Verdana" panose="020B0604030504040204" pitchFamily="34" charset="0"/>
              </a:rPr>
              <a:t>errors in measurements</a:t>
            </a:r>
          </a:p>
          <a:p>
            <a:pPr lvl="1">
              <a:buFont typeface="Arial" panose="020B0604020202020204" pitchFamily="34" charset="0"/>
              <a:buChar char="•"/>
            </a:pPr>
            <a:r>
              <a:rPr lang="en-US" b="0" i="0" dirty="0">
                <a:solidFill>
                  <a:srgbClr val="333333"/>
                </a:solidFill>
                <a:effectLst/>
                <a:latin typeface="Verdana" panose="020B0604030504040204" pitchFamily="34" charset="0"/>
              </a:rPr>
              <a:t>blood pressure</a:t>
            </a:r>
          </a:p>
          <a:p>
            <a:pPr lvl="1">
              <a:buFont typeface="Arial" panose="020B0604020202020204" pitchFamily="34" charset="0"/>
              <a:buChar char="•"/>
            </a:pPr>
            <a:r>
              <a:rPr lang="en-US" b="0" i="0" dirty="0">
                <a:solidFill>
                  <a:srgbClr val="333333"/>
                </a:solidFill>
                <a:effectLst/>
                <a:latin typeface="Verdana" panose="020B0604030504040204" pitchFamily="34" charset="0"/>
              </a:rPr>
              <a:t>marks on a test</a:t>
            </a:r>
          </a:p>
          <a:p>
            <a:endParaRPr lang="en-US" dirty="0"/>
          </a:p>
        </p:txBody>
      </p:sp>
      <p:pic>
        <p:nvPicPr>
          <p:cNvPr id="5" name="Picture 4">
            <a:extLst>
              <a:ext uri="{FF2B5EF4-FFF2-40B4-BE49-F238E27FC236}">
                <a16:creationId xmlns:a16="http://schemas.microsoft.com/office/drawing/2014/main" id="{323A7D53-51A0-43DB-B005-CF90D9BB7DFE}"/>
              </a:ext>
            </a:extLst>
          </p:cNvPr>
          <p:cNvPicPr>
            <a:picLocks noChangeAspect="1"/>
          </p:cNvPicPr>
          <p:nvPr/>
        </p:nvPicPr>
        <p:blipFill>
          <a:blip r:embed="rId2"/>
          <a:stretch>
            <a:fillRect/>
          </a:stretch>
        </p:blipFill>
        <p:spPr>
          <a:xfrm>
            <a:off x="1123805" y="2571750"/>
            <a:ext cx="5402732" cy="1931670"/>
          </a:xfrm>
          <a:prstGeom prst="rect">
            <a:avLst/>
          </a:prstGeom>
        </p:spPr>
      </p:pic>
    </p:spTree>
    <p:extLst>
      <p:ext uri="{BB962C8B-B14F-4D97-AF65-F5344CB8AC3E}">
        <p14:creationId xmlns:p14="http://schemas.microsoft.com/office/powerpoint/2010/main" val="1274034444"/>
      </p:ext>
    </p:extLst>
  </p:cSld>
  <p:clrMapOvr>
    <a:masterClrMapping/>
  </p:clrMapOvr>
  <p:transition spd="med">
    <p:wipe dir="r"/>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76DBB-8ECF-4567-A38D-5A24476D6577}"/>
              </a:ext>
            </a:extLst>
          </p:cNvPr>
          <p:cNvSpPr>
            <a:spLocks noGrp="1"/>
          </p:cNvSpPr>
          <p:nvPr>
            <p:ph type="title"/>
          </p:nvPr>
        </p:nvSpPr>
        <p:spPr>
          <a:xfrm>
            <a:off x="0" y="22860"/>
            <a:ext cx="8598724" cy="640080"/>
          </a:xfrm>
        </p:spPr>
        <p:txBody>
          <a:bodyPr/>
          <a:lstStyle/>
          <a:p>
            <a:r>
              <a:rPr lang="en-US" dirty="0"/>
              <a:t>Correlation</a:t>
            </a:r>
          </a:p>
        </p:txBody>
      </p:sp>
      <p:sp>
        <p:nvSpPr>
          <p:cNvPr id="3" name="Content Placeholder 2">
            <a:extLst>
              <a:ext uri="{FF2B5EF4-FFF2-40B4-BE49-F238E27FC236}">
                <a16:creationId xmlns:a16="http://schemas.microsoft.com/office/drawing/2014/main" id="{B7539B1F-DF25-4AA4-977D-D1A34E8A7D99}"/>
              </a:ext>
            </a:extLst>
          </p:cNvPr>
          <p:cNvSpPr>
            <a:spLocks noGrp="1"/>
          </p:cNvSpPr>
          <p:nvPr>
            <p:ph sz="half" idx="13"/>
          </p:nvPr>
        </p:nvSpPr>
        <p:spPr>
          <a:xfrm>
            <a:off x="0" y="505363"/>
            <a:ext cx="8918541" cy="3200400"/>
          </a:xfrm>
        </p:spPr>
        <p:txBody>
          <a:bodyPr/>
          <a:lstStyle/>
          <a:p>
            <a:r>
              <a:rPr lang="en-US" b="0" i="0" dirty="0">
                <a:solidFill>
                  <a:schemeClr val="bg2">
                    <a:lumMod val="50000"/>
                    <a:lumOff val="50000"/>
                  </a:schemeClr>
                </a:solidFill>
                <a:effectLst/>
                <a:latin typeface="Verdana" panose="020B0604030504040204" pitchFamily="34" charset="0"/>
              </a:rPr>
              <a:t>When two sets of data are strongly linked together, we say they have a </a:t>
            </a:r>
            <a:r>
              <a:rPr lang="en-US" b="1" i="0" dirty="0">
                <a:solidFill>
                  <a:schemeClr val="bg2">
                    <a:lumMod val="50000"/>
                    <a:lumOff val="50000"/>
                  </a:schemeClr>
                </a:solidFill>
                <a:effectLst/>
                <a:latin typeface="Verdana" panose="020B0604030504040204" pitchFamily="34" charset="0"/>
              </a:rPr>
              <a:t>High Correlation</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87DB1435-794D-4ED8-9D47-3925A9A143B1}"/>
              </a:ext>
            </a:extLst>
          </p:cNvPr>
          <p:cNvPicPr>
            <a:picLocks noChangeAspect="1"/>
          </p:cNvPicPr>
          <p:nvPr/>
        </p:nvPicPr>
        <p:blipFill>
          <a:blip r:embed="rId2"/>
          <a:stretch>
            <a:fillRect/>
          </a:stretch>
        </p:blipFill>
        <p:spPr>
          <a:xfrm>
            <a:off x="481667" y="794865"/>
            <a:ext cx="4467225" cy="2171700"/>
          </a:xfrm>
          <a:prstGeom prst="rect">
            <a:avLst/>
          </a:prstGeom>
        </p:spPr>
      </p:pic>
      <p:pic>
        <p:nvPicPr>
          <p:cNvPr id="7" name="Picture 6">
            <a:extLst>
              <a:ext uri="{FF2B5EF4-FFF2-40B4-BE49-F238E27FC236}">
                <a16:creationId xmlns:a16="http://schemas.microsoft.com/office/drawing/2014/main" id="{DE30AE90-61F3-4883-93FA-EA1B18A2BD3C}"/>
              </a:ext>
            </a:extLst>
          </p:cNvPr>
          <p:cNvPicPr>
            <a:picLocks noChangeAspect="1"/>
          </p:cNvPicPr>
          <p:nvPr/>
        </p:nvPicPr>
        <p:blipFill>
          <a:blip r:embed="rId3"/>
          <a:stretch>
            <a:fillRect/>
          </a:stretch>
        </p:blipFill>
        <p:spPr>
          <a:xfrm>
            <a:off x="5094349" y="794865"/>
            <a:ext cx="1524000" cy="2114550"/>
          </a:xfrm>
          <a:prstGeom prst="rect">
            <a:avLst/>
          </a:prstGeom>
        </p:spPr>
      </p:pic>
      <p:pic>
        <p:nvPicPr>
          <p:cNvPr id="9" name="Picture 8">
            <a:extLst>
              <a:ext uri="{FF2B5EF4-FFF2-40B4-BE49-F238E27FC236}">
                <a16:creationId xmlns:a16="http://schemas.microsoft.com/office/drawing/2014/main" id="{340E5063-21FB-4C74-8F96-B906EFD88A76}"/>
              </a:ext>
            </a:extLst>
          </p:cNvPr>
          <p:cNvPicPr>
            <a:picLocks noChangeAspect="1"/>
          </p:cNvPicPr>
          <p:nvPr/>
        </p:nvPicPr>
        <p:blipFill>
          <a:blip r:embed="rId4"/>
          <a:stretch>
            <a:fillRect/>
          </a:stretch>
        </p:blipFill>
        <p:spPr>
          <a:xfrm>
            <a:off x="1785465" y="3000375"/>
            <a:ext cx="3896379" cy="1992467"/>
          </a:xfrm>
          <a:prstGeom prst="rect">
            <a:avLst/>
          </a:prstGeom>
        </p:spPr>
      </p:pic>
    </p:spTree>
    <p:extLst>
      <p:ext uri="{BB962C8B-B14F-4D97-AF65-F5344CB8AC3E}">
        <p14:creationId xmlns:p14="http://schemas.microsoft.com/office/powerpoint/2010/main" val="3654578520"/>
      </p:ext>
    </p:extLst>
  </p:cSld>
  <p:clrMapOvr>
    <a:masterClrMapping/>
  </p:clrMapOvr>
  <p:transition spd="med">
    <p:wipe dir="r"/>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EB8EF-840C-4BAE-90C8-55442E57D1C8}"/>
              </a:ext>
            </a:extLst>
          </p:cNvPr>
          <p:cNvSpPr>
            <a:spLocks noGrp="1"/>
          </p:cNvSpPr>
          <p:nvPr>
            <p:ph type="title"/>
          </p:nvPr>
        </p:nvSpPr>
        <p:spPr>
          <a:xfrm>
            <a:off x="0" y="0"/>
            <a:ext cx="6351115" cy="640080"/>
          </a:xfrm>
        </p:spPr>
        <p:txBody>
          <a:bodyPr/>
          <a:lstStyle/>
          <a:p>
            <a:r>
              <a:rPr lang="en-US" dirty="0"/>
              <a:t>Correlation Coefficient</a:t>
            </a:r>
          </a:p>
        </p:txBody>
      </p:sp>
      <p:sp>
        <p:nvSpPr>
          <p:cNvPr id="3" name="Content Placeholder 2">
            <a:extLst>
              <a:ext uri="{FF2B5EF4-FFF2-40B4-BE49-F238E27FC236}">
                <a16:creationId xmlns:a16="http://schemas.microsoft.com/office/drawing/2014/main" id="{B7B7A0F1-C568-44EF-9828-F9D786C4428B}"/>
              </a:ext>
            </a:extLst>
          </p:cNvPr>
          <p:cNvSpPr>
            <a:spLocks noGrp="1"/>
          </p:cNvSpPr>
          <p:nvPr>
            <p:ph sz="half" idx="13"/>
          </p:nvPr>
        </p:nvSpPr>
        <p:spPr>
          <a:xfrm>
            <a:off x="148677" y="721748"/>
            <a:ext cx="7787756" cy="3200400"/>
          </a:xfrm>
        </p:spPr>
        <p:txBody>
          <a:bodyPr/>
          <a:lstStyle/>
          <a:p>
            <a:endParaRPr lang="en-US"/>
          </a:p>
        </p:txBody>
      </p:sp>
    </p:spTree>
    <p:extLst>
      <p:ext uri="{BB962C8B-B14F-4D97-AF65-F5344CB8AC3E}">
        <p14:creationId xmlns:p14="http://schemas.microsoft.com/office/powerpoint/2010/main" val="2423241985"/>
      </p:ext>
    </p:extLst>
  </p:cSld>
  <p:clrMapOvr>
    <a:masterClrMapping/>
  </p:clrMapOvr>
  <p:transition spd="med">
    <p:wipe dir="r"/>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47B85C-624C-45F4-9762-37B9DF7C8893}"/>
              </a:ext>
            </a:extLst>
          </p:cNvPr>
          <p:cNvSpPr>
            <a:spLocks noGrp="1"/>
          </p:cNvSpPr>
          <p:nvPr>
            <p:ph type="title"/>
          </p:nvPr>
        </p:nvSpPr>
        <p:spPr>
          <a:xfrm>
            <a:off x="0" y="22860"/>
            <a:ext cx="8535903" cy="640080"/>
          </a:xfrm>
        </p:spPr>
        <p:txBody>
          <a:bodyPr/>
          <a:lstStyle/>
          <a:p>
            <a:r>
              <a:rPr lang="en-US" dirty="0"/>
              <a:t>Correlation - continued</a:t>
            </a:r>
          </a:p>
        </p:txBody>
      </p:sp>
      <p:sp>
        <p:nvSpPr>
          <p:cNvPr id="3" name="Content Placeholder 2">
            <a:extLst>
              <a:ext uri="{FF2B5EF4-FFF2-40B4-BE49-F238E27FC236}">
                <a16:creationId xmlns:a16="http://schemas.microsoft.com/office/drawing/2014/main" id="{E1B18987-248B-423A-89C7-35FA1BCB556E}"/>
              </a:ext>
            </a:extLst>
          </p:cNvPr>
          <p:cNvSpPr>
            <a:spLocks noGrp="1"/>
          </p:cNvSpPr>
          <p:nvPr>
            <p:ph sz="half" idx="13"/>
          </p:nvPr>
        </p:nvSpPr>
        <p:spPr>
          <a:xfrm>
            <a:off x="63456" y="662940"/>
            <a:ext cx="8408990" cy="3200400"/>
          </a:xfrm>
        </p:spPr>
        <p:txBody>
          <a:bodyPr/>
          <a:lstStyle/>
          <a:p>
            <a:pPr marL="0" indent="0">
              <a:buNone/>
            </a:pPr>
            <a:r>
              <a:rPr lang="en-US" b="1" dirty="0">
                <a:solidFill>
                  <a:srgbClr val="FF0000"/>
                </a:solidFill>
                <a:effectLst/>
                <a:latin typeface="champ"/>
              </a:rPr>
              <a:t>Correlation Is Not Good at Curves</a:t>
            </a:r>
          </a:p>
          <a:p>
            <a:r>
              <a:rPr lang="en-US" b="1" dirty="0">
                <a:solidFill>
                  <a:schemeClr val="bg2">
                    <a:lumMod val="50000"/>
                    <a:lumOff val="50000"/>
                  </a:schemeClr>
                </a:solidFill>
              </a:rPr>
              <a:t>Ex: </a:t>
            </a:r>
            <a:r>
              <a:rPr lang="en-US" dirty="0">
                <a:solidFill>
                  <a:schemeClr val="bg2">
                    <a:lumMod val="50000"/>
                    <a:lumOff val="50000"/>
                  </a:schemeClr>
                </a:solidFill>
              </a:rPr>
              <a:t>Ice Cream shop keeps track of how much ice cream they sell versus the temperature on that day</a:t>
            </a:r>
          </a:p>
          <a:p>
            <a:r>
              <a:rPr lang="en-US" dirty="0">
                <a:solidFill>
                  <a:schemeClr val="bg2">
                    <a:lumMod val="50000"/>
                    <a:lumOff val="50000"/>
                  </a:schemeClr>
                </a:solidFill>
              </a:rPr>
              <a:t>The correlation calculation only works properly for straight line relationships</a:t>
            </a:r>
          </a:p>
          <a:p>
            <a:r>
              <a:rPr lang="en-US" b="1" dirty="0">
                <a:solidFill>
                  <a:schemeClr val="bg2">
                    <a:lumMod val="50000"/>
                    <a:lumOff val="50000"/>
                  </a:schemeClr>
                </a:solidFill>
              </a:rPr>
              <a:t>Ex: </a:t>
            </a:r>
            <a:r>
              <a:rPr lang="en-US" dirty="0">
                <a:solidFill>
                  <a:schemeClr val="bg2">
                    <a:lumMod val="50000"/>
                    <a:lumOff val="50000"/>
                  </a:schemeClr>
                </a:solidFill>
              </a:rPr>
              <a:t>there has been a heart wave! It gets so hot that people aren’t going to the shop, and sales start dropping</a:t>
            </a:r>
          </a:p>
        </p:txBody>
      </p:sp>
    </p:spTree>
    <p:extLst>
      <p:ext uri="{BB962C8B-B14F-4D97-AF65-F5344CB8AC3E}">
        <p14:creationId xmlns:p14="http://schemas.microsoft.com/office/powerpoint/2010/main" val="2055871581"/>
      </p:ext>
    </p:extLst>
  </p:cSld>
  <p:clrMapOvr>
    <a:masterClrMapping/>
  </p:clrMapOvr>
  <p:transition spd="med">
    <p:wipe dir="r"/>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DB2322-AFA8-42E4-8E76-348C567AB262}"/>
              </a:ext>
            </a:extLst>
          </p:cNvPr>
          <p:cNvSpPr>
            <a:spLocks noGrp="1"/>
          </p:cNvSpPr>
          <p:nvPr>
            <p:ph type="title"/>
          </p:nvPr>
        </p:nvSpPr>
        <p:spPr>
          <a:xfrm>
            <a:off x="0" y="0"/>
            <a:ext cx="8647585" cy="640080"/>
          </a:xfrm>
        </p:spPr>
        <p:txBody>
          <a:bodyPr/>
          <a:lstStyle/>
          <a:p>
            <a:r>
              <a:rPr lang="en-US" dirty="0"/>
              <a:t>Correlation is NOT Causation</a:t>
            </a:r>
          </a:p>
        </p:txBody>
      </p:sp>
      <p:sp>
        <p:nvSpPr>
          <p:cNvPr id="3" name="Content Placeholder 2">
            <a:extLst>
              <a:ext uri="{FF2B5EF4-FFF2-40B4-BE49-F238E27FC236}">
                <a16:creationId xmlns:a16="http://schemas.microsoft.com/office/drawing/2014/main" id="{910E7ECD-077C-4B0A-867E-43A7BDB6F0C6}"/>
              </a:ext>
            </a:extLst>
          </p:cNvPr>
          <p:cNvSpPr>
            <a:spLocks noGrp="1"/>
          </p:cNvSpPr>
          <p:nvPr>
            <p:ph sz="half" idx="13"/>
          </p:nvPr>
        </p:nvSpPr>
        <p:spPr>
          <a:xfrm>
            <a:off x="120757" y="728728"/>
            <a:ext cx="8647584" cy="3200400"/>
          </a:xfrm>
        </p:spPr>
        <p:txBody>
          <a:bodyPr/>
          <a:lstStyle/>
          <a:p>
            <a:pPr algn="l"/>
            <a:r>
              <a:rPr lang="en-US" b="0" i="0" dirty="0">
                <a:solidFill>
                  <a:schemeClr val="bg2">
                    <a:lumMod val="50000"/>
                    <a:lumOff val="50000"/>
                  </a:schemeClr>
                </a:solidFill>
                <a:effectLst/>
                <a:latin typeface="Verdana" panose="020B0604030504040204" pitchFamily="34" charset="0"/>
              </a:rPr>
              <a:t>A common saying is "Correlation Is Not Causation".</a:t>
            </a:r>
          </a:p>
          <a:p>
            <a:pPr algn="l"/>
            <a:r>
              <a:rPr lang="en-US" b="0" i="0" dirty="0">
                <a:solidFill>
                  <a:schemeClr val="bg2">
                    <a:lumMod val="50000"/>
                    <a:lumOff val="50000"/>
                  </a:schemeClr>
                </a:solidFill>
                <a:effectLst/>
                <a:latin typeface="Verdana" panose="020B0604030504040204" pitchFamily="34" charset="0"/>
              </a:rPr>
              <a:t>What it </a:t>
            </a:r>
            <a:r>
              <a:rPr lang="en-US" b="1" i="0" dirty="0">
                <a:solidFill>
                  <a:schemeClr val="bg2">
                    <a:lumMod val="50000"/>
                    <a:lumOff val="50000"/>
                  </a:schemeClr>
                </a:solidFill>
                <a:effectLst/>
                <a:latin typeface="Verdana" panose="020B0604030504040204" pitchFamily="34" charset="0"/>
              </a:rPr>
              <a:t>really</a:t>
            </a:r>
            <a:r>
              <a:rPr lang="en-US" b="0" i="0" dirty="0">
                <a:solidFill>
                  <a:schemeClr val="bg2">
                    <a:lumMod val="50000"/>
                    <a:lumOff val="50000"/>
                  </a:schemeClr>
                </a:solidFill>
                <a:effectLst/>
                <a:latin typeface="Verdana" panose="020B0604030504040204" pitchFamily="34" charset="0"/>
              </a:rPr>
              <a:t> means is that a correlation does </a:t>
            </a:r>
            <a:r>
              <a:rPr lang="en-US" b="1" i="0" dirty="0">
                <a:solidFill>
                  <a:schemeClr val="bg2">
                    <a:lumMod val="50000"/>
                    <a:lumOff val="50000"/>
                  </a:schemeClr>
                </a:solidFill>
                <a:effectLst/>
                <a:latin typeface="Verdana" panose="020B0604030504040204" pitchFamily="34" charset="0"/>
              </a:rPr>
              <a:t>not prove</a:t>
            </a:r>
            <a:r>
              <a:rPr lang="en-US" b="0" i="0" dirty="0">
                <a:solidFill>
                  <a:schemeClr val="bg2">
                    <a:lumMod val="50000"/>
                    <a:lumOff val="50000"/>
                  </a:schemeClr>
                </a:solidFill>
                <a:effectLst/>
                <a:latin typeface="Verdana" panose="020B0604030504040204" pitchFamily="34" charset="0"/>
              </a:rPr>
              <a:t> one thing causes the other:</a:t>
            </a:r>
          </a:p>
          <a:p>
            <a:pPr algn="l">
              <a:buFont typeface="Arial" panose="020B0604020202020204" pitchFamily="34" charset="0"/>
              <a:buChar char="•"/>
            </a:pPr>
            <a:r>
              <a:rPr lang="en-US" b="0" i="0" dirty="0">
                <a:solidFill>
                  <a:schemeClr val="bg2">
                    <a:lumMod val="50000"/>
                    <a:lumOff val="50000"/>
                  </a:schemeClr>
                </a:solidFill>
                <a:effectLst/>
                <a:latin typeface="Verdana" panose="020B0604030504040204" pitchFamily="34" charset="0"/>
              </a:rPr>
              <a:t>One thing </a:t>
            </a:r>
            <a:r>
              <a:rPr lang="en-US" b="1" i="0" dirty="0">
                <a:solidFill>
                  <a:schemeClr val="bg2">
                    <a:lumMod val="50000"/>
                    <a:lumOff val="50000"/>
                  </a:schemeClr>
                </a:solidFill>
                <a:effectLst/>
                <a:latin typeface="Verdana" panose="020B0604030504040204" pitchFamily="34" charset="0"/>
              </a:rPr>
              <a:t>might</a:t>
            </a:r>
            <a:r>
              <a:rPr lang="en-US" b="0" i="0" dirty="0">
                <a:solidFill>
                  <a:schemeClr val="bg2">
                    <a:lumMod val="50000"/>
                    <a:lumOff val="50000"/>
                  </a:schemeClr>
                </a:solidFill>
                <a:effectLst/>
                <a:latin typeface="Verdana" panose="020B0604030504040204" pitchFamily="34" charset="0"/>
              </a:rPr>
              <a:t> cause the other</a:t>
            </a:r>
          </a:p>
          <a:p>
            <a:pPr algn="l">
              <a:buFont typeface="Arial" panose="020B0604020202020204" pitchFamily="34" charset="0"/>
              <a:buChar char="•"/>
            </a:pPr>
            <a:r>
              <a:rPr lang="en-US" b="0" i="0" dirty="0">
                <a:solidFill>
                  <a:schemeClr val="bg2">
                    <a:lumMod val="50000"/>
                    <a:lumOff val="50000"/>
                  </a:schemeClr>
                </a:solidFill>
                <a:effectLst/>
                <a:latin typeface="Verdana" panose="020B0604030504040204" pitchFamily="34" charset="0"/>
              </a:rPr>
              <a:t>The other </a:t>
            </a:r>
            <a:r>
              <a:rPr lang="en-US" b="1" i="0" dirty="0">
                <a:solidFill>
                  <a:schemeClr val="bg2">
                    <a:lumMod val="50000"/>
                    <a:lumOff val="50000"/>
                  </a:schemeClr>
                </a:solidFill>
                <a:effectLst/>
                <a:latin typeface="Verdana" panose="020B0604030504040204" pitchFamily="34" charset="0"/>
              </a:rPr>
              <a:t>might</a:t>
            </a:r>
            <a:r>
              <a:rPr lang="en-US" b="0" i="0" dirty="0">
                <a:solidFill>
                  <a:schemeClr val="bg2">
                    <a:lumMod val="50000"/>
                    <a:lumOff val="50000"/>
                  </a:schemeClr>
                </a:solidFill>
                <a:effectLst/>
                <a:latin typeface="Verdana" panose="020B0604030504040204" pitchFamily="34" charset="0"/>
              </a:rPr>
              <a:t> cause the first to happen</a:t>
            </a:r>
          </a:p>
          <a:p>
            <a:pPr algn="l">
              <a:buFont typeface="Arial" panose="020B0604020202020204" pitchFamily="34" charset="0"/>
              <a:buChar char="•"/>
            </a:pPr>
            <a:r>
              <a:rPr lang="en-US" b="0" i="0" dirty="0">
                <a:solidFill>
                  <a:schemeClr val="bg2">
                    <a:lumMod val="50000"/>
                    <a:lumOff val="50000"/>
                  </a:schemeClr>
                </a:solidFill>
                <a:effectLst/>
                <a:latin typeface="Verdana" panose="020B0604030504040204" pitchFamily="34" charset="0"/>
              </a:rPr>
              <a:t>They may be linked by a different thing</a:t>
            </a:r>
          </a:p>
          <a:p>
            <a:pPr algn="l">
              <a:buFont typeface="Arial" panose="020B0604020202020204" pitchFamily="34" charset="0"/>
              <a:buChar char="•"/>
            </a:pPr>
            <a:r>
              <a:rPr lang="en-US" b="0" i="0" dirty="0">
                <a:solidFill>
                  <a:schemeClr val="bg2">
                    <a:lumMod val="50000"/>
                    <a:lumOff val="50000"/>
                  </a:schemeClr>
                </a:solidFill>
                <a:effectLst/>
                <a:latin typeface="Verdana" panose="020B0604030504040204" pitchFamily="34" charset="0"/>
              </a:rPr>
              <a:t>Or it could be random chance!</a:t>
            </a:r>
          </a:p>
          <a:p>
            <a:pPr algn="l"/>
            <a:r>
              <a:rPr lang="en-US" b="0" i="0" dirty="0">
                <a:solidFill>
                  <a:schemeClr val="bg2">
                    <a:lumMod val="50000"/>
                    <a:lumOff val="50000"/>
                  </a:schemeClr>
                </a:solidFill>
                <a:effectLst/>
                <a:latin typeface="Verdana" panose="020B0604030504040204" pitchFamily="34" charset="0"/>
              </a:rPr>
              <a:t>There can be many reasons the data has a good correlation.</a:t>
            </a:r>
          </a:p>
          <a:p>
            <a:endParaRPr lang="en-US" dirty="0"/>
          </a:p>
        </p:txBody>
      </p:sp>
    </p:spTree>
    <p:extLst>
      <p:ext uri="{BB962C8B-B14F-4D97-AF65-F5344CB8AC3E}">
        <p14:creationId xmlns:p14="http://schemas.microsoft.com/office/powerpoint/2010/main" val="2076917634"/>
      </p:ext>
    </p:extLst>
  </p:cSld>
  <p:clrMapOvr>
    <a:masterClrMapping/>
  </p:clrMapOvr>
  <p:transition spd="med">
    <p:wipe dir="r"/>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628B9C-5A0D-4151-ADA4-DBBD1CD8C76F}"/>
              </a:ext>
            </a:extLst>
          </p:cNvPr>
          <p:cNvSpPr>
            <a:spLocks noGrp="1"/>
          </p:cNvSpPr>
          <p:nvPr>
            <p:ph type="title"/>
          </p:nvPr>
        </p:nvSpPr>
        <p:spPr>
          <a:xfrm>
            <a:off x="0" y="22860"/>
            <a:ext cx="7063090" cy="640080"/>
          </a:xfrm>
        </p:spPr>
        <p:txBody>
          <a:bodyPr/>
          <a:lstStyle/>
          <a:p>
            <a:r>
              <a:rPr lang="en-US" dirty="0"/>
              <a:t>Correlation is NOT Causation</a:t>
            </a:r>
          </a:p>
        </p:txBody>
      </p:sp>
      <p:sp>
        <p:nvSpPr>
          <p:cNvPr id="3" name="Content Placeholder 2">
            <a:extLst>
              <a:ext uri="{FF2B5EF4-FFF2-40B4-BE49-F238E27FC236}">
                <a16:creationId xmlns:a16="http://schemas.microsoft.com/office/drawing/2014/main" id="{67945CBD-392E-471D-8A2A-A5126063986A}"/>
              </a:ext>
            </a:extLst>
          </p:cNvPr>
          <p:cNvSpPr>
            <a:spLocks noGrp="1"/>
          </p:cNvSpPr>
          <p:nvPr>
            <p:ph sz="half" idx="13"/>
          </p:nvPr>
        </p:nvSpPr>
        <p:spPr>
          <a:xfrm>
            <a:off x="50955" y="662940"/>
            <a:ext cx="8332208" cy="3200400"/>
          </a:xfrm>
        </p:spPr>
        <p:txBody>
          <a:bodyPr/>
          <a:lstStyle/>
          <a:p>
            <a:r>
              <a:rPr lang="en-US" dirty="0"/>
              <a:t>Ex : Sun glass vs Ice cream</a:t>
            </a:r>
          </a:p>
          <a:p>
            <a:endParaRPr lang="en-US" dirty="0"/>
          </a:p>
          <a:p>
            <a:endParaRPr lang="en-US" dirty="0"/>
          </a:p>
          <a:p>
            <a:endParaRPr lang="en-US" dirty="0"/>
          </a:p>
          <a:p>
            <a:endParaRPr lang="en-US" dirty="0"/>
          </a:p>
          <a:p>
            <a:endParaRPr lang="en-US" dirty="0"/>
          </a:p>
          <a:p>
            <a:r>
              <a:rPr lang="en-US" dirty="0"/>
              <a:t>Ex : </a:t>
            </a:r>
            <a:r>
              <a:rPr lang="en-US" b="0" i="0" dirty="0">
                <a:solidFill>
                  <a:srgbClr val="333333"/>
                </a:solidFill>
                <a:effectLst/>
                <a:latin typeface="Verdana" panose="020B0604030504040204" pitchFamily="34" charset="0"/>
              </a:rPr>
              <a:t>Poor suburbs are more likely to have high pollution.</a:t>
            </a:r>
          </a:p>
          <a:p>
            <a:endParaRPr lang="en-US" dirty="0"/>
          </a:p>
        </p:txBody>
      </p:sp>
    </p:spTree>
    <p:extLst>
      <p:ext uri="{BB962C8B-B14F-4D97-AF65-F5344CB8AC3E}">
        <p14:creationId xmlns:p14="http://schemas.microsoft.com/office/powerpoint/2010/main" val="1698398126"/>
      </p:ext>
    </p:extLst>
  </p:cSld>
  <p:clrMapOvr>
    <a:masterClrMapping/>
  </p:clrMapOvr>
  <p:transition spd="med">
    <p:wipe dir="r"/>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B2D5-35C4-4911-AD10-0C5D0D1708E4}"/>
              </a:ext>
            </a:extLst>
          </p:cNvPr>
          <p:cNvSpPr>
            <a:spLocks noGrp="1"/>
          </p:cNvSpPr>
          <p:nvPr>
            <p:ph type="title"/>
          </p:nvPr>
        </p:nvSpPr>
        <p:spPr>
          <a:xfrm>
            <a:off x="0" y="0"/>
            <a:ext cx="8068232" cy="640080"/>
          </a:xfrm>
        </p:spPr>
        <p:txBody>
          <a:bodyPr/>
          <a:lstStyle/>
          <a:p>
            <a:r>
              <a:rPr lang="en-US" dirty="0"/>
              <a:t>Correlation is NOT Causation </a:t>
            </a:r>
            <a:r>
              <a:rPr lang="en-US" dirty="0">
                <a:solidFill>
                  <a:schemeClr val="bg2">
                    <a:lumMod val="50000"/>
                    <a:lumOff val="50000"/>
                  </a:schemeClr>
                </a:solidFill>
              </a:rPr>
              <a:t>– </a:t>
            </a:r>
            <a:r>
              <a:rPr lang="en-US" i="1" dirty="0">
                <a:solidFill>
                  <a:schemeClr val="bg2">
                    <a:lumMod val="50000"/>
                    <a:lumOff val="50000"/>
                  </a:schemeClr>
                </a:solidFill>
              </a:rPr>
              <a:t>A real case</a:t>
            </a:r>
          </a:p>
        </p:txBody>
      </p:sp>
      <p:sp>
        <p:nvSpPr>
          <p:cNvPr id="3" name="Content Placeholder 2">
            <a:extLst>
              <a:ext uri="{FF2B5EF4-FFF2-40B4-BE49-F238E27FC236}">
                <a16:creationId xmlns:a16="http://schemas.microsoft.com/office/drawing/2014/main" id="{2E41632A-9F27-4921-A183-99DA3F674E36}"/>
              </a:ext>
            </a:extLst>
          </p:cNvPr>
          <p:cNvSpPr>
            <a:spLocks noGrp="1"/>
          </p:cNvSpPr>
          <p:nvPr>
            <p:ph sz="half" idx="13"/>
          </p:nvPr>
        </p:nvSpPr>
        <p:spPr>
          <a:xfrm>
            <a:off x="134716" y="910212"/>
            <a:ext cx="8004141" cy="3200400"/>
          </a:xfrm>
        </p:spPr>
        <p:txBody>
          <a:bodyPr/>
          <a:lstStyle/>
          <a:p>
            <a:r>
              <a:rPr lang="en-US" b="0" i="0" dirty="0">
                <a:solidFill>
                  <a:schemeClr val="bg2">
                    <a:lumMod val="50000"/>
                    <a:lumOff val="50000"/>
                  </a:schemeClr>
                </a:solidFill>
                <a:effectLst/>
                <a:latin typeface="Verdana" panose="020B0604030504040204" pitchFamily="34" charset="0"/>
              </a:rPr>
              <a:t>A few years ago, a survey of employees found a strong positive correlation between </a:t>
            </a:r>
            <a:r>
              <a:rPr lang="en-US" b="1" i="0" dirty="0">
                <a:solidFill>
                  <a:schemeClr val="bg2">
                    <a:lumMod val="50000"/>
                    <a:lumOff val="50000"/>
                  </a:schemeClr>
                </a:solidFill>
                <a:effectLst/>
                <a:latin typeface="Verdana" panose="020B0604030504040204" pitchFamily="34" charset="0"/>
              </a:rPr>
              <a:t>"Studying an external course"</a:t>
            </a:r>
            <a:r>
              <a:rPr lang="en-US" b="0" i="0" dirty="0">
                <a:solidFill>
                  <a:schemeClr val="bg2">
                    <a:lumMod val="50000"/>
                    <a:lumOff val="50000"/>
                  </a:schemeClr>
                </a:solidFill>
                <a:effectLst/>
                <a:latin typeface="Verdana" panose="020B0604030504040204" pitchFamily="34" charset="0"/>
              </a:rPr>
              <a:t> and </a:t>
            </a:r>
            <a:r>
              <a:rPr lang="en-US" b="1" i="0" dirty="0">
                <a:solidFill>
                  <a:schemeClr val="bg2">
                    <a:lumMod val="50000"/>
                    <a:lumOff val="50000"/>
                  </a:schemeClr>
                </a:solidFill>
                <a:effectLst/>
                <a:latin typeface="Verdana" panose="020B0604030504040204" pitchFamily="34" charset="0"/>
              </a:rPr>
              <a:t>Sick Days</a:t>
            </a:r>
            <a:r>
              <a:rPr lang="en-US" b="0" i="0" dirty="0">
                <a:solidFill>
                  <a:schemeClr val="bg2">
                    <a:lumMod val="50000"/>
                    <a:lumOff val="50000"/>
                  </a:schemeClr>
                </a:solidFill>
                <a:effectLst/>
                <a:latin typeface="Verdana" panose="020B0604030504040204" pitchFamily="34" charset="0"/>
              </a:rPr>
              <a:t>.</a:t>
            </a:r>
            <a:endParaRPr lang="en-US" dirty="0">
              <a:solidFill>
                <a:schemeClr val="bg2">
                  <a:lumMod val="50000"/>
                  <a:lumOff val="50000"/>
                </a:schemeClr>
              </a:solidFill>
            </a:endParaRPr>
          </a:p>
        </p:txBody>
      </p:sp>
    </p:spTree>
    <p:extLst>
      <p:ext uri="{BB962C8B-B14F-4D97-AF65-F5344CB8AC3E}">
        <p14:creationId xmlns:p14="http://schemas.microsoft.com/office/powerpoint/2010/main" val="3487960969"/>
      </p:ext>
    </p:extLst>
  </p:cSld>
  <p:clrMapOvr>
    <a:masterClrMapping/>
  </p:clrMapOvr>
  <p:transition spd="med">
    <p:wipe dir="r"/>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BC7D1-6911-4452-AC10-251435381AA2}"/>
              </a:ext>
            </a:extLst>
          </p:cNvPr>
          <p:cNvSpPr>
            <a:spLocks noGrp="1"/>
          </p:cNvSpPr>
          <p:nvPr>
            <p:ph type="title"/>
          </p:nvPr>
        </p:nvSpPr>
        <p:spPr>
          <a:xfrm>
            <a:off x="0" y="0"/>
            <a:ext cx="8235756" cy="640080"/>
          </a:xfrm>
        </p:spPr>
        <p:txBody>
          <a:bodyPr/>
          <a:lstStyle/>
          <a:p>
            <a:r>
              <a:rPr lang="en-US" dirty="0"/>
              <a:t>Skewness</a:t>
            </a:r>
          </a:p>
        </p:txBody>
      </p:sp>
      <p:sp>
        <p:nvSpPr>
          <p:cNvPr id="3" name="Content Placeholder 2">
            <a:extLst>
              <a:ext uri="{FF2B5EF4-FFF2-40B4-BE49-F238E27FC236}">
                <a16:creationId xmlns:a16="http://schemas.microsoft.com/office/drawing/2014/main" id="{EC2A8539-18AA-48D9-93FE-B8AA17B05C34}"/>
              </a:ext>
            </a:extLst>
          </p:cNvPr>
          <p:cNvSpPr>
            <a:spLocks noGrp="1"/>
          </p:cNvSpPr>
          <p:nvPr>
            <p:ph sz="half" idx="13"/>
          </p:nvPr>
        </p:nvSpPr>
        <p:spPr>
          <a:xfrm>
            <a:off x="155658" y="498191"/>
            <a:ext cx="8311268" cy="3200400"/>
          </a:xfrm>
        </p:spPr>
        <p:txBody>
          <a:bodyPr/>
          <a:lstStyle/>
          <a:p>
            <a:r>
              <a:rPr lang="en-US" b="0" i="0" dirty="0">
                <a:solidFill>
                  <a:schemeClr val="bg2">
                    <a:lumMod val="50000"/>
                    <a:lumOff val="50000"/>
                  </a:schemeClr>
                </a:solidFill>
                <a:effectLst/>
                <a:latin typeface="Verdana" panose="020B0604030504040204" pitchFamily="34" charset="0"/>
              </a:rPr>
              <a:t>Data can be "skewed", meaning it tends to have a </a:t>
            </a:r>
            <a:r>
              <a:rPr lang="en-US" b="1" i="0" dirty="0">
                <a:solidFill>
                  <a:schemeClr val="bg2">
                    <a:lumMod val="50000"/>
                    <a:lumOff val="50000"/>
                  </a:schemeClr>
                </a:solidFill>
                <a:effectLst/>
                <a:latin typeface="Verdana" panose="020B0604030504040204" pitchFamily="34" charset="0"/>
              </a:rPr>
              <a:t>long tail</a:t>
            </a:r>
            <a:r>
              <a:rPr lang="en-US" b="0" i="0" dirty="0">
                <a:solidFill>
                  <a:schemeClr val="bg2">
                    <a:lumMod val="50000"/>
                    <a:lumOff val="50000"/>
                  </a:schemeClr>
                </a:solidFill>
                <a:effectLst/>
                <a:latin typeface="Verdana" panose="020B0604030504040204" pitchFamily="34" charset="0"/>
              </a:rPr>
              <a:t> on one side or the other:</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8FBBD97A-BB9E-4561-B27E-EC40AECBB44A}"/>
              </a:ext>
            </a:extLst>
          </p:cNvPr>
          <p:cNvPicPr>
            <a:picLocks noChangeAspect="1"/>
          </p:cNvPicPr>
          <p:nvPr/>
        </p:nvPicPr>
        <p:blipFill>
          <a:blip r:embed="rId2"/>
          <a:stretch>
            <a:fillRect/>
          </a:stretch>
        </p:blipFill>
        <p:spPr>
          <a:xfrm>
            <a:off x="1981950" y="1102840"/>
            <a:ext cx="4495218" cy="1468910"/>
          </a:xfrm>
          <a:prstGeom prst="rect">
            <a:avLst/>
          </a:prstGeom>
        </p:spPr>
      </p:pic>
      <p:sp>
        <p:nvSpPr>
          <p:cNvPr id="6" name="TextBox 5">
            <a:extLst>
              <a:ext uri="{FF2B5EF4-FFF2-40B4-BE49-F238E27FC236}">
                <a16:creationId xmlns:a16="http://schemas.microsoft.com/office/drawing/2014/main" id="{4DDD0657-BEB3-45A9-9F5D-D0BE64ED2E00}"/>
              </a:ext>
            </a:extLst>
          </p:cNvPr>
          <p:cNvSpPr txBox="1"/>
          <p:nvPr/>
        </p:nvSpPr>
        <p:spPr>
          <a:xfrm>
            <a:off x="155658" y="3015426"/>
            <a:ext cx="8832684" cy="1446550"/>
          </a:xfrm>
          <a:prstGeom prst="rect">
            <a:avLst/>
          </a:prstGeom>
          <a:noFill/>
        </p:spPr>
        <p:txBody>
          <a:bodyPr wrap="square" rtlCol="0">
            <a:spAutoFit/>
          </a:bodyPr>
          <a:lstStyle/>
          <a:p>
            <a:pPr>
              <a:spcBef>
                <a:spcPts val="0"/>
              </a:spcBef>
              <a:spcAft>
                <a:spcPts val="0"/>
              </a:spcAft>
              <a:buClr>
                <a:schemeClr val="bg1"/>
              </a:buClr>
            </a:pPr>
            <a:r>
              <a:rPr lang="en-US" sz="1100" b="1" dirty="0">
                <a:solidFill>
                  <a:schemeClr val="bg2">
                    <a:lumMod val="50000"/>
                    <a:lumOff val="50000"/>
                  </a:schemeClr>
                </a:solidFill>
                <a:latin typeface="Verdana" panose="020B0604030504040204" pitchFamily="34" charset="0"/>
              </a:rPr>
              <a:t>Negative Skew : </a:t>
            </a:r>
            <a:r>
              <a:rPr lang="en-US" sz="1100" dirty="0">
                <a:solidFill>
                  <a:schemeClr val="bg2">
                    <a:lumMod val="50000"/>
                    <a:lumOff val="50000"/>
                  </a:schemeClr>
                </a:solidFill>
                <a:latin typeface="Verdana" panose="020B0604030504040204" pitchFamily="34" charset="0"/>
              </a:rPr>
              <a:t>Because the long "tail" is on the negative side of the peak. Some people say it is "skewed to the left" (the long tail is on the left-hand side) </a:t>
            </a:r>
            <a:r>
              <a:rPr lang="en-US" sz="1100" b="1" dirty="0">
                <a:solidFill>
                  <a:schemeClr val="bg2">
                    <a:lumMod val="50000"/>
                    <a:lumOff val="50000"/>
                  </a:schemeClr>
                </a:solidFill>
                <a:highlight>
                  <a:srgbClr val="FFFF00"/>
                </a:highlight>
                <a:latin typeface="Verdana" panose="020B0604030504040204" pitchFamily="34" charset="0"/>
              </a:rPr>
              <a:t>Mode &gt; Median &gt; mean</a:t>
            </a:r>
          </a:p>
          <a:p>
            <a:pPr>
              <a:spcBef>
                <a:spcPts val="0"/>
              </a:spcBef>
              <a:spcAft>
                <a:spcPts val="0"/>
              </a:spcAft>
              <a:buClr>
                <a:schemeClr val="bg1"/>
              </a:buClr>
            </a:pPr>
            <a:endParaRPr lang="en-US" sz="11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100" b="1" dirty="0">
                <a:solidFill>
                  <a:schemeClr val="bg2">
                    <a:lumMod val="50000"/>
                    <a:lumOff val="50000"/>
                  </a:schemeClr>
                </a:solidFill>
                <a:latin typeface="Verdana" panose="020B0604030504040204" pitchFamily="34" charset="0"/>
              </a:rPr>
              <a:t>Positive Skew : </a:t>
            </a:r>
            <a:r>
              <a:rPr lang="en-US" sz="1100" dirty="0">
                <a:solidFill>
                  <a:schemeClr val="bg2">
                    <a:lumMod val="50000"/>
                    <a:lumOff val="50000"/>
                  </a:schemeClr>
                </a:solidFill>
                <a:latin typeface="Verdana" panose="020B0604030504040204" pitchFamily="34" charset="0"/>
              </a:rPr>
              <a:t>And positive skew is when the long tail is on the positive side of the peak. Some people say it is "skewed to the right". </a:t>
            </a:r>
            <a:r>
              <a:rPr lang="en-US" sz="1100" b="1" dirty="0">
                <a:solidFill>
                  <a:schemeClr val="bg2">
                    <a:lumMod val="50000"/>
                    <a:lumOff val="50000"/>
                  </a:schemeClr>
                </a:solidFill>
                <a:highlight>
                  <a:srgbClr val="FFFF00"/>
                </a:highlight>
                <a:latin typeface="Verdana" panose="020B0604030504040204" pitchFamily="34" charset="0"/>
              </a:rPr>
              <a:t>Mean &gt; Median &gt; Mode</a:t>
            </a:r>
          </a:p>
          <a:p>
            <a:pPr>
              <a:spcBef>
                <a:spcPts val="0"/>
              </a:spcBef>
              <a:spcAft>
                <a:spcPts val="0"/>
              </a:spcAft>
              <a:buClr>
                <a:schemeClr val="bg1"/>
              </a:buClr>
            </a:pPr>
            <a:endParaRPr lang="en-US" sz="11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100" b="1" dirty="0">
                <a:solidFill>
                  <a:schemeClr val="bg2">
                    <a:lumMod val="50000"/>
                    <a:lumOff val="50000"/>
                  </a:schemeClr>
                </a:solidFill>
                <a:latin typeface="Verdana" panose="020B0604030504040204" pitchFamily="34" charset="0"/>
              </a:rPr>
              <a:t>No Skew/ Normal distribution : </a:t>
            </a:r>
            <a:r>
              <a:rPr lang="en-US" sz="1100" dirty="0">
                <a:solidFill>
                  <a:schemeClr val="bg2">
                    <a:lumMod val="50000"/>
                    <a:lumOff val="50000"/>
                  </a:schemeClr>
                </a:solidFill>
                <a:latin typeface="Verdana" panose="020B0604030504040204" pitchFamily="34" charset="0"/>
              </a:rPr>
              <a:t>A </a:t>
            </a:r>
            <a:r>
              <a:rPr lang="en-US" sz="1100" dirty="0">
                <a:solidFill>
                  <a:schemeClr val="bg2">
                    <a:lumMod val="50000"/>
                    <a:lumOff val="50000"/>
                  </a:schemeClr>
                </a:solidFill>
                <a:latin typeface="Verdana" panose="020B0604030504040204" pitchFamily="34" charset="0"/>
                <a:hlinkClick r:id="rId3">
                  <a:extLst>
                    <a:ext uri="{A12FA001-AC4F-418D-AE19-62706E023703}">
                      <ahyp:hlinkClr xmlns:ahyp="http://schemas.microsoft.com/office/drawing/2018/hyperlinkcolor" val="tx"/>
                    </a:ext>
                  </a:extLst>
                </a:hlinkClick>
              </a:rPr>
              <a:t>Normal Distribution</a:t>
            </a:r>
            <a:r>
              <a:rPr lang="en-US" sz="1100" dirty="0">
                <a:solidFill>
                  <a:schemeClr val="bg2">
                    <a:lumMod val="50000"/>
                    <a:lumOff val="50000"/>
                  </a:schemeClr>
                </a:solidFill>
                <a:latin typeface="Verdana" panose="020B0604030504040204" pitchFamily="34" charset="0"/>
              </a:rPr>
              <a:t> is not skewed. It is perfectly symmetrical. And the Mean is exactly at the peak.  </a:t>
            </a:r>
            <a:r>
              <a:rPr lang="en-US" sz="1100" b="1" dirty="0">
                <a:solidFill>
                  <a:schemeClr val="bg2">
                    <a:lumMod val="50000"/>
                    <a:lumOff val="50000"/>
                  </a:schemeClr>
                </a:solidFill>
                <a:highlight>
                  <a:srgbClr val="FFFF00"/>
                </a:highlight>
                <a:latin typeface="Verdana" panose="020B0604030504040204" pitchFamily="34" charset="0"/>
              </a:rPr>
              <a:t>Mean = Median = Mode</a:t>
            </a:r>
          </a:p>
        </p:txBody>
      </p:sp>
    </p:spTree>
    <p:extLst>
      <p:ext uri="{BB962C8B-B14F-4D97-AF65-F5344CB8AC3E}">
        <p14:creationId xmlns:p14="http://schemas.microsoft.com/office/powerpoint/2010/main" val="633646377"/>
      </p:ext>
    </p:extLst>
  </p:cSld>
  <p:clrMapOvr>
    <a:masterClrMapping/>
  </p:clrMapOvr>
  <p:transition spd="med">
    <p:wipe dir="r"/>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E2DA9-FC9E-43CF-BAE3-A7A2B4DFF999}"/>
              </a:ext>
            </a:extLst>
          </p:cNvPr>
          <p:cNvSpPr>
            <a:spLocks noGrp="1"/>
          </p:cNvSpPr>
          <p:nvPr>
            <p:ph type="title"/>
          </p:nvPr>
        </p:nvSpPr>
        <p:spPr>
          <a:xfrm>
            <a:off x="0" y="0"/>
            <a:ext cx="4295219" cy="640080"/>
          </a:xfrm>
        </p:spPr>
        <p:txBody>
          <a:bodyPr/>
          <a:lstStyle/>
          <a:p>
            <a:r>
              <a:rPr lang="en-US" dirty="0"/>
              <a:t>Skewness</a:t>
            </a:r>
          </a:p>
        </p:txBody>
      </p:sp>
      <p:sp>
        <p:nvSpPr>
          <p:cNvPr id="3" name="Content Placeholder 2">
            <a:extLst>
              <a:ext uri="{FF2B5EF4-FFF2-40B4-BE49-F238E27FC236}">
                <a16:creationId xmlns:a16="http://schemas.microsoft.com/office/drawing/2014/main" id="{1A728B14-3F80-43DF-8D1E-D9AD7B3827AB}"/>
              </a:ext>
            </a:extLst>
          </p:cNvPr>
          <p:cNvSpPr>
            <a:spLocks noGrp="1"/>
          </p:cNvSpPr>
          <p:nvPr>
            <p:ph sz="half" idx="13"/>
          </p:nvPr>
        </p:nvSpPr>
        <p:spPr>
          <a:xfrm>
            <a:off x="97704" y="735708"/>
            <a:ext cx="8395030" cy="3200400"/>
          </a:xfrm>
        </p:spPr>
        <p:txBody>
          <a:bodyPr/>
          <a:lstStyle/>
          <a:p>
            <a:pPr marL="0" indent="0" algn="l">
              <a:buNone/>
            </a:pPr>
            <a:r>
              <a:rPr lang="en-US" sz="1800" b="1" i="1" dirty="0">
                <a:solidFill>
                  <a:schemeClr val="bg2">
                    <a:lumMod val="50000"/>
                    <a:lumOff val="50000"/>
                  </a:schemeClr>
                </a:solidFill>
                <a:effectLst/>
                <a:latin typeface="Lato" panose="020F0502020204030203" pitchFamily="34" charset="0"/>
              </a:rPr>
              <a:t>Rule of Thumb</a:t>
            </a:r>
            <a:endParaRPr lang="en-US" b="1" i="1" dirty="0">
              <a:solidFill>
                <a:schemeClr val="bg2">
                  <a:lumMod val="50000"/>
                  <a:lumOff val="50000"/>
                </a:schemeClr>
              </a:solidFill>
              <a:latin typeface="Lato" panose="020F0502020204030203" pitchFamily="34" charset="0"/>
            </a:endParaRPr>
          </a:p>
          <a:p>
            <a:pPr algn="l"/>
            <a:r>
              <a:rPr lang="en-US" b="1" i="1" dirty="0">
                <a:solidFill>
                  <a:schemeClr val="bg2">
                    <a:lumMod val="50000"/>
                    <a:lumOff val="50000"/>
                  </a:schemeClr>
                </a:solidFill>
                <a:effectLst/>
                <a:latin typeface="Lato" panose="020F0502020204030203" pitchFamily="34" charset="0"/>
              </a:rPr>
              <a:t>If the skewness is between -0.5 &amp; 0.5, the data are nearly symmetrical.</a:t>
            </a:r>
            <a:endParaRPr lang="en-US" b="0" i="0" dirty="0">
              <a:solidFill>
                <a:schemeClr val="bg2">
                  <a:lumMod val="50000"/>
                  <a:lumOff val="50000"/>
                </a:schemeClr>
              </a:solidFill>
              <a:effectLst/>
              <a:latin typeface="Lato" panose="020F0502020204030203" pitchFamily="34" charset="0"/>
            </a:endParaRPr>
          </a:p>
          <a:p>
            <a:pPr algn="l"/>
            <a:r>
              <a:rPr lang="en-US" b="1" i="1" dirty="0">
                <a:solidFill>
                  <a:schemeClr val="bg2">
                    <a:lumMod val="50000"/>
                    <a:lumOff val="50000"/>
                  </a:schemeClr>
                </a:solidFill>
                <a:effectLst/>
                <a:latin typeface="Lato" panose="020F0502020204030203" pitchFamily="34" charset="0"/>
              </a:rPr>
              <a:t>If the skewness is between -1 &amp; -0.5 (negative skewed) or between 0.5 &amp; 1(positive skewed), the data are slightly skewed.</a:t>
            </a:r>
            <a:endParaRPr lang="en-US" b="0" i="0" dirty="0">
              <a:solidFill>
                <a:schemeClr val="bg2">
                  <a:lumMod val="50000"/>
                  <a:lumOff val="50000"/>
                </a:schemeClr>
              </a:solidFill>
              <a:effectLst/>
              <a:latin typeface="Lato" panose="020F0502020204030203" pitchFamily="34" charset="0"/>
            </a:endParaRPr>
          </a:p>
          <a:p>
            <a:pPr algn="l"/>
            <a:r>
              <a:rPr lang="en-US" b="1" i="1" dirty="0">
                <a:solidFill>
                  <a:schemeClr val="bg2">
                    <a:lumMod val="50000"/>
                    <a:lumOff val="50000"/>
                  </a:schemeClr>
                </a:solidFill>
                <a:effectLst/>
                <a:latin typeface="Lato" panose="020F0502020204030203" pitchFamily="34" charset="0"/>
              </a:rPr>
              <a:t>If the skewness is lower than -1 (negative skewed) or greater than 1 (positive skewed), the data are extremely skewed.</a:t>
            </a:r>
            <a:endParaRPr lang="en-US" b="0" i="0" dirty="0">
              <a:solidFill>
                <a:schemeClr val="bg2">
                  <a:lumMod val="50000"/>
                  <a:lumOff val="50000"/>
                </a:schemeClr>
              </a:solidFill>
              <a:effectLst/>
              <a:latin typeface="Lato" panose="020F0502020204030203" pitchFamily="34" charset="0"/>
            </a:endParaRPr>
          </a:p>
          <a:p>
            <a:endParaRPr lang="en-US" dirty="0"/>
          </a:p>
        </p:txBody>
      </p:sp>
      <p:pic>
        <p:nvPicPr>
          <p:cNvPr id="5" name="Picture 4">
            <a:extLst>
              <a:ext uri="{FF2B5EF4-FFF2-40B4-BE49-F238E27FC236}">
                <a16:creationId xmlns:a16="http://schemas.microsoft.com/office/drawing/2014/main" id="{C3E07149-6BD1-4596-AA71-BFF198CA823C}"/>
              </a:ext>
            </a:extLst>
          </p:cNvPr>
          <p:cNvPicPr>
            <a:picLocks noChangeAspect="1"/>
          </p:cNvPicPr>
          <p:nvPr/>
        </p:nvPicPr>
        <p:blipFill>
          <a:blip r:embed="rId2"/>
          <a:stretch>
            <a:fillRect/>
          </a:stretch>
        </p:blipFill>
        <p:spPr>
          <a:xfrm>
            <a:off x="2351446" y="2635495"/>
            <a:ext cx="3979552" cy="2472024"/>
          </a:xfrm>
          <a:prstGeom prst="rect">
            <a:avLst/>
          </a:prstGeom>
        </p:spPr>
      </p:pic>
    </p:spTree>
    <p:extLst>
      <p:ext uri="{BB962C8B-B14F-4D97-AF65-F5344CB8AC3E}">
        <p14:creationId xmlns:p14="http://schemas.microsoft.com/office/powerpoint/2010/main" val="2357723908"/>
      </p:ext>
    </p:extLst>
  </p:cSld>
  <p:clrMapOvr>
    <a:masterClrMapping/>
  </p:clrMapOvr>
  <p:transition spd="med">
    <p:wipe dir="r"/>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36DAF-09E4-47BA-9652-085B74E6F8F5}"/>
              </a:ext>
            </a:extLst>
          </p:cNvPr>
          <p:cNvSpPr>
            <a:spLocks noGrp="1"/>
          </p:cNvSpPr>
          <p:nvPr>
            <p:ph type="title"/>
          </p:nvPr>
        </p:nvSpPr>
        <p:spPr>
          <a:xfrm>
            <a:off x="0" y="0"/>
            <a:ext cx="7698284" cy="640080"/>
          </a:xfrm>
        </p:spPr>
        <p:txBody>
          <a:bodyPr/>
          <a:lstStyle/>
          <a:p>
            <a:r>
              <a:rPr lang="en-US" dirty="0"/>
              <a:t>Kurtosis</a:t>
            </a:r>
          </a:p>
        </p:txBody>
      </p:sp>
      <p:sp>
        <p:nvSpPr>
          <p:cNvPr id="3" name="Content Placeholder 2">
            <a:extLst>
              <a:ext uri="{FF2B5EF4-FFF2-40B4-BE49-F238E27FC236}">
                <a16:creationId xmlns:a16="http://schemas.microsoft.com/office/drawing/2014/main" id="{DE4415F1-A054-4D2C-B846-68D88051A638}"/>
              </a:ext>
            </a:extLst>
          </p:cNvPr>
          <p:cNvSpPr>
            <a:spLocks noGrp="1"/>
          </p:cNvSpPr>
          <p:nvPr>
            <p:ph sz="half" idx="13"/>
          </p:nvPr>
        </p:nvSpPr>
        <p:spPr>
          <a:xfrm>
            <a:off x="0" y="640080"/>
            <a:ext cx="8806859" cy="3200400"/>
          </a:xfrm>
        </p:spPr>
        <p:txBody>
          <a:bodyPr/>
          <a:lstStyle/>
          <a:p>
            <a:r>
              <a:rPr lang="en-US" dirty="0"/>
              <a:t>Kurtosis is all about the tails of distribution. Kurtosis refers to the degree of presence of outliers in the distribution.</a:t>
            </a:r>
          </a:p>
          <a:p>
            <a:r>
              <a:rPr lang="en-US" dirty="0"/>
              <a:t>Kurtosis is a statistical measure, whether the data is heavy-tailed or light-tailed in a normal distribution</a:t>
            </a:r>
          </a:p>
        </p:txBody>
      </p:sp>
      <p:pic>
        <p:nvPicPr>
          <p:cNvPr id="5" name="Picture 4">
            <a:extLst>
              <a:ext uri="{FF2B5EF4-FFF2-40B4-BE49-F238E27FC236}">
                <a16:creationId xmlns:a16="http://schemas.microsoft.com/office/drawing/2014/main" id="{970CD22C-2AFE-44F1-8CF3-3589424ED694}"/>
              </a:ext>
            </a:extLst>
          </p:cNvPr>
          <p:cNvPicPr>
            <a:picLocks noChangeAspect="1"/>
          </p:cNvPicPr>
          <p:nvPr/>
        </p:nvPicPr>
        <p:blipFill>
          <a:blip r:embed="rId2"/>
          <a:stretch>
            <a:fillRect/>
          </a:stretch>
        </p:blipFill>
        <p:spPr>
          <a:xfrm>
            <a:off x="168664" y="2067179"/>
            <a:ext cx="4234765" cy="2055774"/>
          </a:xfrm>
          <a:prstGeom prst="rect">
            <a:avLst/>
          </a:prstGeom>
        </p:spPr>
      </p:pic>
    </p:spTree>
    <p:extLst>
      <p:ext uri="{BB962C8B-B14F-4D97-AF65-F5344CB8AC3E}">
        <p14:creationId xmlns:p14="http://schemas.microsoft.com/office/powerpoint/2010/main" val="2555396937"/>
      </p:ext>
    </p:extLst>
  </p:cSld>
  <p:clrMapOvr>
    <a:masterClrMapping/>
  </p:clrMapOvr>
  <p:transition spd="med">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p:spTree>
    <p:extLst>
      <p:ext uri="{BB962C8B-B14F-4D97-AF65-F5344CB8AC3E}">
        <p14:creationId xmlns:p14="http://schemas.microsoft.com/office/powerpoint/2010/main" val="2922280354"/>
      </p:ext>
    </p:extLst>
  </p:cSld>
  <p:clrMapOvr>
    <a:masterClrMapping/>
  </p:clrMapOvr>
  <p:transition spd="med">
    <p:wipe dir="r"/>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C892D-1961-44E5-A4AD-FA93118FA777}"/>
              </a:ext>
            </a:extLst>
          </p:cNvPr>
          <p:cNvSpPr>
            <a:spLocks noGrp="1"/>
          </p:cNvSpPr>
          <p:nvPr>
            <p:ph type="title"/>
          </p:nvPr>
        </p:nvSpPr>
        <p:spPr>
          <a:xfrm>
            <a:off x="0" y="22860"/>
            <a:ext cx="8431200" cy="640080"/>
          </a:xfrm>
        </p:spPr>
        <p:txBody>
          <a:bodyPr/>
          <a:lstStyle/>
          <a:p>
            <a:r>
              <a:rPr lang="en-US" dirty="0"/>
              <a:t>Kurtosis - </a:t>
            </a:r>
            <a:r>
              <a:rPr lang="en-US" dirty="0">
                <a:solidFill>
                  <a:schemeClr val="bg2">
                    <a:lumMod val="50000"/>
                    <a:lumOff val="50000"/>
                  </a:schemeClr>
                </a:solidFill>
              </a:rPr>
              <a:t>Leptokurtic (kurtosis &gt; 3)</a:t>
            </a:r>
          </a:p>
        </p:txBody>
      </p:sp>
      <p:sp>
        <p:nvSpPr>
          <p:cNvPr id="3" name="Content Placeholder 2">
            <a:extLst>
              <a:ext uri="{FF2B5EF4-FFF2-40B4-BE49-F238E27FC236}">
                <a16:creationId xmlns:a16="http://schemas.microsoft.com/office/drawing/2014/main" id="{CBF641C7-38B0-421A-8550-68564CC3C5F8}"/>
              </a:ext>
            </a:extLst>
          </p:cNvPr>
          <p:cNvSpPr>
            <a:spLocks noGrp="1"/>
          </p:cNvSpPr>
          <p:nvPr>
            <p:ph sz="half" idx="13"/>
          </p:nvPr>
        </p:nvSpPr>
        <p:spPr>
          <a:xfrm>
            <a:off x="0" y="791550"/>
            <a:ext cx="8869680" cy="890667"/>
          </a:xfrm>
        </p:spPr>
        <p:txBody>
          <a:bodyPr/>
          <a:lstStyle/>
          <a:p>
            <a:r>
              <a:rPr lang="en-US" b="0" i="0" dirty="0">
                <a:solidFill>
                  <a:schemeClr val="bg2">
                    <a:lumMod val="50000"/>
                    <a:lumOff val="50000"/>
                  </a:schemeClr>
                </a:solidFill>
                <a:effectLst/>
                <a:latin typeface="Lato" panose="020F0502020204030203" pitchFamily="34" charset="0"/>
              </a:rPr>
              <a:t>Leptokurtic is having very long and skinny tails, which means there are more chances of outliers. Positive values of kurtosis indicate that distribution is peaked and possesses thick tails. An extreme positive kurtosis indicates a distribution where more of the numbers are located in the tails of the distribution instead of around the mean.</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A34C54AF-5930-4EB6-95C1-86BFA7B9F549}"/>
              </a:ext>
            </a:extLst>
          </p:cNvPr>
          <p:cNvPicPr>
            <a:picLocks noChangeAspect="1"/>
          </p:cNvPicPr>
          <p:nvPr/>
        </p:nvPicPr>
        <p:blipFill>
          <a:blip r:embed="rId2"/>
          <a:stretch>
            <a:fillRect/>
          </a:stretch>
        </p:blipFill>
        <p:spPr>
          <a:xfrm>
            <a:off x="1090902" y="2058516"/>
            <a:ext cx="3534349" cy="2805536"/>
          </a:xfrm>
          <a:prstGeom prst="rect">
            <a:avLst/>
          </a:prstGeom>
        </p:spPr>
      </p:pic>
    </p:spTree>
    <p:extLst>
      <p:ext uri="{BB962C8B-B14F-4D97-AF65-F5344CB8AC3E}">
        <p14:creationId xmlns:p14="http://schemas.microsoft.com/office/powerpoint/2010/main" val="3302442963"/>
      </p:ext>
    </p:extLst>
  </p:cSld>
  <p:clrMapOvr>
    <a:masterClrMapping/>
  </p:clrMapOvr>
  <p:transition spd="med">
    <p:wipe dir="r"/>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D1DC36-0840-4E35-B30B-224D7E91E11B}"/>
              </a:ext>
            </a:extLst>
          </p:cNvPr>
          <p:cNvSpPr>
            <a:spLocks noGrp="1"/>
          </p:cNvSpPr>
          <p:nvPr>
            <p:ph type="title"/>
          </p:nvPr>
        </p:nvSpPr>
        <p:spPr>
          <a:xfrm>
            <a:off x="0" y="0"/>
            <a:ext cx="8110113" cy="640080"/>
          </a:xfrm>
        </p:spPr>
        <p:txBody>
          <a:bodyPr/>
          <a:lstStyle/>
          <a:p>
            <a:r>
              <a:rPr lang="en-US" dirty="0"/>
              <a:t>Kurtosis - </a:t>
            </a:r>
            <a:r>
              <a:rPr lang="en-US" dirty="0">
                <a:solidFill>
                  <a:schemeClr val="bg2">
                    <a:lumMod val="50000"/>
                    <a:lumOff val="50000"/>
                  </a:schemeClr>
                </a:solidFill>
              </a:rPr>
              <a:t>Platykurtic (kurtosis &lt; 3)</a:t>
            </a:r>
          </a:p>
        </p:txBody>
      </p:sp>
      <p:sp>
        <p:nvSpPr>
          <p:cNvPr id="3" name="Content Placeholder 2">
            <a:extLst>
              <a:ext uri="{FF2B5EF4-FFF2-40B4-BE49-F238E27FC236}">
                <a16:creationId xmlns:a16="http://schemas.microsoft.com/office/drawing/2014/main" id="{C1A348E2-3B83-4682-B9AF-C9B580C0A291}"/>
              </a:ext>
            </a:extLst>
          </p:cNvPr>
          <p:cNvSpPr>
            <a:spLocks noGrp="1"/>
          </p:cNvSpPr>
          <p:nvPr>
            <p:ph sz="half" idx="13"/>
          </p:nvPr>
        </p:nvSpPr>
        <p:spPr>
          <a:xfrm>
            <a:off x="78875" y="640080"/>
            <a:ext cx="8548593" cy="3200400"/>
          </a:xfrm>
        </p:spPr>
        <p:txBody>
          <a:bodyPr/>
          <a:lstStyle/>
          <a:p>
            <a:r>
              <a:rPr lang="en-US" dirty="0">
                <a:solidFill>
                  <a:schemeClr val="bg2">
                    <a:lumMod val="50000"/>
                    <a:lumOff val="50000"/>
                  </a:schemeClr>
                </a:solidFill>
              </a:rPr>
              <a:t>Platykurtic having a lower tail and stretched around center tails means most of the data points are present in high proximity with mean. A platykurtic distribution is flatter (less peaked) when compared with the normal distribution.</a:t>
            </a:r>
          </a:p>
        </p:txBody>
      </p:sp>
      <p:pic>
        <p:nvPicPr>
          <p:cNvPr id="8" name="Picture 7">
            <a:extLst>
              <a:ext uri="{FF2B5EF4-FFF2-40B4-BE49-F238E27FC236}">
                <a16:creationId xmlns:a16="http://schemas.microsoft.com/office/drawing/2014/main" id="{58284D4D-EB37-494A-B483-7B1DFF69FA8B}"/>
              </a:ext>
            </a:extLst>
          </p:cNvPr>
          <p:cNvPicPr>
            <a:picLocks noChangeAspect="1"/>
          </p:cNvPicPr>
          <p:nvPr/>
        </p:nvPicPr>
        <p:blipFill>
          <a:blip r:embed="rId2"/>
          <a:stretch>
            <a:fillRect/>
          </a:stretch>
        </p:blipFill>
        <p:spPr>
          <a:xfrm>
            <a:off x="2094809" y="1640118"/>
            <a:ext cx="2371725" cy="2114550"/>
          </a:xfrm>
          <a:prstGeom prst="rect">
            <a:avLst/>
          </a:prstGeom>
        </p:spPr>
      </p:pic>
    </p:spTree>
    <p:extLst>
      <p:ext uri="{BB962C8B-B14F-4D97-AF65-F5344CB8AC3E}">
        <p14:creationId xmlns:p14="http://schemas.microsoft.com/office/powerpoint/2010/main" val="3664753248"/>
      </p:ext>
    </p:extLst>
  </p:cSld>
  <p:clrMapOvr>
    <a:masterClrMapping/>
  </p:clrMapOvr>
  <p:transition spd="med">
    <p:wipe dir="r"/>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BD3B66-C560-43BB-929F-0BCAB624A02E}"/>
              </a:ext>
            </a:extLst>
          </p:cNvPr>
          <p:cNvSpPr>
            <a:spLocks noGrp="1"/>
          </p:cNvSpPr>
          <p:nvPr>
            <p:ph type="title"/>
          </p:nvPr>
        </p:nvSpPr>
        <p:spPr>
          <a:xfrm>
            <a:off x="0" y="22860"/>
            <a:ext cx="8507982" cy="640080"/>
          </a:xfrm>
        </p:spPr>
        <p:txBody>
          <a:bodyPr/>
          <a:lstStyle/>
          <a:p>
            <a:r>
              <a:rPr lang="en-US" dirty="0"/>
              <a:t>Kurtosis - </a:t>
            </a:r>
            <a:r>
              <a:rPr lang="en-US" dirty="0">
                <a:solidFill>
                  <a:schemeClr val="bg2">
                    <a:lumMod val="50000"/>
                    <a:lumOff val="50000"/>
                  </a:schemeClr>
                </a:solidFill>
              </a:rPr>
              <a:t>Mesokurtic (kurtosis = 3)</a:t>
            </a:r>
            <a:endParaRPr lang="en-US" dirty="0"/>
          </a:p>
        </p:txBody>
      </p:sp>
      <p:sp>
        <p:nvSpPr>
          <p:cNvPr id="3" name="Content Placeholder 2">
            <a:extLst>
              <a:ext uri="{FF2B5EF4-FFF2-40B4-BE49-F238E27FC236}">
                <a16:creationId xmlns:a16="http://schemas.microsoft.com/office/drawing/2014/main" id="{42AA9797-89B3-4E5D-9561-7929FC4FB959}"/>
              </a:ext>
            </a:extLst>
          </p:cNvPr>
          <p:cNvSpPr>
            <a:spLocks noGrp="1"/>
          </p:cNvSpPr>
          <p:nvPr>
            <p:ph sz="half" idx="13"/>
          </p:nvPr>
        </p:nvSpPr>
        <p:spPr>
          <a:xfrm>
            <a:off x="78875" y="868331"/>
            <a:ext cx="8507981" cy="3200400"/>
          </a:xfrm>
        </p:spPr>
        <p:txBody>
          <a:bodyPr/>
          <a:lstStyle/>
          <a:p>
            <a:r>
              <a:rPr lang="en-US" dirty="0">
                <a:solidFill>
                  <a:schemeClr val="bg2">
                    <a:lumMod val="50000"/>
                    <a:lumOff val="50000"/>
                  </a:schemeClr>
                </a:solidFill>
              </a:rPr>
              <a:t>Mesokurtic is the same as the normal distribution, which means kurtosis is near to 0. In Mesokurtic, distributions are moderate in breadth, and curves are a medium peaked height.</a:t>
            </a:r>
          </a:p>
        </p:txBody>
      </p:sp>
      <p:pic>
        <p:nvPicPr>
          <p:cNvPr id="5" name="Picture 4">
            <a:extLst>
              <a:ext uri="{FF2B5EF4-FFF2-40B4-BE49-F238E27FC236}">
                <a16:creationId xmlns:a16="http://schemas.microsoft.com/office/drawing/2014/main" id="{0246CFAA-AEB4-42F8-9CCF-6276C5303CE0}"/>
              </a:ext>
            </a:extLst>
          </p:cNvPr>
          <p:cNvPicPr>
            <a:picLocks noChangeAspect="1"/>
          </p:cNvPicPr>
          <p:nvPr/>
        </p:nvPicPr>
        <p:blipFill>
          <a:blip r:embed="rId2"/>
          <a:stretch>
            <a:fillRect/>
          </a:stretch>
        </p:blipFill>
        <p:spPr>
          <a:xfrm>
            <a:off x="2197876" y="1662723"/>
            <a:ext cx="3225703" cy="2482942"/>
          </a:xfrm>
          <a:prstGeom prst="rect">
            <a:avLst/>
          </a:prstGeom>
        </p:spPr>
      </p:pic>
    </p:spTree>
    <p:extLst>
      <p:ext uri="{BB962C8B-B14F-4D97-AF65-F5344CB8AC3E}">
        <p14:creationId xmlns:p14="http://schemas.microsoft.com/office/powerpoint/2010/main" val="2343888370"/>
      </p:ext>
    </p:extLst>
  </p:cSld>
  <p:clrMapOvr>
    <a:masterClrMapping/>
  </p:clrMapOvr>
  <p:transition spd="med">
    <p:wipe dir="r"/>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461446-94EF-491C-91FC-F2F21BE21A13}"/>
              </a:ext>
            </a:extLst>
          </p:cNvPr>
          <p:cNvSpPr>
            <a:spLocks noGrp="1"/>
          </p:cNvSpPr>
          <p:nvPr>
            <p:ph type="title"/>
          </p:nvPr>
        </p:nvSpPr>
        <p:spPr>
          <a:xfrm>
            <a:off x="0" y="0"/>
            <a:ext cx="8570803" cy="640080"/>
          </a:xfrm>
        </p:spPr>
        <p:txBody>
          <a:bodyPr/>
          <a:lstStyle/>
          <a:p>
            <a:r>
              <a:rPr lang="en-US" dirty="0"/>
              <a:t>Skewness - Summary</a:t>
            </a:r>
          </a:p>
        </p:txBody>
      </p:sp>
      <p:sp>
        <p:nvSpPr>
          <p:cNvPr id="3" name="Content Placeholder 2">
            <a:extLst>
              <a:ext uri="{FF2B5EF4-FFF2-40B4-BE49-F238E27FC236}">
                <a16:creationId xmlns:a16="http://schemas.microsoft.com/office/drawing/2014/main" id="{949C8C3E-AC10-4C1C-B598-DEB08383D7C4}"/>
              </a:ext>
            </a:extLst>
          </p:cNvPr>
          <p:cNvSpPr>
            <a:spLocks noGrp="1"/>
          </p:cNvSpPr>
          <p:nvPr>
            <p:ph sz="half" idx="13"/>
          </p:nvPr>
        </p:nvSpPr>
        <p:spPr>
          <a:xfrm>
            <a:off x="137160" y="791549"/>
            <a:ext cx="8869680" cy="3200400"/>
          </a:xfrm>
        </p:spPr>
        <p:txBody>
          <a:bodyPr/>
          <a:lstStyle/>
          <a:p>
            <a:r>
              <a:rPr lang="en-US" b="0" i="0" dirty="0">
                <a:solidFill>
                  <a:schemeClr val="bg2">
                    <a:lumMod val="50000"/>
                    <a:lumOff val="50000"/>
                  </a:schemeClr>
                </a:solidFill>
                <a:effectLst/>
                <a:latin typeface="Lato" panose="020F0502020204030203" pitchFamily="34" charset="0"/>
              </a:rPr>
              <a:t>The skewness is a measure of symmetry or asymmetry of data distribution, and kurtosis measures whether data is heavy-tailed or light-tailed in a normal distribution. Data can be positive-skewed (data-pushed towards the right side) or negative-skewed (data-pushed towards the left side).</a:t>
            </a:r>
          </a:p>
          <a:p>
            <a:r>
              <a:rPr lang="en-US" dirty="0">
                <a:solidFill>
                  <a:schemeClr val="bg2">
                    <a:lumMod val="50000"/>
                    <a:lumOff val="50000"/>
                  </a:schemeClr>
                </a:solidFill>
              </a:rPr>
              <a:t>When data skewed, the tail region may behave as an outlier for the statistical model, and outliers unsympathetically affect the model’s performance especially regression-based models. Some statistical models are hardy to outliers like Tree-based models, but it will limit the possibility to try other models. So there is a necessity to transform the skewed data to close enough to a Normal distribution.</a:t>
            </a:r>
          </a:p>
          <a:p>
            <a:r>
              <a:rPr lang="en-US" dirty="0">
                <a:solidFill>
                  <a:schemeClr val="bg2">
                    <a:lumMod val="50000"/>
                    <a:lumOff val="50000"/>
                  </a:schemeClr>
                </a:solidFill>
              </a:rPr>
              <a:t>Excess kurtosis can be positive (Leptokurtic distribution), negative (Platykurtic distribution), or near to zero (Mesokurtic distribution). Leptokurtic distribution (kurtosis more than normal distribution).Mesokurtic distribution (kurtosis same as the normal distribution).Platykurtic distribution (kurtosis less than normal distribution).</a:t>
            </a:r>
          </a:p>
        </p:txBody>
      </p:sp>
    </p:spTree>
    <p:extLst>
      <p:ext uri="{BB962C8B-B14F-4D97-AF65-F5344CB8AC3E}">
        <p14:creationId xmlns:p14="http://schemas.microsoft.com/office/powerpoint/2010/main" val="110353803"/>
      </p:ext>
    </p:extLst>
  </p:cSld>
  <p:clrMapOvr>
    <a:masterClrMapping/>
  </p:clrMapOvr>
  <p:transition spd="med">
    <p:wipe dir="r"/>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B5E8E-0FC2-467C-ACC7-31AA2A7D23A1}"/>
              </a:ext>
            </a:extLst>
          </p:cNvPr>
          <p:cNvSpPr>
            <a:spLocks noGrp="1"/>
          </p:cNvSpPr>
          <p:nvPr>
            <p:ph type="title"/>
          </p:nvPr>
        </p:nvSpPr>
        <p:spPr>
          <a:xfrm>
            <a:off x="0" y="22860"/>
            <a:ext cx="4295219" cy="640080"/>
          </a:xfrm>
        </p:spPr>
        <p:txBody>
          <a:bodyPr/>
          <a:lstStyle/>
          <a:p>
            <a:r>
              <a:rPr lang="en-US" dirty="0"/>
              <a:t>Central Limit Theorem</a:t>
            </a:r>
          </a:p>
        </p:txBody>
      </p:sp>
      <p:sp>
        <p:nvSpPr>
          <p:cNvPr id="3" name="Content Placeholder 2">
            <a:extLst>
              <a:ext uri="{FF2B5EF4-FFF2-40B4-BE49-F238E27FC236}">
                <a16:creationId xmlns:a16="http://schemas.microsoft.com/office/drawing/2014/main" id="{1E42B404-3C93-4717-84A2-789D9E19B5A9}"/>
              </a:ext>
            </a:extLst>
          </p:cNvPr>
          <p:cNvSpPr>
            <a:spLocks noGrp="1"/>
          </p:cNvSpPr>
          <p:nvPr>
            <p:ph sz="half" idx="13"/>
          </p:nvPr>
        </p:nvSpPr>
        <p:spPr>
          <a:xfrm>
            <a:off x="148677" y="1116824"/>
            <a:ext cx="5756532" cy="1354150"/>
          </a:xfrm>
        </p:spPr>
        <p:txBody>
          <a:bodyPr/>
          <a:lstStyle/>
          <a:p>
            <a:r>
              <a:rPr lang="en-US" dirty="0"/>
              <a:t>Population of Used cars in a Secondhand Showroom</a:t>
            </a:r>
          </a:p>
        </p:txBody>
      </p:sp>
      <p:pic>
        <p:nvPicPr>
          <p:cNvPr id="5" name="Picture 4" descr="A picture containing text, outdoor, transport, car&#10;&#10;Description automatically generated">
            <a:extLst>
              <a:ext uri="{FF2B5EF4-FFF2-40B4-BE49-F238E27FC236}">
                <a16:creationId xmlns:a16="http://schemas.microsoft.com/office/drawing/2014/main" id="{91959E16-0A26-438F-B3C1-3AD51EC490F3}"/>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905209" y="990310"/>
            <a:ext cx="3039420" cy="3039420"/>
          </a:xfrm>
          <a:prstGeom prst="rect">
            <a:avLst/>
          </a:prstGeom>
        </p:spPr>
      </p:pic>
      <p:sp>
        <p:nvSpPr>
          <p:cNvPr id="6" name="TextBox 5">
            <a:extLst>
              <a:ext uri="{FF2B5EF4-FFF2-40B4-BE49-F238E27FC236}">
                <a16:creationId xmlns:a16="http://schemas.microsoft.com/office/drawing/2014/main" id="{851D58E5-1FCE-41F7-8B41-23CFC995BD7C}"/>
              </a:ext>
            </a:extLst>
          </p:cNvPr>
          <p:cNvSpPr txBox="1"/>
          <p:nvPr/>
        </p:nvSpPr>
        <p:spPr>
          <a:xfrm>
            <a:off x="328066" y="1758127"/>
            <a:ext cx="2959586"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ample #1 : $2617.23 </a:t>
            </a:r>
          </a:p>
        </p:txBody>
      </p:sp>
      <p:sp>
        <p:nvSpPr>
          <p:cNvPr id="7" name="TextBox 6">
            <a:extLst>
              <a:ext uri="{FF2B5EF4-FFF2-40B4-BE49-F238E27FC236}">
                <a16:creationId xmlns:a16="http://schemas.microsoft.com/office/drawing/2014/main" id="{85A983D6-527A-429C-B134-A010221CAEE0}"/>
              </a:ext>
            </a:extLst>
          </p:cNvPr>
          <p:cNvSpPr txBox="1"/>
          <p:nvPr/>
        </p:nvSpPr>
        <p:spPr>
          <a:xfrm>
            <a:off x="328066" y="2177983"/>
            <a:ext cx="2959586"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ample #2 : $3201.34</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Sample #3 : $2844.33 </a:t>
            </a:r>
          </a:p>
        </p:txBody>
      </p:sp>
      <p:sp>
        <p:nvSpPr>
          <p:cNvPr id="8" name="TextBox 7">
            <a:extLst>
              <a:ext uri="{FF2B5EF4-FFF2-40B4-BE49-F238E27FC236}">
                <a16:creationId xmlns:a16="http://schemas.microsoft.com/office/drawing/2014/main" id="{6517C1CF-0DF0-48F6-961F-48ECB36C5393}"/>
              </a:ext>
            </a:extLst>
          </p:cNvPr>
          <p:cNvSpPr txBox="1"/>
          <p:nvPr/>
        </p:nvSpPr>
        <p:spPr>
          <a:xfrm>
            <a:off x="148677" y="3304800"/>
            <a:ext cx="5236923" cy="646331"/>
          </a:xfrm>
          <a:prstGeom prst="rect">
            <a:avLst/>
          </a:prstGeom>
          <a:noFill/>
        </p:spPr>
        <p:txBody>
          <a:bodyPr wrap="square" rtlCol="0">
            <a:spAutoFit/>
          </a:bodyPr>
          <a:lstStyle/>
          <a:p>
            <a:pPr>
              <a:spcBef>
                <a:spcPts val="0"/>
              </a:spcBef>
              <a:spcAft>
                <a:spcPts val="0"/>
              </a:spcAft>
              <a:buClr>
                <a:schemeClr val="bg1"/>
              </a:buClr>
            </a:pPr>
            <a:r>
              <a:rPr lang="en-US" sz="1800" b="1" i="1" dirty="0">
                <a:solidFill>
                  <a:schemeClr val="bg2"/>
                </a:solidFill>
                <a:latin typeface="+mn-lt"/>
              </a:rPr>
              <a:t>Taking a single value, as we did in descriptive statistics is sub optimal </a:t>
            </a:r>
          </a:p>
        </p:txBody>
      </p:sp>
    </p:spTree>
    <p:extLst>
      <p:ext uri="{BB962C8B-B14F-4D97-AF65-F5344CB8AC3E}">
        <p14:creationId xmlns:p14="http://schemas.microsoft.com/office/powerpoint/2010/main" val="4038918390"/>
      </p:ext>
    </p:extLst>
  </p:cSld>
  <p:clrMapOvr>
    <a:masterClrMapping/>
  </p:clrMapOvr>
  <p:transition spd="med">
    <p:wipe dir="r"/>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B45E7C5-1311-4947-B72A-F232CF1C1D4B}"/>
              </a:ext>
            </a:extLst>
          </p:cNvPr>
          <p:cNvSpPr>
            <a:spLocks noGrp="1"/>
          </p:cNvSpPr>
          <p:nvPr>
            <p:ph sz="half" idx="13"/>
          </p:nvPr>
        </p:nvSpPr>
        <p:spPr>
          <a:xfrm>
            <a:off x="274320" y="662940"/>
            <a:ext cx="2831848" cy="3817620"/>
          </a:xfrm>
        </p:spPr>
        <p:txBody>
          <a:bodyPr>
            <a:normAutofit fontScale="85000" lnSpcReduction="20000"/>
          </a:bodyPr>
          <a:lstStyle/>
          <a:p>
            <a:r>
              <a:rPr lang="en-US" dirty="0"/>
              <a:t>We can draw many, many samples </a:t>
            </a:r>
          </a:p>
          <a:p>
            <a:pPr marL="0" indent="0">
              <a:buNone/>
            </a:pPr>
            <a:r>
              <a:rPr lang="en-US" dirty="0"/>
              <a:t>$2521</a:t>
            </a:r>
          </a:p>
          <a:p>
            <a:pPr marL="0" indent="0">
              <a:buNone/>
            </a:pPr>
            <a:r>
              <a:rPr lang="en-US" dirty="0"/>
              <a:t>$2551</a:t>
            </a:r>
          </a:p>
          <a:p>
            <a:pPr marL="0" indent="0">
              <a:buNone/>
            </a:pPr>
            <a:r>
              <a:rPr lang="en-US" dirty="0"/>
              <a:t>$2568</a:t>
            </a:r>
          </a:p>
          <a:p>
            <a:pPr marL="0" indent="0">
              <a:buNone/>
            </a:pPr>
            <a:r>
              <a:rPr lang="en-US" dirty="0"/>
              <a:t>$2594</a:t>
            </a:r>
          </a:p>
          <a:p>
            <a:pPr marL="0" indent="0">
              <a:buNone/>
            </a:pPr>
            <a:r>
              <a:rPr lang="en-US" dirty="0"/>
              <a:t>$ 2617</a:t>
            </a:r>
          </a:p>
          <a:p>
            <a:pPr marL="0" indent="0">
              <a:buNone/>
            </a:pPr>
            <a:r>
              <a:rPr lang="en-US" dirty="0"/>
              <a:t>$ 2620</a:t>
            </a:r>
          </a:p>
          <a:p>
            <a:pPr marL="0" indent="0">
              <a:buNone/>
            </a:pPr>
            <a:r>
              <a:rPr lang="en-US" dirty="0"/>
              <a:t>$ 2623</a:t>
            </a:r>
          </a:p>
          <a:p>
            <a:pPr marL="0" indent="0">
              <a:buNone/>
            </a:pPr>
            <a:r>
              <a:rPr lang="en-US" dirty="0"/>
              <a:t>$ 2661</a:t>
            </a:r>
          </a:p>
          <a:p>
            <a:pPr marL="0" indent="0">
              <a:buNone/>
            </a:pPr>
            <a:r>
              <a:rPr lang="en-US" dirty="0"/>
              <a:t>$ 2685</a:t>
            </a:r>
          </a:p>
          <a:p>
            <a:pPr marL="0" indent="0">
              <a:buNone/>
            </a:pPr>
            <a:r>
              <a:rPr lang="en-US" dirty="0"/>
              <a:t>$ 2687</a:t>
            </a:r>
          </a:p>
          <a:p>
            <a:pPr marL="0" indent="0">
              <a:buNone/>
            </a:pPr>
            <a:r>
              <a:rPr lang="en-US" dirty="0"/>
              <a:t>$ 2711</a:t>
            </a:r>
          </a:p>
          <a:p>
            <a:pPr marL="0" indent="0">
              <a:buNone/>
            </a:pPr>
            <a:r>
              <a:rPr lang="en-US" dirty="0"/>
              <a:t>$ 2744</a:t>
            </a:r>
          </a:p>
        </p:txBody>
      </p:sp>
      <p:sp>
        <p:nvSpPr>
          <p:cNvPr id="4" name="Title 1">
            <a:extLst>
              <a:ext uri="{FF2B5EF4-FFF2-40B4-BE49-F238E27FC236}">
                <a16:creationId xmlns:a16="http://schemas.microsoft.com/office/drawing/2014/main" id="{489B247C-E2C1-4166-AA50-55CCE0E1B8EA}"/>
              </a:ext>
            </a:extLst>
          </p:cNvPr>
          <p:cNvSpPr>
            <a:spLocks noGrp="1"/>
          </p:cNvSpPr>
          <p:nvPr>
            <p:ph type="title"/>
          </p:nvPr>
        </p:nvSpPr>
        <p:spPr>
          <a:xfrm>
            <a:off x="0" y="22860"/>
            <a:ext cx="4295219" cy="640080"/>
          </a:xfrm>
        </p:spPr>
        <p:txBody>
          <a:bodyPr/>
          <a:lstStyle/>
          <a:p>
            <a:r>
              <a:rPr lang="en-US" dirty="0"/>
              <a:t>Central Limit Theorem</a:t>
            </a:r>
          </a:p>
        </p:txBody>
      </p:sp>
      <p:sp>
        <p:nvSpPr>
          <p:cNvPr id="6" name="TextBox 5">
            <a:extLst>
              <a:ext uri="{FF2B5EF4-FFF2-40B4-BE49-F238E27FC236}">
                <a16:creationId xmlns:a16="http://schemas.microsoft.com/office/drawing/2014/main" id="{936752CE-B540-442A-8A29-57A8B0CDDBCE}"/>
              </a:ext>
            </a:extLst>
          </p:cNvPr>
          <p:cNvSpPr txBox="1"/>
          <p:nvPr/>
        </p:nvSpPr>
        <p:spPr>
          <a:xfrm>
            <a:off x="3280673" y="914400"/>
            <a:ext cx="2757161" cy="3471720"/>
          </a:xfrm>
          <a:prstGeom prst="rect">
            <a:avLst/>
          </a:prstGeom>
          <a:noFill/>
        </p:spPr>
        <p:txBody>
          <a:bodyPr wrap="square" rtlCol="0">
            <a:spAutoFit/>
          </a:bodyPr>
          <a:lstStyle/>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748</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786</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04</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04</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43</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44</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44</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691</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3030</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3201</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3240</a:t>
            </a:r>
          </a:p>
          <a:p>
            <a:pPr>
              <a:spcBef>
                <a:spcPts val="0"/>
              </a:spcBef>
              <a:spcAft>
                <a:spcPts val="0"/>
              </a:spcAft>
              <a:buClr>
                <a:schemeClr val="bg1"/>
              </a:buClr>
            </a:pPr>
            <a:endParaRPr lang="en-US" sz="1400" dirty="0" err="1">
              <a:solidFill>
                <a:schemeClr val="bg2"/>
              </a:solidFill>
              <a:latin typeface="+mn-lt"/>
            </a:endParaRPr>
          </a:p>
        </p:txBody>
      </p:sp>
      <p:sp>
        <p:nvSpPr>
          <p:cNvPr id="7" name="TextBox 6">
            <a:extLst>
              <a:ext uri="{FF2B5EF4-FFF2-40B4-BE49-F238E27FC236}">
                <a16:creationId xmlns:a16="http://schemas.microsoft.com/office/drawing/2014/main" id="{1286DED4-90BF-4713-B38A-8856560A5254}"/>
              </a:ext>
            </a:extLst>
          </p:cNvPr>
          <p:cNvSpPr txBox="1"/>
          <p:nvPr/>
        </p:nvSpPr>
        <p:spPr>
          <a:xfrm>
            <a:off x="5297936" y="1221527"/>
            <a:ext cx="2708299"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ampling Distribution</a:t>
            </a:r>
          </a:p>
        </p:txBody>
      </p:sp>
      <p:sp>
        <p:nvSpPr>
          <p:cNvPr id="8" name="TextBox 7">
            <a:extLst>
              <a:ext uri="{FF2B5EF4-FFF2-40B4-BE49-F238E27FC236}">
                <a16:creationId xmlns:a16="http://schemas.microsoft.com/office/drawing/2014/main" id="{E42D2C4B-4211-4231-8EC0-380586F19B71}"/>
              </a:ext>
            </a:extLst>
          </p:cNvPr>
          <p:cNvSpPr txBox="1"/>
          <p:nvPr/>
        </p:nvSpPr>
        <p:spPr>
          <a:xfrm>
            <a:off x="5318878" y="2167841"/>
            <a:ext cx="3406314"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ampling Distribution of the MEAN</a:t>
            </a:r>
          </a:p>
        </p:txBody>
      </p:sp>
      <p:sp>
        <p:nvSpPr>
          <p:cNvPr id="9" name="TextBox 8">
            <a:extLst>
              <a:ext uri="{FF2B5EF4-FFF2-40B4-BE49-F238E27FC236}">
                <a16:creationId xmlns:a16="http://schemas.microsoft.com/office/drawing/2014/main" id="{EEA44317-DB50-4076-8EE0-9C5D8519EFBF}"/>
              </a:ext>
            </a:extLst>
          </p:cNvPr>
          <p:cNvSpPr txBox="1"/>
          <p:nvPr/>
        </p:nvSpPr>
        <p:spPr>
          <a:xfrm>
            <a:off x="1537728" y="1598455"/>
            <a:ext cx="1054003" cy="1446550"/>
          </a:xfrm>
          <a:prstGeom prst="rect">
            <a:avLst/>
          </a:prstGeom>
          <a:noFill/>
        </p:spPr>
        <p:txBody>
          <a:bodyPr wrap="square" rtlCol="0">
            <a:spAutoFit/>
          </a:bodyPr>
          <a:lstStyle/>
          <a:p>
            <a:pPr>
              <a:spcBef>
                <a:spcPts val="0"/>
              </a:spcBef>
              <a:spcAft>
                <a:spcPts val="0"/>
              </a:spcAft>
              <a:buClr>
                <a:schemeClr val="bg1"/>
              </a:buClr>
            </a:pPr>
            <a:r>
              <a:rPr lang="en-US" sz="8800" dirty="0">
                <a:solidFill>
                  <a:schemeClr val="accent4"/>
                </a:solidFill>
                <a:latin typeface="+mn-lt"/>
              </a:rPr>
              <a:t>µ</a:t>
            </a:r>
          </a:p>
        </p:txBody>
      </p:sp>
      <p:sp>
        <p:nvSpPr>
          <p:cNvPr id="10" name="TextBox 9">
            <a:extLst>
              <a:ext uri="{FF2B5EF4-FFF2-40B4-BE49-F238E27FC236}">
                <a16:creationId xmlns:a16="http://schemas.microsoft.com/office/drawing/2014/main" id="{B52C6D56-86EB-414B-AB95-0E81E6A00153}"/>
              </a:ext>
            </a:extLst>
          </p:cNvPr>
          <p:cNvSpPr txBox="1"/>
          <p:nvPr/>
        </p:nvSpPr>
        <p:spPr>
          <a:xfrm>
            <a:off x="1280509" y="1598455"/>
            <a:ext cx="1568440"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 2800</a:t>
            </a:r>
            <a:endParaRPr lang="en-US" sz="1400" b="1" dirty="0">
              <a:solidFill>
                <a:schemeClr val="bg2"/>
              </a:solidFill>
              <a:latin typeface="+mn-lt"/>
            </a:endParaRPr>
          </a:p>
        </p:txBody>
      </p:sp>
    </p:spTree>
    <p:extLst>
      <p:ext uri="{BB962C8B-B14F-4D97-AF65-F5344CB8AC3E}">
        <p14:creationId xmlns:p14="http://schemas.microsoft.com/office/powerpoint/2010/main" val="835954562"/>
      </p:ext>
    </p:extLst>
  </p:cSld>
  <p:clrMapOvr>
    <a:masterClrMapping/>
  </p:clrMapOvr>
  <p:transition spd="med">
    <p:wipe dir="r"/>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157D56-95C5-4D0C-A949-1A487B245503}"/>
              </a:ext>
            </a:extLst>
          </p:cNvPr>
          <p:cNvSpPr>
            <a:spLocks noGrp="1"/>
          </p:cNvSpPr>
          <p:nvPr>
            <p:ph type="title"/>
          </p:nvPr>
        </p:nvSpPr>
        <p:spPr>
          <a:xfrm>
            <a:off x="0" y="22860"/>
            <a:ext cx="4295219" cy="640080"/>
          </a:xfrm>
        </p:spPr>
        <p:txBody>
          <a:bodyPr/>
          <a:lstStyle/>
          <a:p>
            <a:r>
              <a:rPr lang="en-US" dirty="0"/>
              <a:t>Central Limit Theorem</a:t>
            </a:r>
          </a:p>
        </p:txBody>
      </p:sp>
      <p:sp>
        <p:nvSpPr>
          <p:cNvPr id="3" name="Content Placeholder 2">
            <a:extLst>
              <a:ext uri="{FF2B5EF4-FFF2-40B4-BE49-F238E27FC236}">
                <a16:creationId xmlns:a16="http://schemas.microsoft.com/office/drawing/2014/main" id="{B39ECE88-325C-4E0B-A7D7-FFA8F4710CDF}"/>
              </a:ext>
            </a:extLst>
          </p:cNvPr>
          <p:cNvSpPr>
            <a:spLocks noGrp="1"/>
          </p:cNvSpPr>
          <p:nvPr>
            <p:ph sz="half" idx="13"/>
          </p:nvPr>
        </p:nvSpPr>
        <p:spPr>
          <a:xfrm>
            <a:off x="332604" y="1415242"/>
            <a:ext cx="8478791" cy="1930711"/>
          </a:xfrm>
        </p:spPr>
        <p:txBody>
          <a:bodyPr>
            <a:normAutofit/>
          </a:bodyPr>
          <a:lstStyle/>
          <a:p>
            <a:pPr marL="0" indent="0">
              <a:buNone/>
            </a:pPr>
            <a:r>
              <a:rPr lang="en-US" sz="1800" b="1" dirty="0"/>
              <a:t>Distribution of Car Prices</a:t>
            </a:r>
          </a:p>
        </p:txBody>
      </p:sp>
      <p:grpSp>
        <p:nvGrpSpPr>
          <p:cNvPr id="12" name="Group 11">
            <a:extLst>
              <a:ext uri="{FF2B5EF4-FFF2-40B4-BE49-F238E27FC236}">
                <a16:creationId xmlns:a16="http://schemas.microsoft.com/office/drawing/2014/main" id="{BCF523DF-06F8-4B59-8DB3-E70C4ADA19D8}"/>
              </a:ext>
            </a:extLst>
          </p:cNvPr>
          <p:cNvGrpSpPr/>
          <p:nvPr/>
        </p:nvGrpSpPr>
        <p:grpSpPr>
          <a:xfrm>
            <a:off x="1004944" y="2178783"/>
            <a:ext cx="2478600" cy="1243080"/>
            <a:chOff x="669897" y="1521278"/>
            <a:chExt cx="2478600" cy="1243080"/>
          </a:xfrm>
        </p:grpSpPr>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6D113C73-2B8D-434A-9DC1-B0D7EDEADD9B}"/>
                    </a:ext>
                  </a:extLst>
                </p14:cNvPr>
                <p14:cNvContentPartPr/>
                <p14:nvPr/>
              </p14:nvContentPartPr>
              <p14:xfrm>
                <a:off x="836937" y="1521278"/>
                <a:ext cx="63720" cy="1243080"/>
              </p14:xfrm>
            </p:contentPart>
          </mc:Choice>
          <mc:Fallback xmlns="">
            <p:pic>
              <p:nvPicPr>
                <p:cNvPr id="4" name="Ink 3">
                  <a:extLst>
                    <a:ext uri="{FF2B5EF4-FFF2-40B4-BE49-F238E27FC236}">
                      <a16:creationId xmlns:a16="http://schemas.microsoft.com/office/drawing/2014/main" id="{6D113C73-2B8D-434A-9DC1-B0D7EDEADD9B}"/>
                    </a:ext>
                  </a:extLst>
                </p:cNvPr>
                <p:cNvPicPr/>
                <p:nvPr/>
              </p:nvPicPr>
              <p:blipFill>
                <a:blip r:embed="rId3"/>
                <a:stretch>
                  <a:fillRect/>
                </a:stretch>
              </p:blipFill>
              <p:spPr>
                <a:xfrm>
                  <a:off x="827937" y="1512638"/>
                  <a:ext cx="81360" cy="126072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5" name="Ink 4">
                  <a:extLst>
                    <a:ext uri="{FF2B5EF4-FFF2-40B4-BE49-F238E27FC236}">
                      <a16:creationId xmlns:a16="http://schemas.microsoft.com/office/drawing/2014/main" id="{0AE3159E-170F-4FE1-94E0-C7264AABDE24}"/>
                    </a:ext>
                  </a:extLst>
                </p14:cNvPr>
                <p14:cNvContentPartPr/>
                <p14:nvPr/>
              </p14:nvContentPartPr>
              <p14:xfrm>
                <a:off x="669897" y="2587598"/>
                <a:ext cx="1758600" cy="36720"/>
              </p14:xfrm>
            </p:contentPart>
          </mc:Choice>
          <mc:Fallback xmlns="">
            <p:pic>
              <p:nvPicPr>
                <p:cNvPr id="5" name="Ink 4">
                  <a:extLst>
                    <a:ext uri="{FF2B5EF4-FFF2-40B4-BE49-F238E27FC236}">
                      <a16:creationId xmlns:a16="http://schemas.microsoft.com/office/drawing/2014/main" id="{0AE3159E-170F-4FE1-94E0-C7264AABDE24}"/>
                    </a:ext>
                  </a:extLst>
                </p:cNvPr>
                <p:cNvPicPr/>
                <p:nvPr/>
              </p:nvPicPr>
              <p:blipFill>
                <a:blip r:embed="rId5"/>
                <a:stretch>
                  <a:fillRect/>
                </a:stretch>
              </p:blipFill>
              <p:spPr>
                <a:xfrm>
                  <a:off x="660897" y="2578598"/>
                  <a:ext cx="1776240" cy="5436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11" name="Ink 10">
                  <a:extLst>
                    <a:ext uri="{FF2B5EF4-FFF2-40B4-BE49-F238E27FC236}">
                      <a16:creationId xmlns:a16="http://schemas.microsoft.com/office/drawing/2014/main" id="{3EFB8835-00BE-4C34-83CE-6457FE475CBA}"/>
                    </a:ext>
                  </a:extLst>
                </p14:cNvPr>
                <p14:cNvContentPartPr/>
                <p14:nvPr/>
              </p14:nvContentPartPr>
              <p14:xfrm>
                <a:off x="921177" y="1540718"/>
                <a:ext cx="2227320" cy="839880"/>
              </p14:xfrm>
            </p:contentPart>
          </mc:Choice>
          <mc:Fallback xmlns="">
            <p:pic>
              <p:nvPicPr>
                <p:cNvPr id="11" name="Ink 10">
                  <a:extLst>
                    <a:ext uri="{FF2B5EF4-FFF2-40B4-BE49-F238E27FC236}">
                      <a16:creationId xmlns:a16="http://schemas.microsoft.com/office/drawing/2014/main" id="{3EFB8835-00BE-4C34-83CE-6457FE475CBA}"/>
                    </a:ext>
                  </a:extLst>
                </p:cNvPr>
                <p:cNvPicPr/>
                <p:nvPr/>
              </p:nvPicPr>
              <p:blipFill>
                <a:blip r:embed="rId7"/>
                <a:stretch>
                  <a:fillRect/>
                </a:stretch>
              </p:blipFill>
              <p:spPr>
                <a:xfrm>
                  <a:off x="912177" y="1531718"/>
                  <a:ext cx="2244960" cy="857520"/>
                </a:xfrm>
                <a:prstGeom prst="rect">
                  <a:avLst/>
                </a:prstGeom>
              </p:spPr>
            </p:pic>
          </mc:Fallback>
        </mc:AlternateContent>
      </p:grpSp>
      <p:sp>
        <p:nvSpPr>
          <p:cNvPr id="13" name="TextBox 12">
            <a:extLst>
              <a:ext uri="{FF2B5EF4-FFF2-40B4-BE49-F238E27FC236}">
                <a16:creationId xmlns:a16="http://schemas.microsoft.com/office/drawing/2014/main" id="{0D28BA63-1A90-4469-A39F-F78CD717646F}"/>
              </a:ext>
            </a:extLst>
          </p:cNvPr>
          <p:cNvSpPr txBox="1"/>
          <p:nvPr/>
        </p:nvSpPr>
        <p:spPr>
          <a:xfrm>
            <a:off x="4571999" y="2484935"/>
            <a:ext cx="2757160"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Right Skewed</a:t>
            </a:r>
          </a:p>
        </p:txBody>
      </p:sp>
    </p:spTree>
    <p:extLst>
      <p:ext uri="{BB962C8B-B14F-4D97-AF65-F5344CB8AC3E}">
        <p14:creationId xmlns:p14="http://schemas.microsoft.com/office/powerpoint/2010/main" val="3240609061"/>
      </p:ext>
    </p:extLst>
  </p:cSld>
  <p:clrMapOvr>
    <a:masterClrMapping/>
  </p:clrMapOvr>
  <p:transition spd="med">
    <p:wipe dir="r"/>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26BCF2-946B-4D76-B942-09464C8F5A28}"/>
              </a:ext>
            </a:extLst>
          </p:cNvPr>
          <p:cNvSpPr>
            <a:spLocks noGrp="1"/>
          </p:cNvSpPr>
          <p:nvPr>
            <p:ph type="title"/>
          </p:nvPr>
        </p:nvSpPr>
        <p:spPr>
          <a:xfrm>
            <a:off x="0" y="0"/>
            <a:ext cx="6183591" cy="640080"/>
          </a:xfrm>
        </p:spPr>
        <p:txBody>
          <a:bodyPr/>
          <a:lstStyle/>
          <a:p>
            <a:r>
              <a:rPr lang="en-US" dirty="0"/>
              <a:t>Central Limit Theorem</a:t>
            </a:r>
          </a:p>
        </p:txBody>
      </p:sp>
      <p:pic>
        <p:nvPicPr>
          <p:cNvPr id="5" name="Picture 4">
            <a:extLst>
              <a:ext uri="{FF2B5EF4-FFF2-40B4-BE49-F238E27FC236}">
                <a16:creationId xmlns:a16="http://schemas.microsoft.com/office/drawing/2014/main" id="{38C663EE-8F58-49A3-868B-07019BA122D8}"/>
              </a:ext>
            </a:extLst>
          </p:cNvPr>
          <p:cNvPicPr>
            <a:picLocks noChangeAspect="1"/>
          </p:cNvPicPr>
          <p:nvPr/>
        </p:nvPicPr>
        <p:blipFill>
          <a:blip r:embed="rId2"/>
          <a:stretch>
            <a:fillRect/>
          </a:stretch>
        </p:blipFill>
        <p:spPr>
          <a:xfrm>
            <a:off x="931924" y="888548"/>
            <a:ext cx="7362825" cy="2838450"/>
          </a:xfrm>
          <a:prstGeom prst="rect">
            <a:avLst/>
          </a:prstGeom>
        </p:spPr>
      </p:pic>
      <p:grpSp>
        <p:nvGrpSpPr>
          <p:cNvPr id="9" name="Group 8">
            <a:extLst>
              <a:ext uri="{FF2B5EF4-FFF2-40B4-BE49-F238E27FC236}">
                <a16:creationId xmlns:a16="http://schemas.microsoft.com/office/drawing/2014/main" id="{88629BA1-AC80-43C2-B2AD-52ECC66571A9}"/>
              </a:ext>
            </a:extLst>
          </p:cNvPr>
          <p:cNvGrpSpPr/>
          <p:nvPr/>
        </p:nvGrpSpPr>
        <p:grpSpPr>
          <a:xfrm>
            <a:off x="4494897" y="1002518"/>
            <a:ext cx="446400" cy="225720"/>
            <a:chOff x="4494897" y="1002518"/>
            <a:chExt cx="446400" cy="225720"/>
          </a:xfrm>
        </p:grpSpPr>
        <mc:AlternateContent xmlns:mc="http://schemas.openxmlformats.org/markup-compatibility/2006" xmlns:p14="http://schemas.microsoft.com/office/powerpoint/2010/main">
          <mc:Choice Requires="p14">
            <p:contentPart p14:bwMode="auto" r:id="rId3">
              <p14:nvContentPartPr>
                <p14:cNvPr id="6" name="Ink 5">
                  <a:extLst>
                    <a:ext uri="{FF2B5EF4-FFF2-40B4-BE49-F238E27FC236}">
                      <a16:creationId xmlns:a16="http://schemas.microsoft.com/office/drawing/2014/main" id="{0C6F922E-A081-4A53-BFA0-BCE0D3D61496}"/>
                    </a:ext>
                  </a:extLst>
                </p14:cNvPr>
                <p14:cNvContentPartPr/>
                <p14:nvPr/>
              </p14:nvContentPartPr>
              <p14:xfrm>
                <a:off x="4494897" y="1002518"/>
                <a:ext cx="236880" cy="225720"/>
              </p14:xfrm>
            </p:contentPart>
          </mc:Choice>
          <mc:Fallback xmlns="">
            <p:pic>
              <p:nvPicPr>
                <p:cNvPr id="6" name="Ink 5">
                  <a:extLst>
                    <a:ext uri="{FF2B5EF4-FFF2-40B4-BE49-F238E27FC236}">
                      <a16:creationId xmlns:a16="http://schemas.microsoft.com/office/drawing/2014/main" id="{0C6F922E-A081-4A53-BFA0-BCE0D3D61496}"/>
                    </a:ext>
                  </a:extLst>
                </p:cNvPr>
                <p:cNvPicPr/>
                <p:nvPr/>
              </p:nvPicPr>
              <p:blipFill>
                <a:blip r:embed="rId4"/>
                <a:stretch>
                  <a:fillRect/>
                </a:stretch>
              </p:blipFill>
              <p:spPr>
                <a:xfrm>
                  <a:off x="4486257" y="993878"/>
                  <a:ext cx="254520" cy="24336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7" name="Ink 6">
                  <a:extLst>
                    <a:ext uri="{FF2B5EF4-FFF2-40B4-BE49-F238E27FC236}">
                      <a16:creationId xmlns:a16="http://schemas.microsoft.com/office/drawing/2014/main" id="{266B8148-6813-48A6-94F1-2AC9A3A53823}"/>
                    </a:ext>
                  </a:extLst>
                </p14:cNvPr>
                <p14:cNvContentPartPr/>
                <p14:nvPr/>
              </p14:nvContentPartPr>
              <p14:xfrm>
                <a:off x="4836897" y="1011158"/>
                <a:ext cx="90720" cy="21960"/>
              </p14:xfrm>
            </p:contentPart>
          </mc:Choice>
          <mc:Fallback xmlns="">
            <p:pic>
              <p:nvPicPr>
                <p:cNvPr id="7" name="Ink 6">
                  <a:extLst>
                    <a:ext uri="{FF2B5EF4-FFF2-40B4-BE49-F238E27FC236}">
                      <a16:creationId xmlns:a16="http://schemas.microsoft.com/office/drawing/2014/main" id="{266B8148-6813-48A6-94F1-2AC9A3A53823}"/>
                    </a:ext>
                  </a:extLst>
                </p:cNvPr>
                <p:cNvPicPr/>
                <p:nvPr/>
              </p:nvPicPr>
              <p:blipFill>
                <a:blip r:embed="rId6"/>
                <a:stretch>
                  <a:fillRect/>
                </a:stretch>
              </p:blipFill>
              <p:spPr>
                <a:xfrm>
                  <a:off x="4827897" y="1002158"/>
                  <a:ext cx="108360" cy="3960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8" name="Ink 7">
                  <a:extLst>
                    <a:ext uri="{FF2B5EF4-FFF2-40B4-BE49-F238E27FC236}">
                      <a16:creationId xmlns:a16="http://schemas.microsoft.com/office/drawing/2014/main" id="{B709F09D-A4B7-4EF5-A186-22BA8E308DAA}"/>
                    </a:ext>
                  </a:extLst>
                </p14:cNvPr>
                <p14:cNvContentPartPr/>
                <p14:nvPr/>
              </p14:nvContentPartPr>
              <p14:xfrm>
                <a:off x="4857777" y="1074878"/>
                <a:ext cx="83520" cy="20880"/>
              </p14:xfrm>
            </p:contentPart>
          </mc:Choice>
          <mc:Fallback xmlns="">
            <p:pic>
              <p:nvPicPr>
                <p:cNvPr id="8" name="Ink 7">
                  <a:extLst>
                    <a:ext uri="{FF2B5EF4-FFF2-40B4-BE49-F238E27FC236}">
                      <a16:creationId xmlns:a16="http://schemas.microsoft.com/office/drawing/2014/main" id="{B709F09D-A4B7-4EF5-A186-22BA8E308DAA}"/>
                    </a:ext>
                  </a:extLst>
                </p:cNvPr>
                <p:cNvPicPr/>
                <p:nvPr/>
              </p:nvPicPr>
              <p:blipFill>
                <a:blip r:embed="rId8"/>
                <a:stretch>
                  <a:fillRect/>
                </a:stretch>
              </p:blipFill>
              <p:spPr>
                <a:xfrm>
                  <a:off x="4849137" y="1065878"/>
                  <a:ext cx="101160" cy="38520"/>
                </a:xfrm>
                <a:prstGeom prst="rect">
                  <a:avLst/>
                </a:prstGeom>
              </p:spPr>
            </p:pic>
          </mc:Fallback>
        </mc:AlternateContent>
      </p:grpSp>
      <p:grpSp>
        <p:nvGrpSpPr>
          <p:cNvPr id="15" name="Group 14">
            <a:extLst>
              <a:ext uri="{FF2B5EF4-FFF2-40B4-BE49-F238E27FC236}">
                <a16:creationId xmlns:a16="http://schemas.microsoft.com/office/drawing/2014/main" id="{45DE6F01-9B6D-430D-942D-4D94F44CAAB1}"/>
              </a:ext>
            </a:extLst>
          </p:cNvPr>
          <p:cNvGrpSpPr/>
          <p:nvPr/>
        </p:nvGrpSpPr>
        <p:grpSpPr>
          <a:xfrm>
            <a:off x="5220657" y="782558"/>
            <a:ext cx="782640" cy="229320"/>
            <a:chOff x="5220657" y="782558"/>
            <a:chExt cx="782640" cy="229320"/>
          </a:xfrm>
        </p:grpSpPr>
        <mc:AlternateContent xmlns:mc="http://schemas.openxmlformats.org/markup-compatibility/2006" xmlns:p14="http://schemas.microsoft.com/office/powerpoint/2010/main">
          <mc:Choice Requires="p14">
            <p:contentPart p14:bwMode="auto" r:id="rId9">
              <p14:nvContentPartPr>
                <p14:cNvPr id="10" name="Ink 9">
                  <a:extLst>
                    <a:ext uri="{FF2B5EF4-FFF2-40B4-BE49-F238E27FC236}">
                      <a16:creationId xmlns:a16="http://schemas.microsoft.com/office/drawing/2014/main" id="{80F7496D-D19C-49CB-8BDB-209256FF51DE}"/>
                    </a:ext>
                  </a:extLst>
                </p14:cNvPr>
                <p14:cNvContentPartPr/>
                <p14:nvPr/>
              </p14:nvContentPartPr>
              <p14:xfrm>
                <a:off x="5220657" y="933038"/>
                <a:ext cx="154440" cy="78840"/>
              </p14:xfrm>
            </p:contentPart>
          </mc:Choice>
          <mc:Fallback xmlns="">
            <p:pic>
              <p:nvPicPr>
                <p:cNvPr id="10" name="Ink 9">
                  <a:extLst>
                    <a:ext uri="{FF2B5EF4-FFF2-40B4-BE49-F238E27FC236}">
                      <a16:creationId xmlns:a16="http://schemas.microsoft.com/office/drawing/2014/main" id="{80F7496D-D19C-49CB-8BDB-209256FF51DE}"/>
                    </a:ext>
                  </a:extLst>
                </p:cNvPr>
                <p:cNvPicPr/>
                <p:nvPr/>
              </p:nvPicPr>
              <p:blipFill>
                <a:blip r:embed="rId10"/>
                <a:stretch>
                  <a:fillRect/>
                </a:stretch>
              </p:blipFill>
              <p:spPr>
                <a:xfrm>
                  <a:off x="5212017" y="924398"/>
                  <a:ext cx="172080" cy="9648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1" name="Ink 10">
                  <a:extLst>
                    <a:ext uri="{FF2B5EF4-FFF2-40B4-BE49-F238E27FC236}">
                      <a16:creationId xmlns:a16="http://schemas.microsoft.com/office/drawing/2014/main" id="{2BF2182C-1498-4331-AE41-8404108C73A7}"/>
                    </a:ext>
                  </a:extLst>
                </p14:cNvPr>
                <p14:cNvContentPartPr/>
                <p14:nvPr/>
              </p14:nvContentPartPr>
              <p14:xfrm>
                <a:off x="5458257" y="864638"/>
                <a:ext cx="114120" cy="104760"/>
              </p14:xfrm>
            </p:contentPart>
          </mc:Choice>
          <mc:Fallback xmlns="">
            <p:pic>
              <p:nvPicPr>
                <p:cNvPr id="11" name="Ink 10">
                  <a:extLst>
                    <a:ext uri="{FF2B5EF4-FFF2-40B4-BE49-F238E27FC236}">
                      <a16:creationId xmlns:a16="http://schemas.microsoft.com/office/drawing/2014/main" id="{2BF2182C-1498-4331-AE41-8404108C73A7}"/>
                    </a:ext>
                  </a:extLst>
                </p:cNvPr>
                <p:cNvPicPr/>
                <p:nvPr/>
              </p:nvPicPr>
              <p:blipFill>
                <a:blip r:embed="rId12"/>
                <a:stretch>
                  <a:fillRect/>
                </a:stretch>
              </p:blipFill>
              <p:spPr>
                <a:xfrm>
                  <a:off x="5449257" y="855638"/>
                  <a:ext cx="131760" cy="1224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2" name="Ink 11">
                  <a:extLst>
                    <a:ext uri="{FF2B5EF4-FFF2-40B4-BE49-F238E27FC236}">
                      <a16:creationId xmlns:a16="http://schemas.microsoft.com/office/drawing/2014/main" id="{B6B183EF-78D5-4AC5-A4F9-29040B28AC31}"/>
                    </a:ext>
                  </a:extLst>
                </p14:cNvPr>
                <p14:cNvContentPartPr/>
                <p14:nvPr/>
              </p14:nvContentPartPr>
              <p14:xfrm>
                <a:off x="5607297" y="814238"/>
                <a:ext cx="90000" cy="121320"/>
              </p14:xfrm>
            </p:contentPart>
          </mc:Choice>
          <mc:Fallback xmlns="">
            <p:pic>
              <p:nvPicPr>
                <p:cNvPr id="12" name="Ink 11">
                  <a:extLst>
                    <a:ext uri="{FF2B5EF4-FFF2-40B4-BE49-F238E27FC236}">
                      <a16:creationId xmlns:a16="http://schemas.microsoft.com/office/drawing/2014/main" id="{B6B183EF-78D5-4AC5-A4F9-29040B28AC31}"/>
                    </a:ext>
                  </a:extLst>
                </p:cNvPr>
                <p:cNvPicPr/>
                <p:nvPr/>
              </p:nvPicPr>
              <p:blipFill>
                <a:blip r:embed="rId14"/>
                <a:stretch>
                  <a:fillRect/>
                </a:stretch>
              </p:blipFill>
              <p:spPr>
                <a:xfrm>
                  <a:off x="5598297" y="805238"/>
                  <a:ext cx="107640" cy="13896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3" name="Ink 12">
                  <a:extLst>
                    <a:ext uri="{FF2B5EF4-FFF2-40B4-BE49-F238E27FC236}">
                      <a16:creationId xmlns:a16="http://schemas.microsoft.com/office/drawing/2014/main" id="{A95CEDD0-517E-468A-B2D6-D3124148AA6A}"/>
                    </a:ext>
                  </a:extLst>
                </p14:cNvPr>
                <p14:cNvContentPartPr/>
                <p14:nvPr/>
              </p14:nvContentPartPr>
              <p14:xfrm>
                <a:off x="5730777" y="816398"/>
                <a:ext cx="84600" cy="93240"/>
              </p14:xfrm>
            </p:contentPart>
          </mc:Choice>
          <mc:Fallback xmlns="">
            <p:pic>
              <p:nvPicPr>
                <p:cNvPr id="13" name="Ink 12">
                  <a:extLst>
                    <a:ext uri="{FF2B5EF4-FFF2-40B4-BE49-F238E27FC236}">
                      <a16:creationId xmlns:a16="http://schemas.microsoft.com/office/drawing/2014/main" id="{A95CEDD0-517E-468A-B2D6-D3124148AA6A}"/>
                    </a:ext>
                  </a:extLst>
                </p:cNvPr>
                <p:cNvPicPr/>
                <p:nvPr/>
              </p:nvPicPr>
              <p:blipFill>
                <a:blip r:embed="rId16"/>
                <a:stretch>
                  <a:fillRect/>
                </a:stretch>
              </p:blipFill>
              <p:spPr>
                <a:xfrm>
                  <a:off x="5722137" y="807758"/>
                  <a:ext cx="102240" cy="11088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4" name="Ink 13">
                  <a:extLst>
                    <a:ext uri="{FF2B5EF4-FFF2-40B4-BE49-F238E27FC236}">
                      <a16:creationId xmlns:a16="http://schemas.microsoft.com/office/drawing/2014/main" id="{0CB74518-5A5C-465B-8267-97BFA5A162A2}"/>
                    </a:ext>
                  </a:extLst>
                </p14:cNvPr>
                <p14:cNvContentPartPr/>
                <p14:nvPr/>
              </p14:nvContentPartPr>
              <p14:xfrm>
                <a:off x="5876937" y="782558"/>
                <a:ext cx="126360" cy="77400"/>
              </p14:xfrm>
            </p:contentPart>
          </mc:Choice>
          <mc:Fallback xmlns="">
            <p:pic>
              <p:nvPicPr>
                <p:cNvPr id="14" name="Ink 13">
                  <a:extLst>
                    <a:ext uri="{FF2B5EF4-FFF2-40B4-BE49-F238E27FC236}">
                      <a16:creationId xmlns:a16="http://schemas.microsoft.com/office/drawing/2014/main" id="{0CB74518-5A5C-465B-8267-97BFA5A162A2}"/>
                    </a:ext>
                  </a:extLst>
                </p:cNvPr>
                <p:cNvPicPr/>
                <p:nvPr/>
              </p:nvPicPr>
              <p:blipFill>
                <a:blip r:embed="rId18"/>
                <a:stretch>
                  <a:fillRect/>
                </a:stretch>
              </p:blipFill>
              <p:spPr>
                <a:xfrm>
                  <a:off x="5868297" y="773558"/>
                  <a:ext cx="144000" cy="95040"/>
                </a:xfrm>
                <a:prstGeom prst="rect">
                  <a:avLst/>
                </a:prstGeom>
              </p:spPr>
            </p:pic>
          </mc:Fallback>
        </mc:AlternateContent>
      </p:grpSp>
      <p:grpSp>
        <p:nvGrpSpPr>
          <p:cNvPr id="25" name="Group 24">
            <a:extLst>
              <a:ext uri="{FF2B5EF4-FFF2-40B4-BE49-F238E27FC236}">
                <a16:creationId xmlns:a16="http://schemas.microsoft.com/office/drawing/2014/main" id="{EB167237-1F68-427C-98FD-BD56EBDB8BAE}"/>
              </a:ext>
            </a:extLst>
          </p:cNvPr>
          <p:cNvGrpSpPr/>
          <p:nvPr/>
        </p:nvGrpSpPr>
        <p:grpSpPr>
          <a:xfrm>
            <a:off x="871497" y="3739958"/>
            <a:ext cx="657360" cy="147240"/>
            <a:chOff x="871497" y="3739958"/>
            <a:chExt cx="657360" cy="147240"/>
          </a:xfrm>
        </p:grpSpPr>
        <mc:AlternateContent xmlns:mc="http://schemas.openxmlformats.org/markup-compatibility/2006" xmlns:p14="http://schemas.microsoft.com/office/powerpoint/2010/main">
          <mc:Choice Requires="p14">
            <p:contentPart p14:bwMode="auto" r:id="rId19">
              <p14:nvContentPartPr>
                <p14:cNvPr id="16" name="Ink 15">
                  <a:extLst>
                    <a:ext uri="{FF2B5EF4-FFF2-40B4-BE49-F238E27FC236}">
                      <a16:creationId xmlns:a16="http://schemas.microsoft.com/office/drawing/2014/main" id="{2854C8C6-64F8-428F-B2A7-895C8DA8688F}"/>
                    </a:ext>
                  </a:extLst>
                </p14:cNvPr>
                <p14:cNvContentPartPr/>
                <p14:nvPr/>
              </p14:nvContentPartPr>
              <p14:xfrm>
                <a:off x="871497" y="3739958"/>
                <a:ext cx="87840" cy="113400"/>
              </p14:xfrm>
            </p:contentPart>
          </mc:Choice>
          <mc:Fallback xmlns="">
            <p:pic>
              <p:nvPicPr>
                <p:cNvPr id="16" name="Ink 15">
                  <a:extLst>
                    <a:ext uri="{FF2B5EF4-FFF2-40B4-BE49-F238E27FC236}">
                      <a16:creationId xmlns:a16="http://schemas.microsoft.com/office/drawing/2014/main" id="{2854C8C6-64F8-428F-B2A7-895C8DA8688F}"/>
                    </a:ext>
                  </a:extLst>
                </p:cNvPr>
                <p:cNvPicPr/>
                <p:nvPr/>
              </p:nvPicPr>
              <p:blipFill>
                <a:blip r:embed="rId20"/>
                <a:stretch>
                  <a:fillRect/>
                </a:stretch>
              </p:blipFill>
              <p:spPr>
                <a:xfrm>
                  <a:off x="862857" y="3730958"/>
                  <a:ext cx="105480" cy="13104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17" name="Ink 16">
                  <a:extLst>
                    <a:ext uri="{FF2B5EF4-FFF2-40B4-BE49-F238E27FC236}">
                      <a16:creationId xmlns:a16="http://schemas.microsoft.com/office/drawing/2014/main" id="{F0A01810-D8AC-441E-ABD1-7E837EF8EAC1}"/>
                    </a:ext>
                  </a:extLst>
                </p14:cNvPr>
                <p14:cNvContentPartPr/>
                <p14:nvPr/>
              </p14:nvContentPartPr>
              <p14:xfrm>
                <a:off x="998937" y="3754358"/>
                <a:ext cx="65160" cy="99360"/>
              </p14:xfrm>
            </p:contentPart>
          </mc:Choice>
          <mc:Fallback xmlns="">
            <p:pic>
              <p:nvPicPr>
                <p:cNvPr id="17" name="Ink 16">
                  <a:extLst>
                    <a:ext uri="{FF2B5EF4-FFF2-40B4-BE49-F238E27FC236}">
                      <a16:creationId xmlns:a16="http://schemas.microsoft.com/office/drawing/2014/main" id="{F0A01810-D8AC-441E-ABD1-7E837EF8EAC1}"/>
                    </a:ext>
                  </a:extLst>
                </p:cNvPr>
                <p:cNvPicPr/>
                <p:nvPr/>
              </p:nvPicPr>
              <p:blipFill>
                <a:blip r:embed="rId22"/>
                <a:stretch>
                  <a:fillRect/>
                </a:stretch>
              </p:blipFill>
              <p:spPr>
                <a:xfrm>
                  <a:off x="989937" y="3745718"/>
                  <a:ext cx="82800" cy="11700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18" name="Ink 17">
                  <a:extLst>
                    <a:ext uri="{FF2B5EF4-FFF2-40B4-BE49-F238E27FC236}">
                      <a16:creationId xmlns:a16="http://schemas.microsoft.com/office/drawing/2014/main" id="{15CB8345-16CA-4F97-AFF3-65866029A4C5}"/>
                    </a:ext>
                  </a:extLst>
                </p14:cNvPr>
                <p14:cNvContentPartPr/>
                <p14:nvPr/>
              </p14:nvContentPartPr>
              <p14:xfrm>
                <a:off x="1082097" y="3761918"/>
                <a:ext cx="70200" cy="91440"/>
              </p14:xfrm>
            </p:contentPart>
          </mc:Choice>
          <mc:Fallback xmlns="">
            <p:pic>
              <p:nvPicPr>
                <p:cNvPr id="18" name="Ink 17">
                  <a:extLst>
                    <a:ext uri="{FF2B5EF4-FFF2-40B4-BE49-F238E27FC236}">
                      <a16:creationId xmlns:a16="http://schemas.microsoft.com/office/drawing/2014/main" id="{15CB8345-16CA-4F97-AFF3-65866029A4C5}"/>
                    </a:ext>
                  </a:extLst>
                </p:cNvPr>
                <p:cNvPicPr/>
                <p:nvPr/>
              </p:nvPicPr>
              <p:blipFill>
                <a:blip r:embed="rId24"/>
                <a:stretch>
                  <a:fillRect/>
                </a:stretch>
              </p:blipFill>
              <p:spPr>
                <a:xfrm>
                  <a:off x="1073457" y="3752918"/>
                  <a:ext cx="87840" cy="10908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19" name="Ink 18">
                  <a:extLst>
                    <a:ext uri="{FF2B5EF4-FFF2-40B4-BE49-F238E27FC236}">
                      <a16:creationId xmlns:a16="http://schemas.microsoft.com/office/drawing/2014/main" id="{F74A6F8D-2725-47CD-80FD-304BA15A52D1}"/>
                    </a:ext>
                  </a:extLst>
                </p14:cNvPr>
                <p14:cNvContentPartPr/>
                <p14:nvPr/>
              </p14:nvContentPartPr>
              <p14:xfrm>
                <a:off x="1221417" y="3775598"/>
                <a:ext cx="20880" cy="76320"/>
              </p14:xfrm>
            </p:contentPart>
          </mc:Choice>
          <mc:Fallback xmlns="">
            <p:pic>
              <p:nvPicPr>
                <p:cNvPr id="19" name="Ink 18">
                  <a:extLst>
                    <a:ext uri="{FF2B5EF4-FFF2-40B4-BE49-F238E27FC236}">
                      <a16:creationId xmlns:a16="http://schemas.microsoft.com/office/drawing/2014/main" id="{F74A6F8D-2725-47CD-80FD-304BA15A52D1}"/>
                    </a:ext>
                  </a:extLst>
                </p:cNvPr>
                <p:cNvPicPr/>
                <p:nvPr/>
              </p:nvPicPr>
              <p:blipFill>
                <a:blip r:embed="rId26"/>
                <a:stretch>
                  <a:fillRect/>
                </a:stretch>
              </p:blipFill>
              <p:spPr>
                <a:xfrm>
                  <a:off x="1212417" y="3766958"/>
                  <a:ext cx="38520" cy="9396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20" name="Ink 19">
                  <a:extLst>
                    <a:ext uri="{FF2B5EF4-FFF2-40B4-BE49-F238E27FC236}">
                      <a16:creationId xmlns:a16="http://schemas.microsoft.com/office/drawing/2014/main" id="{CAABF79A-38F4-48BD-A99B-CD74A0BB9685}"/>
                    </a:ext>
                  </a:extLst>
                </p14:cNvPr>
                <p14:cNvContentPartPr/>
                <p14:nvPr/>
              </p14:nvContentPartPr>
              <p14:xfrm>
                <a:off x="1309257" y="3820598"/>
                <a:ext cx="3240" cy="4680"/>
              </p14:xfrm>
            </p:contentPart>
          </mc:Choice>
          <mc:Fallback xmlns="">
            <p:pic>
              <p:nvPicPr>
                <p:cNvPr id="20" name="Ink 19">
                  <a:extLst>
                    <a:ext uri="{FF2B5EF4-FFF2-40B4-BE49-F238E27FC236}">
                      <a16:creationId xmlns:a16="http://schemas.microsoft.com/office/drawing/2014/main" id="{CAABF79A-38F4-48BD-A99B-CD74A0BB9685}"/>
                    </a:ext>
                  </a:extLst>
                </p:cNvPr>
                <p:cNvPicPr/>
                <p:nvPr/>
              </p:nvPicPr>
              <p:blipFill>
                <a:blip r:embed="rId28"/>
                <a:stretch>
                  <a:fillRect/>
                </a:stretch>
              </p:blipFill>
              <p:spPr>
                <a:xfrm>
                  <a:off x="1300617" y="3811598"/>
                  <a:ext cx="20880" cy="2232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21" name="Ink 20">
                  <a:extLst>
                    <a:ext uri="{FF2B5EF4-FFF2-40B4-BE49-F238E27FC236}">
                      <a16:creationId xmlns:a16="http://schemas.microsoft.com/office/drawing/2014/main" id="{2F808A1C-2C90-4214-A8C3-B7A338B68AEB}"/>
                    </a:ext>
                  </a:extLst>
                </p14:cNvPr>
                <p14:cNvContentPartPr/>
                <p14:nvPr/>
              </p14:nvContentPartPr>
              <p14:xfrm>
                <a:off x="1379817" y="3769118"/>
                <a:ext cx="57960" cy="78120"/>
              </p14:xfrm>
            </p:contentPart>
          </mc:Choice>
          <mc:Fallback xmlns="">
            <p:pic>
              <p:nvPicPr>
                <p:cNvPr id="21" name="Ink 20">
                  <a:extLst>
                    <a:ext uri="{FF2B5EF4-FFF2-40B4-BE49-F238E27FC236}">
                      <a16:creationId xmlns:a16="http://schemas.microsoft.com/office/drawing/2014/main" id="{2F808A1C-2C90-4214-A8C3-B7A338B68AEB}"/>
                    </a:ext>
                  </a:extLst>
                </p:cNvPr>
                <p:cNvPicPr/>
                <p:nvPr/>
              </p:nvPicPr>
              <p:blipFill>
                <a:blip r:embed="rId30"/>
                <a:stretch>
                  <a:fillRect/>
                </a:stretch>
              </p:blipFill>
              <p:spPr>
                <a:xfrm>
                  <a:off x="1371177" y="3760118"/>
                  <a:ext cx="75600" cy="9576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22" name="Ink 21">
                  <a:extLst>
                    <a:ext uri="{FF2B5EF4-FFF2-40B4-BE49-F238E27FC236}">
                      <a16:creationId xmlns:a16="http://schemas.microsoft.com/office/drawing/2014/main" id="{EB3689F8-04CE-4502-924D-126F3F825817}"/>
                    </a:ext>
                  </a:extLst>
                </p14:cNvPr>
                <p14:cNvContentPartPr/>
                <p14:nvPr/>
              </p14:nvContentPartPr>
              <p14:xfrm>
                <a:off x="1396737" y="3789998"/>
                <a:ext cx="34560" cy="77400"/>
              </p14:xfrm>
            </p:contentPart>
          </mc:Choice>
          <mc:Fallback xmlns="">
            <p:pic>
              <p:nvPicPr>
                <p:cNvPr id="22" name="Ink 21">
                  <a:extLst>
                    <a:ext uri="{FF2B5EF4-FFF2-40B4-BE49-F238E27FC236}">
                      <a16:creationId xmlns:a16="http://schemas.microsoft.com/office/drawing/2014/main" id="{EB3689F8-04CE-4502-924D-126F3F825817}"/>
                    </a:ext>
                  </a:extLst>
                </p:cNvPr>
                <p:cNvPicPr/>
                <p:nvPr/>
              </p:nvPicPr>
              <p:blipFill>
                <a:blip r:embed="rId32"/>
                <a:stretch>
                  <a:fillRect/>
                </a:stretch>
              </p:blipFill>
              <p:spPr>
                <a:xfrm>
                  <a:off x="1387737" y="3780998"/>
                  <a:ext cx="52200" cy="9504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23" name="Ink 22">
                  <a:extLst>
                    <a:ext uri="{FF2B5EF4-FFF2-40B4-BE49-F238E27FC236}">
                      <a16:creationId xmlns:a16="http://schemas.microsoft.com/office/drawing/2014/main" id="{CA3527CE-2D01-4684-AB65-845A36C6E455}"/>
                    </a:ext>
                  </a:extLst>
                </p14:cNvPr>
                <p14:cNvContentPartPr/>
                <p14:nvPr/>
              </p14:nvContentPartPr>
              <p14:xfrm>
                <a:off x="1487817" y="3775598"/>
                <a:ext cx="41040" cy="47880"/>
              </p14:xfrm>
            </p:contentPart>
          </mc:Choice>
          <mc:Fallback xmlns="">
            <p:pic>
              <p:nvPicPr>
                <p:cNvPr id="23" name="Ink 22">
                  <a:extLst>
                    <a:ext uri="{FF2B5EF4-FFF2-40B4-BE49-F238E27FC236}">
                      <a16:creationId xmlns:a16="http://schemas.microsoft.com/office/drawing/2014/main" id="{CA3527CE-2D01-4684-AB65-845A36C6E455}"/>
                    </a:ext>
                  </a:extLst>
                </p:cNvPr>
                <p:cNvPicPr/>
                <p:nvPr/>
              </p:nvPicPr>
              <p:blipFill>
                <a:blip r:embed="rId34"/>
                <a:stretch>
                  <a:fillRect/>
                </a:stretch>
              </p:blipFill>
              <p:spPr>
                <a:xfrm>
                  <a:off x="1478817" y="3766958"/>
                  <a:ext cx="58680" cy="6552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24" name="Ink 23">
                  <a:extLst>
                    <a:ext uri="{FF2B5EF4-FFF2-40B4-BE49-F238E27FC236}">
                      <a16:creationId xmlns:a16="http://schemas.microsoft.com/office/drawing/2014/main" id="{32CD4FBE-2033-4D9B-BBCF-4B9267D82887}"/>
                    </a:ext>
                  </a:extLst>
                </p14:cNvPr>
                <p14:cNvContentPartPr/>
                <p14:nvPr/>
              </p14:nvContentPartPr>
              <p14:xfrm>
                <a:off x="1486737" y="3777398"/>
                <a:ext cx="27720" cy="109800"/>
              </p14:xfrm>
            </p:contentPart>
          </mc:Choice>
          <mc:Fallback xmlns="">
            <p:pic>
              <p:nvPicPr>
                <p:cNvPr id="24" name="Ink 23">
                  <a:extLst>
                    <a:ext uri="{FF2B5EF4-FFF2-40B4-BE49-F238E27FC236}">
                      <a16:creationId xmlns:a16="http://schemas.microsoft.com/office/drawing/2014/main" id="{32CD4FBE-2033-4D9B-BBCF-4B9267D82887}"/>
                    </a:ext>
                  </a:extLst>
                </p:cNvPr>
                <p:cNvPicPr/>
                <p:nvPr/>
              </p:nvPicPr>
              <p:blipFill>
                <a:blip r:embed="rId36"/>
                <a:stretch>
                  <a:fillRect/>
                </a:stretch>
              </p:blipFill>
              <p:spPr>
                <a:xfrm>
                  <a:off x="1478097" y="3768758"/>
                  <a:ext cx="45360" cy="127440"/>
                </a:xfrm>
                <a:prstGeom prst="rect">
                  <a:avLst/>
                </a:prstGeom>
              </p:spPr>
            </p:pic>
          </mc:Fallback>
        </mc:AlternateContent>
      </p:grpSp>
      <p:grpSp>
        <p:nvGrpSpPr>
          <p:cNvPr id="28" name="Group 27">
            <a:extLst>
              <a:ext uri="{FF2B5EF4-FFF2-40B4-BE49-F238E27FC236}">
                <a16:creationId xmlns:a16="http://schemas.microsoft.com/office/drawing/2014/main" id="{DE01CD0B-A892-4F17-86F8-47CCB68DF535}"/>
              </a:ext>
            </a:extLst>
          </p:cNvPr>
          <p:cNvGrpSpPr/>
          <p:nvPr/>
        </p:nvGrpSpPr>
        <p:grpSpPr>
          <a:xfrm>
            <a:off x="738297" y="3713318"/>
            <a:ext cx="78120" cy="204120"/>
            <a:chOff x="738297" y="3713318"/>
            <a:chExt cx="78120" cy="204120"/>
          </a:xfrm>
        </p:grpSpPr>
        <mc:AlternateContent xmlns:mc="http://schemas.openxmlformats.org/markup-compatibility/2006" xmlns:p14="http://schemas.microsoft.com/office/powerpoint/2010/main">
          <mc:Choice Requires="p14">
            <p:contentPart p14:bwMode="auto" r:id="rId37">
              <p14:nvContentPartPr>
                <p14:cNvPr id="26" name="Ink 25">
                  <a:extLst>
                    <a:ext uri="{FF2B5EF4-FFF2-40B4-BE49-F238E27FC236}">
                      <a16:creationId xmlns:a16="http://schemas.microsoft.com/office/drawing/2014/main" id="{CF1AAA03-0D2F-446A-971A-61796BC43002}"/>
                    </a:ext>
                  </a:extLst>
                </p14:cNvPr>
                <p14:cNvContentPartPr/>
                <p14:nvPr/>
              </p14:nvContentPartPr>
              <p14:xfrm>
                <a:off x="747657" y="3761918"/>
                <a:ext cx="68760" cy="89280"/>
              </p14:xfrm>
            </p:contentPart>
          </mc:Choice>
          <mc:Fallback xmlns="">
            <p:pic>
              <p:nvPicPr>
                <p:cNvPr id="26" name="Ink 25">
                  <a:extLst>
                    <a:ext uri="{FF2B5EF4-FFF2-40B4-BE49-F238E27FC236}">
                      <a16:creationId xmlns:a16="http://schemas.microsoft.com/office/drawing/2014/main" id="{CF1AAA03-0D2F-446A-971A-61796BC43002}"/>
                    </a:ext>
                  </a:extLst>
                </p:cNvPr>
                <p:cNvPicPr/>
                <p:nvPr/>
              </p:nvPicPr>
              <p:blipFill>
                <a:blip r:embed="rId38"/>
                <a:stretch>
                  <a:fillRect/>
                </a:stretch>
              </p:blipFill>
              <p:spPr>
                <a:xfrm>
                  <a:off x="739017" y="3752918"/>
                  <a:ext cx="86400" cy="10692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27" name="Ink 26">
                  <a:extLst>
                    <a:ext uri="{FF2B5EF4-FFF2-40B4-BE49-F238E27FC236}">
                      <a16:creationId xmlns:a16="http://schemas.microsoft.com/office/drawing/2014/main" id="{4F8E0924-A70A-40AE-9FC2-06196E73BC19}"/>
                    </a:ext>
                  </a:extLst>
                </p14:cNvPr>
                <p14:cNvContentPartPr/>
                <p14:nvPr/>
              </p14:nvContentPartPr>
              <p14:xfrm>
                <a:off x="738297" y="3713318"/>
                <a:ext cx="43560" cy="204120"/>
              </p14:xfrm>
            </p:contentPart>
          </mc:Choice>
          <mc:Fallback xmlns="">
            <p:pic>
              <p:nvPicPr>
                <p:cNvPr id="27" name="Ink 26">
                  <a:extLst>
                    <a:ext uri="{FF2B5EF4-FFF2-40B4-BE49-F238E27FC236}">
                      <a16:creationId xmlns:a16="http://schemas.microsoft.com/office/drawing/2014/main" id="{4F8E0924-A70A-40AE-9FC2-06196E73BC19}"/>
                    </a:ext>
                  </a:extLst>
                </p:cNvPr>
                <p:cNvPicPr/>
                <p:nvPr/>
              </p:nvPicPr>
              <p:blipFill>
                <a:blip r:embed="rId40"/>
                <a:stretch>
                  <a:fillRect/>
                </a:stretch>
              </p:blipFill>
              <p:spPr>
                <a:xfrm>
                  <a:off x="729297" y="3704318"/>
                  <a:ext cx="61200" cy="221760"/>
                </a:xfrm>
                <a:prstGeom prst="rect">
                  <a:avLst/>
                </a:prstGeom>
              </p:spPr>
            </p:pic>
          </mc:Fallback>
        </mc:AlternateContent>
      </p:grpSp>
      <p:grpSp>
        <p:nvGrpSpPr>
          <p:cNvPr id="38" name="Group 37">
            <a:extLst>
              <a:ext uri="{FF2B5EF4-FFF2-40B4-BE49-F238E27FC236}">
                <a16:creationId xmlns:a16="http://schemas.microsoft.com/office/drawing/2014/main" id="{08DAA599-E224-45C6-940E-430E70231EA8}"/>
              </a:ext>
            </a:extLst>
          </p:cNvPr>
          <p:cNvGrpSpPr/>
          <p:nvPr/>
        </p:nvGrpSpPr>
        <p:grpSpPr>
          <a:xfrm>
            <a:off x="2302137" y="3719798"/>
            <a:ext cx="706320" cy="224280"/>
            <a:chOff x="2302137" y="3719798"/>
            <a:chExt cx="706320" cy="224280"/>
          </a:xfrm>
        </p:grpSpPr>
        <mc:AlternateContent xmlns:mc="http://schemas.openxmlformats.org/markup-compatibility/2006" xmlns:p14="http://schemas.microsoft.com/office/powerpoint/2010/main">
          <mc:Choice Requires="p14">
            <p:contentPart p14:bwMode="auto" r:id="rId41">
              <p14:nvContentPartPr>
                <p14:cNvPr id="29" name="Ink 28">
                  <a:extLst>
                    <a:ext uri="{FF2B5EF4-FFF2-40B4-BE49-F238E27FC236}">
                      <a16:creationId xmlns:a16="http://schemas.microsoft.com/office/drawing/2014/main" id="{4E010658-DF2F-47A4-9132-8BEE1C4CDC94}"/>
                    </a:ext>
                  </a:extLst>
                </p14:cNvPr>
                <p14:cNvContentPartPr/>
                <p14:nvPr/>
              </p14:nvContentPartPr>
              <p14:xfrm>
                <a:off x="2318337" y="3754358"/>
                <a:ext cx="104040" cy="84600"/>
              </p14:xfrm>
            </p:contentPart>
          </mc:Choice>
          <mc:Fallback xmlns="">
            <p:pic>
              <p:nvPicPr>
                <p:cNvPr id="29" name="Ink 28">
                  <a:extLst>
                    <a:ext uri="{FF2B5EF4-FFF2-40B4-BE49-F238E27FC236}">
                      <a16:creationId xmlns:a16="http://schemas.microsoft.com/office/drawing/2014/main" id="{4E010658-DF2F-47A4-9132-8BEE1C4CDC94}"/>
                    </a:ext>
                  </a:extLst>
                </p:cNvPr>
                <p:cNvPicPr/>
                <p:nvPr/>
              </p:nvPicPr>
              <p:blipFill>
                <a:blip r:embed="rId42"/>
                <a:stretch>
                  <a:fillRect/>
                </a:stretch>
              </p:blipFill>
              <p:spPr>
                <a:xfrm>
                  <a:off x="2309337" y="3745718"/>
                  <a:ext cx="121680" cy="102240"/>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30" name="Ink 29">
                  <a:extLst>
                    <a:ext uri="{FF2B5EF4-FFF2-40B4-BE49-F238E27FC236}">
                      <a16:creationId xmlns:a16="http://schemas.microsoft.com/office/drawing/2014/main" id="{8188ABE6-B443-4E69-8BB5-FD5F977B3EEF}"/>
                    </a:ext>
                  </a:extLst>
                </p14:cNvPr>
                <p14:cNvContentPartPr/>
                <p14:nvPr/>
              </p14:nvContentPartPr>
              <p14:xfrm>
                <a:off x="2302137" y="3719798"/>
                <a:ext cx="71280" cy="224280"/>
              </p14:xfrm>
            </p:contentPart>
          </mc:Choice>
          <mc:Fallback xmlns="">
            <p:pic>
              <p:nvPicPr>
                <p:cNvPr id="30" name="Ink 29">
                  <a:extLst>
                    <a:ext uri="{FF2B5EF4-FFF2-40B4-BE49-F238E27FC236}">
                      <a16:creationId xmlns:a16="http://schemas.microsoft.com/office/drawing/2014/main" id="{8188ABE6-B443-4E69-8BB5-FD5F977B3EEF}"/>
                    </a:ext>
                  </a:extLst>
                </p:cNvPr>
                <p:cNvPicPr/>
                <p:nvPr/>
              </p:nvPicPr>
              <p:blipFill>
                <a:blip r:embed="rId44"/>
                <a:stretch>
                  <a:fillRect/>
                </a:stretch>
              </p:blipFill>
              <p:spPr>
                <a:xfrm>
                  <a:off x="2293137" y="3711158"/>
                  <a:ext cx="88920" cy="241920"/>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31" name="Ink 30">
                  <a:extLst>
                    <a:ext uri="{FF2B5EF4-FFF2-40B4-BE49-F238E27FC236}">
                      <a16:creationId xmlns:a16="http://schemas.microsoft.com/office/drawing/2014/main" id="{47A1E986-8DA7-4066-A15D-B7CE2A61E4D8}"/>
                    </a:ext>
                  </a:extLst>
                </p14:cNvPr>
                <p14:cNvContentPartPr/>
                <p14:nvPr/>
              </p14:nvContentPartPr>
              <p14:xfrm>
                <a:off x="2459457" y="3754358"/>
                <a:ext cx="63720" cy="81720"/>
              </p14:xfrm>
            </p:contentPart>
          </mc:Choice>
          <mc:Fallback xmlns="">
            <p:pic>
              <p:nvPicPr>
                <p:cNvPr id="31" name="Ink 30">
                  <a:extLst>
                    <a:ext uri="{FF2B5EF4-FFF2-40B4-BE49-F238E27FC236}">
                      <a16:creationId xmlns:a16="http://schemas.microsoft.com/office/drawing/2014/main" id="{47A1E986-8DA7-4066-A15D-B7CE2A61E4D8}"/>
                    </a:ext>
                  </a:extLst>
                </p:cNvPr>
                <p:cNvPicPr/>
                <p:nvPr/>
              </p:nvPicPr>
              <p:blipFill>
                <a:blip r:embed="rId46"/>
                <a:stretch>
                  <a:fillRect/>
                </a:stretch>
              </p:blipFill>
              <p:spPr>
                <a:xfrm>
                  <a:off x="2450817" y="3745718"/>
                  <a:ext cx="81360" cy="99360"/>
                </a:xfrm>
                <a:prstGeom prst="rect">
                  <a:avLst/>
                </a:prstGeom>
              </p:spPr>
            </p:pic>
          </mc:Fallback>
        </mc:AlternateContent>
        <mc:AlternateContent xmlns:mc="http://schemas.openxmlformats.org/markup-compatibility/2006" xmlns:p14="http://schemas.microsoft.com/office/powerpoint/2010/main">
          <mc:Choice Requires="p14">
            <p:contentPart p14:bwMode="auto" r:id="rId47">
              <p14:nvContentPartPr>
                <p14:cNvPr id="32" name="Ink 31">
                  <a:extLst>
                    <a:ext uri="{FF2B5EF4-FFF2-40B4-BE49-F238E27FC236}">
                      <a16:creationId xmlns:a16="http://schemas.microsoft.com/office/drawing/2014/main" id="{21DD7CA3-940F-4C3C-AD44-AC59C377C5CF}"/>
                    </a:ext>
                  </a:extLst>
                </p14:cNvPr>
                <p14:cNvContentPartPr/>
                <p14:nvPr/>
              </p14:nvContentPartPr>
              <p14:xfrm>
                <a:off x="2589417" y="3740678"/>
                <a:ext cx="70560" cy="104400"/>
              </p14:xfrm>
            </p:contentPart>
          </mc:Choice>
          <mc:Fallback xmlns="">
            <p:pic>
              <p:nvPicPr>
                <p:cNvPr id="32" name="Ink 31">
                  <a:extLst>
                    <a:ext uri="{FF2B5EF4-FFF2-40B4-BE49-F238E27FC236}">
                      <a16:creationId xmlns:a16="http://schemas.microsoft.com/office/drawing/2014/main" id="{21DD7CA3-940F-4C3C-AD44-AC59C377C5CF}"/>
                    </a:ext>
                  </a:extLst>
                </p:cNvPr>
                <p:cNvPicPr/>
                <p:nvPr/>
              </p:nvPicPr>
              <p:blipFill>
                <a:blip r:embed="rId48"/>
                <a:stretch>
                  <a:fillRect/>
                </a:stretch>
              </p:blipFill>
              <p:spPr>
                <a:xfrm>
                  <a:off x="2580777" y="3731678"/>
                  <a:ext cx="88200" cy="122040"/>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33" name="Ink 32">
                  <a:extLst>
                    <a:ext uri="{FF2B5EF4-FFF2-40B4-BE49-F238E27FC236}">
                      <a16:creationId xmlns:a16="http://schemas.microsoft.com/office/drawing/2014/main" id="{269A00FB-4399-4704-ABB8-D77C5D28A32C}"/>
                    </a:ext>
                  </a:extLst>
                </p14:cNvPr>
                <p14:cNvContentPartPr/>
                <p14:nvPr/>
              </p14:nvContentPartPr>
              <p14:xfrm>
                <a:off x="2617137" y="3803678"/>
                <a:ext cx="55080" cy="360"/>
              </p14:xfrm>
            </p:contentPart>
          </mc:Choice>
          <mc:Fallback xmlns="">
            <p:pic>
              <p:nvPicPr>
                <p:cNvPr id="33" name="Ink 32">
                  <a:extLst>
                    <a:ext uri="{FF2B5EF4-FFF2-40B4-BE49-F238E27FC236}">
                      <a16:creationId xmlns:a16="http://schemas.microsoft.com/office/drawing/2014/main" id="{269A00FB-4399-4704-ABB8-D77C5D28A32C}"/>
                    </a:ext>
                  </a:extLst>
                </p:cNvPr>
                <p:cNvPicPr/>
                <p:nvPr/>
              </p:nvPicPr>
              <p:blipFill>
                <a:blip r:embed="rId50"/>
                <a:stretch>
                  <a:fillRect/>
                </a:stretch>
              </p:blipFill>
              <p:spPr>
                <a:xfrm>
                  <a:off x="2608497" y="3795038"/>
                  <a:ext cx="7272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34" name="Ink 33">
                  <a:extLst>
                    <a:ext uri="{FF2B5EF4-FFF2-40B4-BE49-F238E27FC236}">
                      <a16:creationId xmlns:a16="http://schemas.microsoft.com/office/drawing/2014/main" id="{36087166-214C-4B32-9BF2-0D9A53DC6D3A}"/>
                    </a:ext>
                  </a:extLst>
                </p14:cNvPr>
                <p14:cNvContentPartPr/>
                <p14:nvPr/>
              </p14:nvContentPartPr>
              <p14:xfrm>
                <a:off x="2751057" y="3754718"/>
                <a:ext cx="61920" cy="83880"/>
              </p14:xfrm>
            </p:contentPart>
          </mc:Choice>
          <mc:Fallback xmlns="">
            <p:pic>
              <p:nvPicPr>
                <p:cNvPr id="34" name="Ink 33">
                  <a:extLst>
                    <a:ext uri="{FF2B5EF4-FFF2-40B4-BE49-F238E27FC236}">
                      <a16:creationId xmlns:a16="http://schemas.microsoft.com/office/drawing/2014/main" id="{36087166-214C-4B32-9BF2-0D9A53DC6D3A}"/>
                    </a:ext>
                  </a:extLst>
                </p:cNvPr>
                <p:cNvPicPr/>
                <p:nvPr/>
              </p:nvPicPr>
              <p:blipFill>
                <a:blip r:embed="rId52"/>
                <a:stretch>
                  <a:fillRect/>
                </a:stretch>
              </p:blipFill>
              <p:spPr>
                <a:xfrm>
                  <a:off x="2742057" y="3746078"/>
                  <a:ext cx="79560" cy="101520"/>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35" name="Ink 34">
                  <a:extLst>
                    <a:ext uri="{FF2B5EF4-FFF2-40B4-BE49-F238E27FC236}">
                      <a16:creationId xmlns:a16="http://schemas.microsoft.com/office/drawing/2014/main" id="{1B0C57C6-2901-4384-9326-DC7C10841057}"/>
                    </a:ext>
                  </a:extLst>
                </p14:cNvPr>
                <p14:cNvContentPartPr/>
                <p14:nvPr/>
              </p14:nvContentPartPr>
              <p14:xfrm>
                <a:off x="2847537" y="3831758"/>
                <a:ext cx="360" cy="360"/>
              </p14:xfrm>
            </p:contentPart>
          </mc:Choice>
          <mc:Fallback xmlns="">
            <p:pic>
              <p:nvPicPr>
                <p:cNvPr id="35" name="Ink 34">
                  <a:extLst>
                    <a:ext uri="{FF2B5EF4-FFF2-40B4-BE49-F238E27FC236}">
                      <a16:creationId xmlns:a16="http://schemas.microsoft.com/office/drawing/2014/main" id="{1B0C57C6-2901-4384-9326-DC7C10841057}"/>
                    </a:ext>
                  </a:extLst>
                </p:cNvPr>
                <p:cNvPicPr/>
                <p:nvPr/>
              </p:nvPicPr>
              <p:blipFill>
                <a:blip r:embed="rId28"/>
                <a:stretch>
                  <a:fillRect/>
                </a:stretch>
              </p:blipFill>
              <p:spPr>
                <a:xfrm>
                  <a:off x="2838537" y="3823118"/>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36" name="Ink 35">
                  <a:extLst>
                    <a:ext uri="{FF2B5EF4-FFF2-40B4-BE49-F238E27FC236}">
                      <a16:creationId xmlns:a16="http://schemas.microsoft.com/office/drawing/2014/main" id="{E276AE82-905C-4DA3-B62D-8150BEACA652}"/>
                    </a:ext>
                  </a:extLst>
                </p14:cNvPr>
                <p14:cNvContentPartPr/>
                <p14:nvPr/>
              </p14:nvContentPartPr>
              <p14:xfrm>
                <a:off x="2884257" y="3768758"/>
                <a:ext cx="34920" cy="78480"/>
              </p14:xfrm>
            </p:contentPart>
          </mc:Choice>
          <mc:Fallback xmlns="">
            <p:pic>
              <p:nvPicPr>
                <p:cNvPr id="36" name="Ink 35">
                  <a:extLst>
                    <a:ext uri="{FF2B5EF4-FFF2-40B4-BE49-F238E27FC236}">
                      <a16:creationId xmlns:a16="http://schemas.microsoft.com/office/drawing/2014/main" id="{E276AE82-905C-4DA3-B62D-8150BEACA652}"/>
                    </a:ext>
                  </a:extLst>
                </p:cNvPr>
                <p:cNvPicPr/>
                <p:nvPr/>
              </p:nvPicPr>
              <p:blipFill>
                <a:blip r:embed="rId55"/>
                <a:stretch>
                  <a:fillRect/>
                </a:stretch>
              </p:blipFill>
              <p:spPr>
                <a:xfrm>
                  <a:off x="2875257" y="3760118"/>
                  <a:ext cx="52560" cy="9612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37" name="Ink 36">
                  <a:extLst>
                    <a:ext uri="{FF2B5EF4-FFF2-40B4-BE49-F238E27FC236}">
                      <a16:creationId xmlns:a16="http://schemas.microsoft.com/office/drawing/2014/main" id="{6BF56829-DA29-4335-8AF0-BFD357231CEA}"/>
                    </a:ext>
                  </a:extLst>
                </p14:cNvPr>
                <p14:cNvContentPartPr/>
                <p14:nvPr/>
              </p14:nvContentPartPr>
              <p14:xfrm>
                <a:off x="2954817" y="3769118"/>
                <a:ext cx="53640" cy="63720"/>
              </p14:xfrm>
            </p:contentPart>
          </mc:Choice>
          <mc:Fallback xmlns="">
            <p:pic>
              <p:nvPicPr>
                <p:cNvPr id="37" name="Ink 36">
                  <a:extLst>
                    <a:ext uri="{FF2B5EF4-FFF2-40B4-BE49-F238E27FC236}">
                      <a16:creationId xmlns:a16="http://schemas.microsoft.com/office/drawing/2014/main" id="{6BF56829-DA29-4335-8AF0-BFD357231CEA}"/>
                    </a:ext>
                  </a:extLst>
                </p:cNvPr>
                <p:cNvPicPr/>
                <p:nvPr/>
              </p:nvPicPr>
              <p:blipFill>
                <a:blip r:embed="rId57"/>
                <a:stretch>
                  <a:fillRect/>
                </a:stretch>
              </p:blipFill>
              <p:spPr>
                <a:xfrm>
                  <a:off x="2946177" y="3760118"/>
                  <a:ext cx="71280" cy="81360"/>
                </a:xfrm>
                <a:prstGeom prst="rect">
                  <a:avLst/>
                </a:prstGeom>
              </p:spPr>
            </p:pic>
          </mc:Fallback>
        </mc:AlternateContent>
      </p:grpSp>
      <p:grpSp>
        <p:nvGrpSpPr>
          <p:cNvPr id="47" name="Group 46">
            <a:extLst>
              <a:ext uri="{FF2B5EF4-FFF2-40B4-BE49-F238E27FC236}">
                <a16:creationId xmlns:a16="http://schemas.microsoft.com/office/drawing/2014/main" id="{6600F404-00A8-43E3-838A-01D1B3291E3B}"/>
              </a:ext>
            </a:extLst>
          </p:cNvPr>
          <p:cNvGrpSpPr/>
          <p:nvPr/>
        </p:nvGrpSpPr>
        <p:grpSpPr>
          <a:xfrm>
            <a:off x="5005377" y="3723398"/>
            <a:ext cx="578880" cy="206640"/>
            <a:chOff x="5005377" y="3723398"/>
            <a:chExt cx="578880" cy="206640"/>
          </a:xfrm>
        </p:grpSpPr>
        <mc:AlternateContent xmlns:mc="http://schemas.openxmlformats.org/markup-compatibility/2006" xmlns:p14="http://schemas.microsoft.com/office/powerpoint/2010/main">
          <mc:Choice Requires="p14">
            <p:contentPart p14:bwMode="auto" r:id="rId58">
              <p14:nvContentPartPr>
                <p14:cNvPr id="39" name="Ink 38">
                  <a:extLst>
                    <a:ext uri="{FF2B5EF4-FFF2-40B4-BE49-F238E27FC236}">
                      <a16:creationId xmlns:a16="http://schemas.microsoft.com/office/drawing/2014/main" id="{3A41C3FA-BB5F-4B63-9BA4-52DFB19243B6}"/>
                    </a:ext>
                  </a:extLst>
                </p14:cNvPr>
                <p14:cNvContentPartPr/>
                <p14:nvPr/>
              </p14:nvContentPartPr>
              <p14:xfrm>
                <a:off x="5081337" y="3742118"/>
                <a:ext cx="132120" cy="75240"/>
              </p14:xfrm>
            </p:contentPart>
          </mc:Choice>
          <mc:Fallback xmlns="">
            <p:pic>
              <p:nvPicPr>
                <p:cNvPr id="39" name="Ink 38">
                  <a:extLst>
                    <a:ext uri="{FF2B5EF4-FFF2-40B4-BE49-F238E27FC236}">
                      <a16:creationId xmlns:a16="http://schemas.microsoft.com/office/drawing/2014/main" id="{3A41C3FA-BB5F-4B63-9BA4-52DFB19243B6}"/>
                    </a:ext>
                  </a:extLst>
                </p:cNvPr>
                <p:cNvPicPr/>
                <p:nvPr/>
              </p:nvPicPr>
              <p:blipFill>
                <a:blip r:embed="rId59"/>
                <a:stretch>
                  <a:fillRect/>
                </a:stretch>
              </p:blipFill>
              <p:spPr>
                <a:xfrm>
                  <a:off x="5072697" y="3733118"/>
                  <a:ext cx="149760" cy="9288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40" name="Ink 39">
                  <a:extLst>
                    <a:ext uri="{FF2B5EF4-FFF2-40B4-BE49-F238E27FC236}">
                      <a16:creationId xmlns:a16="http://schemas.microsoft.com/office/drawing/2014/main" id="{C0F22371-391C-4262-918C-DF42F3C332DF}"/>
                    </a:ext>
                  </a:extLst>
                </p14:cNvPr>
                <p14:cNvContentPartPr/>
                <p14:nvPr/>
              </p14:nvContentPartPr>
              <p14:xfrm>
                <a:off x="5284377" y="3723398"/>
                <a:ext cx="65880" cy="70200"/>
              </p14:xfrm>
            </p:contentPart>
          </mc:Choice>
          <mc:Fallback xmlns="">
            <p:pic>
              <p:nvPicPr>
                <p:cNvPr id="40" name="Ink 39">
                  <a:extLst>
                    <a:ext uri="{FF2B5EF4-FFF2-40B4-BE49-F238E27FC236}">
                      <a16:creationId xmlns:a16="http://schemas.microsoft.com/office/drawing/2014/main" id="{C0F22371-391C-4262-918C-DF42F3C332DF}"/>
                    </a:ext>
                  </a:extLst>
                </p:cNvPr>
                <p:cNvPicPr/>
                <p:nvPr/>
              </p:nvPicPr>
              <p:blipFill>
                <a:blip r:embed="rId61"/>
                <a:stretch>
                  <a:fillRect/>
                </a:stretch>
              </p:blipFill>
              <p:spPr>
                <a:xfrm>
                  <a:off x="5275737" y="3714398"/>
                  <a:ext cx="83520" cy="87840"/>
                </a:xfrm>
                <a:prstGeom prst="rect">
                  <a:avLst/>
                </a:prstGeom>
              </p:spPr>
            </p:pic>
          </mc:Fallback>
        </mc:AlternateContent>
        <mc:AlternateContent xmlns:mc="http://schemas.openxmlformats.org/markup-compatibility/2006" xmlns:p14="http://schemas.microsoft.com/office/powerpoint/2010/main">
          <mc:Choice Requires="p14">
            <p:contentPart p14:bwMode="auto" r:id="rId62">
              <p14:nvContentPartPr>
                <p14:cNvPr id="41" name="Ink 40">
                  <a:extLst>
                    <a:ext uri="{FF2B5EF4-FFF2-40B4-BE49-F238E27FC236}">
                      <a16:creationId xmlns:a16="http://schemas.microsoft.com/office/drawing/2014/main" id="{94190B63-4B54-4147-86A0-65257F79D3E3}"/>
                    </a:ext>
                  </a:extLst>
                </p14:cNvPr>
                <p14:cNvContentPartPr/>
                <p14:nvPr/>
              </p14:nvContentPartPr>
              <p14:xfrm>
                <a:off x="5381937" y="3747878"/>
                <a:ext cx="103680" cy="64440"/>
              </p14:xfrm>
            </p:contentPart>
          </mc:Choice>
          <mc:Fallback xmlns="">
            <p:pic>
              <p:nvPicPr>
                <p:cNvPr id="41" name="Ink 40">
                  <a:extLst>
                    <a:ext uri="{FF2B5EF4-FFF2-40B4-BE49-F238E27FC236}">
                      <a16:creationId xmlns:a16="http://schemas.microsoft.com/office/drawing/2014/main" id="{94190B63-4B54-4147-86A0-65257F79D3E3}"/>
                    </a:ext>
                  </a:extLst>
                </p:cNvPr>
                <p:cNvPicPr/>
                <p:nvPr/>
              </p:nvPicPr>
              <p:blipFill>
                <a:blip r:embed="rId63"/>
                <a:stretch>
                  <a:fillRect/>
                </a:stretch>
              </p:blipFill>
              <p:spPr>
                <a:xfrm>
                  <a:off x="5373297" y="3739238"/>
                  <a:ext cx="121320" cy="82080"/>
                </a:xfrm>
                <a:prstGeom prst="rect">
                  <a:avLst/>
                </a:prstGeom>
              </p:spPr>
            </p:pic>
          </mc:Fallback>
        </mc:AlternateContent>
        <mc:AlternateContent xmlns:mc="http://schemas.openxmlformats.org/markup-compatibility/2006" xmlns:p14="http://schemas.microsoft.com/office/powerpoint/2010/main">
          <mc:Choice Requires="p14">
            <p:contentPart p14:bwMode="auto" r:id="rId64">
              <p14:nvContentPartPr>
                <p14:cNvPr id="42" name="Ink 41">
                  <a:extLst>
                    <a:ext uri="{FF2B5EF4-FFF2-40B4-BE49-F238E27FC236}">
                      <a16:creationId xmlns:a16="http://schemas.microsoft.com/office/drawing/2014/main" id="{BE73B064-3CDF-4E8C-83B8-4175A14353D5}"/>
                    </a:ext>
                  </a:extLst>
                </p14:cNvPr>
                <p14:cNvContentPartPr/>
                <p14:nvPr/>
              </p14:nvContentPartPr>
              <p14:xfrm>
                <a:off x="5413257" y="3747878"/>
                <a:ext cx="38520" cy="76320"/>
              </p14:xfrm>
            </p:contentPart>
          </mc:Choice>
          <mc:Fallback xmlns="">
            <p:pic>
              <p:nvPicPr>
                <p:cNvPr id="42" name="Ink 41">
                  <a:extLst>
                    <a:ext uri="{FF2B5EF4-FFF2-40B4-BE49-F238E27FC236}">
                      <a16:creationId xmlns:a16="http://schemas.microsoft.com/office/drawing/2014/main" id="{BE73B064-3CDF-4E8C-83B8-4175A14353D5}"/>
                    </a:ext>
                  </a:extLst>
                </p:cNvPr>
                <p:cNvPicPr/>
                <p:nvPr/>
              </p:nvPicPr>
              <p:blipFill>
                <a:blip r:embed="rId65"/>
                <a:stretch>
                  <a:fillRect/>
                </a:stretch>
              </p:blipFill>
              <p:spPr>
                <a:xfrm>
                  <a:off x="5404257" y="3739238"/>
                  <a:ext cx="56160" cy="93960"/>
                </a:xfrm>
                <a:prstGeom prst="rect">
                  <a:avLst/>
                </a:prstGeom>
              </p:spPr>
            </p:pic>
          </mc:Fallback>
        </mc:AlternateContent>
        <mc:AlternateContent xmlns:mc="http://schemas.openxmlformats.org/markup-compatibility/2006" xmlns:p14="http://schemas.microsoft.com/office/powerpoint/2010/main">
          <mc:Choice Requires="p14">
            <p:contentPart p14:bwMode="auto" r:id="rId66">
              <p14:nvContentPartPr>
                <p14:cNvPr id="43" name="Ink 42">
                  <a:extLst>
                    <a:ext uri="{FF2B5EF4-FFF2-40B4-BE49-F238E27FC236}">
                      <a16:creationId xmlns:a16="http://schemas.microsoft.com/office/drawing/2014/main" id="{BBE1ED31-2BC8-4433-A402-C46FAC25EDA7}"/>
                    </a:ext>
                  </a:extLst>
                </p14:cNvPr>
                <p14:cNvContentPartPr/>
                <p14:nvPr/>
              </p14:nvContentPartPr>
              <p14:xfrm>
                <a:off x="5514417" y="3789998"/>
                <a:ext cx="63000" cy="50400"/>
              </p14:xfrm>
            </p:contentPart>
          </mc:Choice>
          <mc:Fallback xmlns="">
            <p:pic>
              <p:nvPicPr>
                <p:cNvPr id="43" name="Ink 42">
                  <a:extLst>
                    <a:ext uri="{FF2B5EF4-FFF2-40B4-BE49-F238E27FC236}">
                      <a16:creationId xmlns:a16="http://schemas.microsoft.com/office/drawing/2014/main" id="{BBE1ED31-2BC8-4433-A402-C46FAC25EDA7}"/>
                    </a:ext>
                  </a:extLst>
                </p:cNvPr>
                <p:cNvPicPr/>
                <p:nvPr/>
              </p:nvPicPr>
              <p:blipFill>
                <a:blip r:embed="rId67"/>
                <a:stretch>
                  <a:fillRect/>
                </a:stretch>
              </p:blipFill>
              <p:spPr>
                <a:xfrm>
                  <a:off x="5505417" y="3780998"/>
                  <a:ext cx="80640" cy="68040"/>
                </a:xfrm>
                <a:prstGeom prst="rect">
                  <a:avLst/>
                </a:prstGeom>
              </p:spPr>
            </p:pic>
          </mc:Fallback>
        </mc:AlternateContent>
        <mc:AlternateContent xmlns:mc="http://schemas.openxmlformats.org/markup-compatibility/2006" xmlns:p14="http://schemas.microsoft.com/office/powerpoint/2010/main">
          <mc:Choice Requires="p14">
            <p:contentPart p14:bwMode="auto" r:id="rId68">
              <p14:nvContentPartPr>
                <p14:cNvPr id="44" name="Ink 43">
                  <a:extLst>
                    <a:ext uri="{FF2B5EF4-FFF2-40B4-BE49-F238E27FC236}">
                      <a16:creationId xmlns:a16="http://schemas.microsoft.com/office/drawing/2014/main" id="{5B703E1B-19B1-4888-ABE8-637D91767CDB}"/>
                    </a:ext>
                  </a:extLst>
                </p14:cNvPr>
                <p14:cNvContentPartPr/>
                <p14:nvPr/>
              </p14:nvContentPartPr>
              <p14:xfrm>
                <a:off x="5548617" y="3782798"/>
                <a:ext cx="35640" cy="97560"/>
              </p14:xfrm>
            </p:contentPart>
          </mc:Choice>
          <mc:Fallback xmlns="">
            <p:pic>
              <p:nvPicPr>
                <p:cNvPr id="44" name="Ink 43">
                  <a:extLst>
                    <a:ext uri="{FF2B5EF4-FFF2-40B4-BE49-F238E27FC236}">
                      <a16:creationId xmlns:a16="http://schemas.microsoft.com/office/drawing/2014/main" id="{5B703E1B-19B1-4888-ABE8-637D91767CDB}"/>
                    </a:ext>
                  </a:extLst>
                </p:cNvPr>
                <p:cNvPicPr/>
                <p:nvPr/>
              </p:nvPicPr>
              <p:blipFill>
                <a:blip r:embed="rId69"/>
                <a:stretch>
                  <a:fillRect/>
                </a:stretch>
              </p:blipFill>
              <p:spPr>
                <a:xfrm>
                  <a:off x="5539617" y="3774158"/>
                  <a:ext cx="53280" cy="115200"/>
                </a:xfrm>
                <a:prstGeom prst="rect">
                  <a:avLst/>
                </a:prstGeom>
              </p:spPr>
            </p:pic>
          </mc:Fallback>
        </mc:AlternateContent>
        <mc:AlternateContent xmlns:mc="http://schemas.openxmlformats.org/markup-compatibility/2006" xmlns:p14="http://schemas.microsoft.com/office/powerpoint/2010/main">
          <mc:Choice Requires="p14">
            <p:contentPart p14:bwMode="auto" r:id="rId70">
              <p14:nvContentPartPr>
                <p14:cNvPr id="45" name="Ink 44">
                  <a:extLst>
                    <a:ext uri="{FF2B5EF4-FFF2-40B4-BE49-F238E27FC236}">
                      <a16:creationId xmlns:a16="http://schemas.microsoft.com/office/drawing/2014/main" id="{EEC625EA-A709-4029-97BA-433033071599}"/>
                    </a:ext>
                  </a:extLst>
                </p14:cNvPr>
                <p14:cNvContentPartPr/>
                <p14:nvPr/>
              </p14:nvContentPartPr>
              <p14:xfrm>
                <a:off x="5027337" y="3754718"/>
                <a:ext cx="47520" cy="91800"/>
              </p14:xfrm>
            </p:contentPart>
          </mc:Choice>
          <mc:Fallback xmlns="">
            <p:pic>
              <p:nvPicPr>
                <p:cNvPr id="45" name="Ink 44">
                  <a:extLst>
                    <a:ext uri="{FF2B5EF4-FFF2-40B4-BE49-F238E27FC236}">
                      <a16:creationId xmlns:a16="http://schemas.microsoft.com/office/drawing/2014/main" id="{EEC625EA-A709-4029-97BA-433033071599}"/>
                    </a:ext>
                  </a:extLst>
                </p:cNvPr>
                <p:cNvPicPr/>
                <p:nvPr/>
              </p:nvPicPr>
              <p:blipFill>
                <a:blip r:embed="rId71"/>
                <a:stretch>
                  <a:fillRect/>
                </a:stretch>
              </p:blipFill>
              <p:spPr>
                <a:xfrm>
                  <a:off x="5018337" y="3746078"/>
                  <a:ext cx="65160" cy="109440"/>
                </a:xfrm>
                <a:prstGeom prst="rect">
                  <a:avLst/>
                </a:prstGeom>
              </p:spPr>
            </p:pic>
          </mc:Fallback>
        </mc:AlternateContent>
        <mc:AlternateContent xmlns:mc="http://schemas.openxmlformats.org/markup-compatibility/2006" xmlns:p14="http://schemas.microsoft.com/office/powerpoint/2010/main">
          <mc:Choice Requires="p14">
            <p:contentPart p14:bwMode="auto" r:id="rId72">
              <p14:nvContentPartPr>
                <p14:cNvPr id="46" name="Ink 45">
                  <a:extLst>
                    <a:ext uri="{FF2B5EF4-FFF2-40B4-BE49-F238E27FC236}">
                      <a16:creationId xmlns:a16="http://schemas.microsoft.com/office/drawing/2014/main" id="{6CE2A0C2-A56C-4337-A6CD-5D2BC8A65F24}"/>
                    </a:ext>
                  </a:extLst>
                </p14:cNvPr>
                <p14:cNvContentPartPr/>
                <p14:nvPr/>
              </p14:nvContentPartPr>
              <p14:xfrm>
                <a:off x="5005377" y="3761918"/>
                <a:ext cx="34560" cy="168120"/>
              </p14:xfrm>
            </p:contentPart>
          </mc:Choice>
          <mc:Fallback xmlns="">
            <p:pic>
              <p:nvPicPr>
                <p:cNvPr id="46" name="Ink 45">
                  <a:extLst>
                    <a:ext uri="{FF2B5EF4-FFF2-40B4-BE49-F238E27FC236}">
                      <a16:creationId xmlns:a16="http://schemas.microsoft.com/office/drawing/2014/main" id="{6CE2A0C2-A56C-4337-A6CD-5D2BC8A65F24}"/>
                    </a:ext>
                  </a:extLst>
                </p:cNvPr>
                <p:cNvPicPr/>
                <p:nvPr/>
              </p:nvPicPr>
              <p:blipFill>
                <a:blip r:embed="rId73"/>
                <a:stretch>
                  <a:fillRect/>
                </a:stretch>
              </p:blipFill>
              <p:spPr>
                <a:xfrm>
                  <a:off x="4996737" y="3752918"/>
                  <a:ext cx="52200" cy="185760"/>
                </a:xfrm>
                <a:prstGeom prst="rect">
                  <a:avLst/>
                </a:prstGeom>
              </p:spPr>
            </p:pic>
          </mc:Fallback>
        </mc:AlternateContent>
      </p:grpSp>
      <p:grpSp>
        <p:nvGrpSpPr>
          <p:cNvPr id="57" name="Group 56">
            <a:extLst>
              <a:ext uri="{FF2B5EF4-FFF2-40B4-BE49-F238E27FC236}">
                <a16:creationId xmlns:a16="http://schemas.microsoft.com/office/drawing/2014/main" id="{5470643E-A305-443E-AC9C-EA74C5487491}"/>
              </a:ext>
            </a:extLst>
          </p:cNvPr>
          <p:cNvGrpSpPr/>
          <p:nvPr/>
        </p:nvGrpSpPr>
        <p:grpSpPr>
          <a:xfrm>
            <a:off x="3654657" y="3713318"/>
            <a:ext cx="507600" cy="235080"/>
            <a:chOff x="3654657" y="3713318"/>
            <a:chExt cx="507600" cy="235080"/>
          </a:xfrm>
        </p:grpSpPr>
        <mc:AlternateContent xmlns:mc="http://schemas.openxmlformats.org/markup-compatibility/2006" xmlns:p14="http://schemas.microsoft.com/office/powerpoint/2010/main">
          <mc:Choice Requires="p14">
            <p:contentPart p14:bwMode="auto" r:id="rId74">
              <p14:nvContentPartPr>
                <p14:cNvPr id="48" name="Ink 47">
                  <a:extLst>
                    <a:ext uri="{FF2B5EF4-FFF2-40B4-BE49-F238E27FC236}">
                      <a16:creationId xmlns:a16="http://schemas.microsoft.com/office/drawing/2014/main" id="{FADE710D-6762-4660-ADA5-90C692B3F5AE}"/>
                    </a:ext>
                  </a:extLst>
                </p14:cNvPr>
                <p14:cNvContentPartPr/>
                <p14:nvPr/>
              </p14:nvContentPartPr>
              <p14:xfrm>
                <a:off x="3749697" y="3740678"/>
                <a:ext cx="67680" cy="74160"/>
              </p14:xfrm>
            </p:contentPart>
          </mc:Choice>
          <mc:Fallback xmlns="">
            <p:pic>
              <p:nvPicPr>
                <p:cNvPr id="48" name="Ink 47">
                  <a:extLst>
                    <a:ext uri="{FF2B5EF4-FFF2-40B4-BE49-F238E27FC236}">
                      <a16:creationId xmlns:a16="http://schemas.microsoft.com/office/drawing/2014/main" id="{FADE710D-6762-4660-ADA5-90C692B3F5AE}"/>
                    </a:ext>
                  </a:extLst>
                </p:cNvPr>
                <p:cNvPicPr/>
                <p:nvPr/>
              </p:nvPicPr>
              <p:blipFill>
                <a:blip r:embed="rId75"/>
                <a:stretch>
                  <a:fillRect/>
                </a:stretch>
              </p:blipFill>
              <p:spPr>
                <a:xfrm>
                  <a:off x="3741057" y="3732038"/>
                  <a:ext cx="85320" cy="91800"/>
                </a:xfrm>
                <a:prstGeom prst="rect">
                  <a:avLst/>
                </a:prstGeom>
              </p:spPr>
            </p:pic>
          </mc:Fallback>
        </mc:AlternateContent>
        <mc:AlternateContent xmlns:mc="http://schemas.openxmlformats.org/markup-compatibility/2006" xmlns:p14="http://schemas.microsoft.com/office/powerpoint/2010/main">
          <mc:Choice Requires="p14">
            <p:contentPart p14:bwMode="auto" r:id="rId76">
              <p14:nvContentPartPr>
                <p14:cNvPr id="49" name="Ink 48">
                  <a:extLst>
                    <a:ext uri="{FF2B5EF4-FFF2-40B4-BE49-F238E27FC236}">
                      <a16:creationId xmlns:a16="http://schemas.microsoft.com/office/drawing/2014/main" id="{6C6FDDF3-30D3-418F-8E75-A282463851F6}"/>
                    </a:ext>
                  </a:extLst>
                </p14:cNvPr>
                <p14:cNvContentPartPr/>
                <p14:nvPr/>
              </p14:nvContentPartPr>
              <p14:xfrm>
                <a:off x="3915657" y="3719798"/>
                <a:ext cx="29880" cy="89280"/>
              </p14:xfrm>
            </p:contentPart>
          </mc:Choice>
          <mc:Fallback xmlns="">
            <p:pic>
              <p:nvPicPr>
                <p:cNvPr id="49" name="Ink 48">
                  <a:extLst>
                    <a:ext uri="{FF2B5EF4-FFF2-40B4-BE49-F238E27FC236}">
                      <a16:creationId xmlns:a16="http://schemas.microsoft.com/office/drawing/2014/main" id="{6C6FDDF3-30D3-418F-8E75-A282463851F6}"/>
                    </a:ext>
                  </a:extLst>
                </p:cNvPr>
                <p:cNvPicPr/>
                <p:nvPr/>
              </p:nvPicPr>
              <p:blipFill>
                <a:blip r:embed="rId77"/>
                <a:stretch>
                  <a:fillRect/>
                </a:stretch>
              </p:blipFill>
              <p:spPr>
                <a:xfrm>
                  <a:off x="3906657" y="3710798"/>
                  <a:ext cx="47520" cy="106920"/>
                </a:xfrm>
                <a:prstGeom prst="rect">
                  <a:avLst/>
                </a:prstGeom>
              </p:spPr>
            </p:pic>
          </mc:Fallback>
        </mc:AlternateContent>
        <mc:AlternateContent xmlns:mc="http://schemas.openxmlformats.org/markup-compatibility/2006" xmlns:p14="http://schemas.microsoft.com/office/powerpoint/2010/main">
          <mc:Choice Requires="p14">
            <p:contentPart p14:bwMode="auto" r:id="rId78">
              <p14:nvContentPartPr>
                <p14:cNvPr id="50" name="Ink 49">
                  <a:extLst>
                    <a:ext uri="{FF2B5EF4-FFF2-40B4-BE49-F238E27FC236}">
                      <a16:creationId xmlns:a16="http://schemas.microsoft.com/office/drawing/2014/main" id="{F9780CE2-368E-4B55-9115-420D64EFAE8C}"/>
                    </a:ext>
                  </a:extLst>
                </p14:cNvPr>
                <p14:cNvContentPartPr/>
                <p14:nvPr/>
              </p14:nvContentPartPr>
              <p14:xfrm>
                <a:off x="3880737" y="3754358"/>
                <a:ext cx="118080" cy="21600"/>
              </p14:xfrm>
            </p:contentPart>
          </mc:Choice>
          <mc:Fallback xmlns="">
            <p:pic>
              <p:nvPicPr>
                <p:cNvPr id="50" name="Ink 49">
                  <a:extLst>
                    <a:ext uri="{FF2B5EF4-FFF2-40B4-BE49-F238E27FC236}">
                      <a16:creationId xmlns:a16="http://schemas.microsoft.com/office/drawing/2014/main" id="{F9780CE2-368E-4B55-9115-420D64EFAE8C}"/>
                    </a:ext>
                  </a:extLst>
                </p:cNvPr>
                <p:cNvPicPr/>
                <p:nvPr/>
              </p:nvPicPr>
              <p:blipFill>
                <a:blip r:embed="rId79"/>
                <a:stretch>
                  <a:fillRect/>
                </a:stretch>
              </p:blipFill>
              <p:spPr>
                <a:xfrm>
                  <a:off x="3872097" y="3745718"/>
                  <a:ext cx="135720" cy="39240"/>
                </a:xfrm>
                <a:prstGeom prst="rect">
                  <a:avLst/>
                </a:prstGeom>
              </p:spPr>
            </p:pic>
          </mc:Fallback>
        </mc:AlternateContent>
        <mc:AlternateContent xmlns:mc="http://schemas.openxmlformats.org/markup-compatibility/2006" xmlns:p14="http://schemas.microsoft.com/office/powerpoint/2010/main">
          <mc:Choice Requires="p14">
            <p:contentPart p14:bwMode="auto" r:id="rId80">
              <p14:nvContentPartPr>
                <p14:cNvPr id="51" name="Ink 50">
                  <a:extLst>
                    <a:ext uri="{FF2B5EF4-FFF2-40B4-BE49-F238E27FC236}">
                      <a16:creationId xmlns:a16="http://schemas.microsoft.com/office/drawing/2014/main" id="{04470E61-C6E3-4626-A297-7A83AC147616}"/>
                    </a:ext>
                  </a:extLst>
                </p14:cNvPr>
                <p14:cNvContentPartPr/>
                <p14:nvPr/>
              </p14:nvContentPartPr>
              <p14:xfrm>
                <a:off x="3993417" y="3734198"/>
                <a:ext cx="95400" cy="68400"/>
              </p14:xfrm>
            </p:contentPart>
          </mc:Choice>
          <mc:Fallback xmlns="">
            <p:pic>
              <p:nvPicPr>
                <p:cNvPr id="51" name="Ink 50">
                  <a:extLst>
                    <a:ext uri="{FF2B5EF4-FFF2-40B4-BE49-F238E27FC236}">
                      <a16:creationId xmlns:a16="http://schemas.microsoft.com/office/drawing/2014/main" id="{04470E61-C6E3-4626-A297-7A83AC147616}"/>
                    </a:ext>
                  </a:extLst>
                </p:cNvPr>
                <p:cNvPicPr/>
                <p:nvPr/>
              </p:nvPicPr>
              <p:blipFill>
                <a:blip r:embed="rId81"/>
                <a:stretch>
                  <a:fillRect/>
                </a:stretch>
              </p:blipFill>
              <p:spPr>
                <a:xfrm>
                  <a:off x="3984417" y="3725198"/>
                  <a:ext cx="113040" cy="86040"/>
                </a:xfrm>
                <a:prstGeom prst="rect">
                  <a:avLst/>
                </a:prstGeom>
              </p:spPr>
            </p:pic>
          </mc:Fallback>
        </mc:AlternateContent>
        <mc:AlternateContent xmlns:mc="http://schemas.openxmlformats.org/markup-compatibility/2006" xmlns:p14="http://schemas.microsoft.com/office/powerpoint/2010/main">
          <mc:Choice Requires="p14">
            <p:contentPart p14:bwMode="auto" r:id="rId82">
              <p14:nvContentPartPr>
                <p14:cNvPr id="53" name="Ink 52">
                  <a:extLst>
                    <a:ext uri="{FF2B5EF4-FFF2-40B4-BE49-F238E27FC236}">
                      <a16:creationId xmlns:a16="http://schemas.microsoft.com/office/drawing/2014/main" id="{351CEF47-160B-40DE-931B-857B772F755F}"/>
                    </a:ext>
                  </a:extLst>
                </p14:cNvPr>
                <p14:cNvContentPartPr/>
                <p14:nvPr/>
              </p14:nvContentPartPr>
              <p14:xfrm>
                <a:off x="4134537" y="3726998"/>
                <a:ext cx="27720" cy="51120"/>
              </p14:xfrm>
            </p:contentPart>
          </mc:Choice>
          <mc:Fallback xmlns="">
            <p:pic>
              <p:nvPicPr>
                <p:cNvPr id="53" name="Ink 52">
                  <a:extLst>
                    <a:ext uri="{FF2B5EF4-FFF2-40B4-BE49-F238E27FC236}">
                      <a16:creationId xmlns:a16="http://schemas.microsoft.com/office/drawing/2014/main" id="{351CEF47-160B-40DE-931B-857B772F755F}"/>
                    </a:ext>
                  </a:extLst>
                </p:cNvPr>
                <p:cNvPicPr/>
                <p:nvPr/>
              </p:nvPicPr>
              <p:blipFill>
                <a:blip r:embed="rId83"/>
                <a:stretch>
                  <a:fillRect/>
                </a:stretch>
              </p:blipFill>
              <p:spPr>
                <a:xfrm>
                  <a:off x="4125537" y="3718358"/>
                  <a:ext cx="45360" cy="68760"/>
                </a:xfrm>
                <a:prstGeom prst="rect">
                  <a:avLst/>
                </a:prstGeom>
              </p:spPr>
            </p:pic>
          </mc:Fallback>
        </mc:AlternateContent>
        <mc:AlternateContent xmlns:mc="http://schemas.openxmlformats.org/markup-compatibility/2006" xmlns:p14="http://schemas.microsoft.com/office/powerpoint/2010/main">
          <mc:Choice Requires="p14">
            <p:contentPart p14:bwMode="auto" r:id="rId84">
              <p14:nvContentPartPr>
                <p14:cNvPr id="54" name="Ink 53">
                  <a:extLst>
                    <a:ext uri="{FF2B5EF4-FFF2-40B4-BE49-F238E27FC236}">
                      <a16:creationId xmlns:a16="http://schemas.microsoft.com/office/drawing/2014/main" id="{C60DC7E9-2E8C-4DF3-B887-E875364519BE}"/>
                    </a:ext>
                  </a:extLst>
                </p14:cNvPr>
                <p14:cNvContentPartPr/>
                <p14:nvPr/>
              </p14:nvContentPartPr>
              <p14:xfrm>
                <a:off x="3658617" y="3719798"/>
                <a:ext cx="68760" cy="118440"/>
              </p14:xfrm>
            </p:contentPart>
          </mc:Choice>
          <mc:Fallback xmlns="">
            <p:pic>
              <p:nvPicPr>
                <p:cNvPr id="54" name="Ink 53">
                  <a:extLst>
                    <a:ext uri="{FF2B5EF4-FFF2-40B4-BE49-F238E27FC236}">
                      <a16:creationId xmlns:a16="http://schemas.microsoft.com/office/drawing/2014/main" id="{C60DC7E9-2E8C-4DF3-B887-E875364519BE}"/>
                    </a:ext>
                  </a:extLst>
                </p:cNvPr>
                <p:cNvPicPr/>
                <p:nvPr/>
              </p:nvPicPr>
              <p:blipFill>
                <a:blip r:embed="rId85"/>
                <a:stretch>
                  <a:fillRect/>
                </a:stretch>
              </p:blipFill>
              <p:spPr>
                <a:xfrm>
                  <a:off x="3649977" y="3711158"/>
                  <a:ext cx="86400" cy="136080"/>
                </a:xfrm>
                <a:prstGeom prst="rect">
                  <a:avLst/>
                </a:prstGeom>
              </p:spPr>
            </p:pic>
          </mc:Fallback>
        </mc:AlternateContent>
        <mc:AlternateContent xmlns:mc="http://schemas.openxmlformats.org/markup-compatibility/2006" xmlns:p14="http://schemas.microsoft.com/office/powerpoint/2010/main">
          <mc:Choice Requires="p14">
            <p:contentPart p14:bwMode="auto" r:id="rId86">
              <p14:nvContentPartPr>
                <p14:cNvPr id="55" name="Ink 54">
                  <a:extLst>
                    <a:ext uri="{FF2B5EF4-FFF2-40B4-BE49-F238E27FC236}">
                      <a16:creationId xmlns:a16="http://schemas.microsoft.com/office/drawing/2014/main" id="{0D2B3839-C4B6-42D7-9B9D-804C0EC70539}"/>
                    </a:ext>
                  </a:extLst>
                </p14:cNvPr>
                <p14:cNvContentPartPr/>
                <p14:nvPr/>
              </p14:nvContentPartPr>
              <p14:xfrm>
                <a:off x="3654657" y="3713318"/>
                <a:ext cx="30960" cy="235080"/>
              </p14:xfrm>
            </p:contentPart>
          </mc:Choice>
          <mc:Fallback xmlns="">
            <p:pic>
              <p:nvPicPr>
                <p:cNvPr id="55" name="Ink 54">
                  <a:extLst>
                    <a:ext uri="{FF2B5EF4-FFF2-40B4-BE49-F238E27FC236}">
                      <a16:creationId xmlns:a16="http://schemas.microsoft.com/office/drawing/2014/main" id="{0D2B3839-C4B6-42D7-9B9D-804C0EC70539}"/>
                    </a:ext>
                  </a:extLst>
                </p:cNvPr>
                <p:cNvPicPr/>
                <p:nvPr/>
              </p:nvPicPr>
              <p:blipFill>
                <a:blip r:embed="rId87"/>
                <a:stretch>
                  <a:fillRect/>
                </a:stretch>
              </p:blipFill>
              <p:spPr>
                <a:xfrm>
                  <a:off x="3645657" y="3704318"/>
                  <a:ext cx="48600" cy="252720"/>
                </a:xfrm>
                <a:prstGeom prst="rect">
                  <a:avLst/>
                </a:prstGeom>
              </p:spPr>
            </p:pic>
          </mc:Fallback>
        </mc:AlternateContent>
      </p:grpSp>
      <p:grpSp>
        <p:nvGrpSpPr>
          <p:cNvPr id="64" name="Group 63">
            <a:extLst>
              <a:ext uri="{FF2B5EF4-FFF2-40B4-BE49-F238E27FC236}">
                <a16:creationId xmlns:a16="http://schemas.microsoft.com/office/drawing/2014/main" id="{606CEB9E-1C28-407A-9EF0-200905BF4043}"/>
              </a:ext>
            </a:extLst>
          </p:cNvPr>
          <p:cNvGrpSpPr/>
          <p:nvPr/>
        </p:nvGrpSpPr>
        <p:grpSpPr>
          <a:xfrm>
            <a:off x="6550497" y="3698918"/>
            <a:ext cx="410040" cy="153720"/>
            <a:chOff x="6550497" y="3698918"/>
            <a:chExt cx="410040" cy="153720"/>
          </a:xfrm>
        </p:grpSpPr>
        <mc:AlternateContent xmlns:mc="http://schemas.openxmlformats.org/markup-compatibility/2006" xmlns:p14="http://schemas.microsoft.com/office/powerpoint/2010/main">
          <mc:Choice Requires="p14">
            <p:contentPart p14:bwMode="auto" r:id="rId88">
              <p14:nvContentPartPr>
                <p14:cNvPr id="58" name="Ink 57">
                  <a:extLst>
                    <a:ext uri="{FF2B5EF4-FFF2-40B4-BE49-F238E27FC236}">
                      <a16:creationId xmlns:a16="http://schemas.microsoft.com/office/drawing/2014/main" id="{208F2072-63A7-4F5D-82A0-645E80307FE9}"/>
                    </a:ext>
                  </a:extLst>
                </p14:cNvPr>
                <p14:cNvContentPartPr/>
                <p14:nvPr/>
              </p14:nvContentPartPr>
              <p14:xfrm>
                <a:off x="6550497" y="3734198"/>
                <a:ext cx="94680" cy="91080"/>
              </p14:xfrm>
            </p:contentPart>
          </mc:Choice>
          <mc:Fallback xmlns="">
            <p:pic>
              <p:nvPicPr>
                <p:cNvPr id="58" name="Ink 57">
                  <a:extLst>
                    <a:ext uri="{FF2B5EF4-FFF2-40B4-BE49-F238E27FC236}">
                      <a16:creationId xmlns:a16="http://schemas.microsoft.com/office/drawing/2014/main" id="{208F2072-63A7-4F5D-82A0-645E80307FE9}"/>
                    </a:ext>
                  </a:extLst>
                </p:cNvPr>
                <p:cNvPicPr/>
                <p:nvPr/>
              </p:nvPicPr>
              <p:blipFill>
                <a:blip r:embed="rId89"/>
                <a:stretch>
                  <a:fillRect/>
                </a:stretch>
              </p:blipFill>
              <p:spPr>
                <a:xfrm>
                  <a:off x="6541497" y="3725198"/>
                  <a:ext cx="112320" cy="108720"/>
                </a:xfrm>
                <a:prstGeom prst="rect">
                  <a:avLst/>
                </a:prstGeom>
              </p:spPr>
            </p:pic>
          </mc:Fallback>
        </mc:AlternateContent>
        <mc:AlternateContent xmlns:mc="http://schemas.openxmlformats.org/markup-compatibility/2006" xmlns:p14="http://schemas.microsoft.com/office/powerpoint/2010/main">
          <mc:Choice Requires="p14">
            <p:contentPart p14:bwMode="auto" r:id="rId90">
              <p14:nvContentPartPr>
                <p14:cNvPr id="59" name="Ink 58">
                  <a:extLst>
                    <a:ext uri="{FF2B5EF4-FFF2-40B4-BE49-F238E27FC236}">
                      <a16:creationId xmlns:a16="http://schemas.microsoft.com/office/drawing/2014/main" id="{5B4BE1F3-A29F-4C7C-BE8D-F3038390FFFC}"/>
                    </a:ext>
                  </a:extLst>
                </p14:cNvPr>
                <p14:cNvContentPartPr/>
                <p14:nvPr/>
              </p14:nvContentPartPr>
              <p14:xfrm>
                <a:off x="6565977" y="3698918"/>
                <a:ext cx="37440" cy="153720"/>
              </p14:xfrm>
            </p:contentPart>
          </mc:Choice>
          <mc:Fallback xmlns="">
            <p:pic>
              <p:nvPicPr>
                <p:cNvPr id="59" name="Ink 58">
                  <a:extLst>
                    <a:ext uri="{FF2B5EF4-FFF2-40B4-BE49-F238E27FC236}">
                      <a16:creationId xmlns:a16="http://schemas.microsoft.com/office/drawing/2014/main" id="{5B4BE1F3-A29F-4C7C-BE8D-F3038390FFFC}"/>
                    </a:ext>
                  </a:extLst>
                </p:cNvPr>
                <p:cNvPicPr/>
                <p:nvPr/>
              </p:nvPicPr>
              <p:blipFill>
                <a:blip r:embed="rId91"/>
                <a:stretch>
                  <a:fillRect/>
                </a:stretch>
              </p:blipFill>
              <p:spPr>
                <a:xfrm>
                  <a:off x="6557337" y="3690278"/>
                  <a:ext cx="55080" cy="171360"/>
                </a:xfrm>
                <a:prstGeom prst="rect">
                  <a:avLst/>
                </a:prstGeom>
              </p:spPr>
            </p:pic>
          </mc:Fallback>
        </mc:AlternateContent>
        <mc:AlternateContent xmlns:mc="http://schemas.openxmlformats.org/markup-compatibility/2006" xmlns:p14="http://schemas.microsoft.com/office/powerpoint/2010/main">
          <mc:Choice Requires="p14">
            <p:contentPart p14:bwMode="auto" r:id="rId92">
              <p14:nvContentPartPr>
                <p14:cNvPr id="60" name="Ink 59">
                  <a:extLst>
                    <a:ext uri="{FF2B5EF4-FFF2-40B4-BE49-F238E27FC236}">
                      <a16:creationId xmlns:a16="http://schemas.microsoft.com/office/drawing/2014/main" id="{5DB084F7-BBE7-4419-8FBD-86788921F420}"/>
                    </a:ext>
                  </a:extLst>
                </p14:cNvPr>
                <p14:cNvContentPartPr/>
                <p14:nvPr/>
              </p14:nvContentPartPr>
              <p14:xfrm>
                <a:off x="6695937" y="3754718"/>
                <a:ext cx="37440" cy="89640"/>
              </p14:xfrm>
            </p:contentPart>
          </mc:Choice>
          <mc:Fallback xmlns="">
            <p:pic>
              <p:nvPicPr>
                <p:cNvPr id="60" name="Ink 59">
                  <a:extLst>
                    <a:ext uri="{FF2B5EF4-FFF2-40B4-BE49-F238E27FC236}">
                      <a16:creationId xmlns:a16="http://schemas.microsoft.com/office/drawing/2014/main" id="{5DB084F7-BBE7-4419-8FBD-86788921F420}"/>
                    </a:ext>
                  </a:extLst>
                </p:cNvPr>
                <p:cNvPicPr/>
                <p:nvPr/>
              </p:nvPicPr>
              <p:blipFill>
                <a:blip r:embed="rId93"/>
                <a:stretch>
                  <a:fillRect/>
                </a:stretch>
              </p:blipFill>
              <p:spPr>
                <a:xfrm>
                  <a:off x="6686937" y="3745718"/>
                  <a:ext cx="55080" cy="107280"/>
                </a:xfrm>
                <a:prstGeom prst="rect">
                  <a:avLst/>
                </a:prstGeom>
              </p:spPr>
            </p:pic>
          </mc:Fallback>
        </mc:AlternateContent>
        <mc:AlternateContent xmlns:mc="http://schemas.openxmlformats.org/markup-compatibility/2006" xmlns:p14="http://schemas.microsoft.com/office/powerpoint/2010/main">
          <mc:Choice Requires="p14">
            <p:contentPart p14:bwMode="auto" r:id="rId94">
              <p14:nvContentPartPr>
                <p14:cNvPr id="61" name="Ink 60">
                  <a:extLst>
                    <a:ext uri="{FF2B5EF4-FFF2-40B4-BE49-F238E27FC236}">
                      <a16:creationId xmlns:a16="http://schemas.microsoft.com/office/drawing/2014/main" id="{CCE56DF8-3F9D-43DD-999D-8F887883D809}"/>
                    </a:ext>
                  </a:extLst>
                </p14:cNvPr>
                <p14:cNvContentPartPr/>
                <p14:nvPr/>
              </p14:nvContentPartPr>
              <p14:xfrm>
                <a:off x="6756417" y="3781718"/>
                <a:ext cx="47880" cy="29880"/>
              </p14:xfrm>
            </p:contentPart>
          </mc:Choice>
          <mc:Fallback xmlns="">
            <p:pic>
              <p:nvPicPr>
                <p:cNvPr id="61" name="Ink 60">
                  <a:extLst>
                    <a:ext uri="{FF2B5EF4-FFF2-40B4-BE49-F238E27FC236}">
                      <a16:creationId xmlns:a16="http://schemas.microsoft.com/office/drawing/2014/main" id="{CCE56DF8-3F9D-43DD-999D-8F887883D809}"/>
                    </a:ext>
                  </a:extLst>
                </p:cNvPr>
                <p:cNvPicPr/>
                <p:nvPr/>
              </p:nvPicPr>
              <p:blipFill>
                <a:blip r:embed="rId95"/>
                <a:stretch>
                  <a:fillRect/>
                </a:stretch>
              </p:blipFill>
              <p:spPr>
                <a:xfrm>
                  <a:off x="6747777" y="3773078"/>
                  <a:ext cx="65520" cy="47520"/>
                </a:xfrm>
                <a:prstGeom prst="rect">
                  <a:avLst/>
                </a:prstGeom>
              </p:spPr>
            </p:pic>
          </mc:Fallback>
        </mc:AlternateContent>
        <mc:AlternateContent xmlns:mc="http://schemas.openxmlformats.org/markup-compatibility/2006" xmlns:p14="http://schemas.microsoft.com/office/powerpoint/2010/main">
          <mc:Choice Requires="p14">
            <p:contentPart p14:bwMode="auto" r:id="rId96">
              <p14:nvContentPartPr>
                <p14:cNvPr id="62" name="Ink 61">
                  <a:extLst>
                    <a:ext uri="{FF2B5EF4-FFF2-40B4-BE49-F238E27FC236}">
                      <a16:creationId xmlns:a16="http://schemas.microsoft.com/office/drawing/2014/main" id="{18AB754C-5BCC-448D-89FE-C3CC9BF398C2}"/>
                    </a:ext>
                  </a:extLst>
                </p14:cNvPr>
                <p14:cNvContentPartPr/>
                <p14:nvPr/>
              </p14:nvContentPartPr>
              <p14:xfrm>
                <a:off x="6819417" y="3769118"/>
                <a:ext cx="46440" cy="28440"/>
              </p14:xfrm>
            </p:contentPart>
          </mc:Choice>
          <mc:Fallback xmlns="">
            <p:pic>
              <p:nvPicPr>
                <p:cNvPr id="62" name="Ink 61">
                  <a:extLst>
                    <a:ext uri="{FF2B5EF4-FFF2-40B4-BE49-F238E27FC236}">
                      <a16:creationId xmlns:a16="http://schemas.microsoft.com/office/drawing/2014/main" id="{18AB754C-5BCC-448D-89FE-C3CC9BF398C2}"/>
                    </a:ext>
                  </a:extLst>
                </p:cNvPr>
                <p:cNvPicPr/>
                <p:nvPr/>
              </p:nvPicPr>
              <p:blipFill>
                <a:blip r:embed="rId97"/>
                <a:stretch>
                  <a:fillRect/>
                </a:stretch>
              </p:blipFill>
              <p:spPr>
                <a:xfrm>
                  <a:off x="6810777" y="3760118"/>
                  <a:ext cx="64080" cy="46080"/>
                </a:xfrm>
                <a:prstGeom prst="rect">
                  <a:avLst/>
                </a:prstGeom>
              </p:spPr>
            </p:pic>
          </mc:Fallback>
        </mc:AlternateContent>
        <mc:AlternateContent xmlns:mc="http://schemas.openxmlformats.org/markup-compatibility/2006" xmlns:p14="http://schemas.microsoft.com/office/powerpoint/2010/main">
          <mc:Choice Requires="p14">
            <p:contentPart p14:bwMode="auto" r:id="rId98">
              <p14:nvContentPartPr>
                <p14:cNvPr id="63" name="Ink 62">
                  <a:extLst>
                    <a:ext uri="{FF2B5EF4-FFF2-40B4-BE49-F238E27FC236}">
                      <a16:creationId xmlns:a16="http://schemas.microsoft.com/office/drawing/2014/main" id="{F07B8CBA-2616-42C9-B8F2-769C93B7F732}"/>
                    </a:ext>
                  </a:extLst>
                </p14:cNvPr>
                <p14:cNvContentPartPr/>
                <p14:nvPr/>
              </p14:nvContentPartPr>
              <p14:xfrm>
                <a:off x="6896097" y="3763718"/>
                <a:ext cx="64440" cy="48240"/>
              </p14:xfrm>
            </p:contentPart>
          </mc:Choice>
          <mc:Fallback xmlns="">
            <p:pic>
              <p:nvPicPr>
                <p:cNvPr id="63" name="Ink 62">
                  <a:extLst>
                    <a:ext uri="{FF2B5EF4-FFF2-40B4-BE49-F238E27FC236}">
                      <a16:creationId xmlns:a16="http://schemas.microsoft.com/office/drawing/2014/main" id="{F07B8CBA-2616-42C9-B8F2-769C93B7F732}"/>
                    </a:ext>
                  </a:extLst>
                </p:cNvPr>
                <p:cNvPicPr/>
                <p:nvPr/>
              </p:nvPicPr>
              <p:blipFill>
                <a:blip r:embed="rId99"/>
                <a:stretch>
                  <a:fillRect/>
                </a:stretch>
              </p:blipFill>
              <p:spPr>
                <a:xfrm>
                  <a:off x="6887457" y="3754718"/>
                  <a:ext cx="82080" cy="65880"/>
                </a:xfrm>
                <a:prstGeom prst="rect">
                  <a:avLst/>
                </a:prstGeom>
              </p:spPr>
            </p:pic>
          </mc:Fallback>
        </mc:AlternateContent>
      </p:grpSp>
      <p:grpSp>
        <p:nvGrpSpPr>
          <p:cNvPr id="73" name="Group 72">
            <a:extLst>
              <a:ext uri="{FF2B5EF4-FFF2-40B4-BE49-F238E27FC236}">
                <a16:creationId xmlns:a16="http://schemas.microsoft.com/office/drawing/2014/main" id="{79AAFFCA-5BC6-43BD-970D-733DBFA3EB87}"/>
              </a:ext>
            </a:extLst>
          </p:cNvPr>
          <p:cNvGrpSpPr/>
          <p:nvPr/>
        </p:nvGrpSpPr>
        <p:grpSpPr>
          <a:xfrm>
            <a:off x="7769457" y="3754718"/>
            <a:ext cx="690840" cy="174960"/>
            <a:chOff x="7769457" y="3754718"/>
            <a:chExt cx="690840" cy="174960"/>
          </a:xfrm>
        </p:grpSpPr>
        <mc:AlternateContent xmlns:mc="http://schemas.openxmlformats.org/markup-compatibility/2006" xmlns:p14="http://schemas.microsoft.com/office/powerpoint/2010/main">
          <mc:Choice Requires="p14">
            <p:contentPart p14:bwMode="auto" r:id="rId100">
              <p14:nvContentPartPr>
                <p14:cNvPr id="65" name="Ink 64">
                  <a:extLst>
                    <a:ext uri="{FF2B5EF4-FFF2-40B4-BE49-F238E27FC236}">
                      <a16:creationId xmlns:a16="http://schemas.microsoft.com/office/drawing/2014/main" id="{FD7CB692-01BA-4F77-B23F-AF988BA308CD}"/>
                    </a:ext>
                  </a:extLst>
                </p14:cNvPr>
                <p14:cNvContentPartPr/>
                <p14:nvPr/>
              </p14:nvContentPartPr>
              <p14:xfrm>
                <a:off x="7769457" y="3779558"/>
                <a:ext cx="90360" cy="78480"/>
              </p14:xfrm>
            </p:contentPart>
          </mc:Choice>
          <mc:Fallback xmlns="">
            <p:pic>
              <p:nvPicPr>
                <p:cNvPr id="65" name="Ink 64">
                  <a:extLst>
                    <a:ext uri="{FF2B5EF4-FFF2-40B4-BE49-F238E27FC236}">
                      <a16:creationId xmlns:a16="http://schemas.microsoft.com/office/drawing/2014/main" id="{FD7CB692-01BA-4F77-B23F-AF988BA308CD}"/>
                    </a:ext>
                  </a:extLst>
                </p:cNvPr>
                <p:cNvPicPr/>
                <p:nvPr/>
              </p:nvPicPr>
              <p:blipFill>
                <a:blip r:embed="rId101"/>
                <a:stretch>
                  <a:fillRect/>
                </a:stretch>
              </p:blipFill>
              <p:spPr>
                <a:xfrm>
                  <a:off x="7760817" y="3770918"/>
                  <a:ext cx="108000" cy="96120"/>
                </a:xfrm>
                <a:prstGeom prst="rect">
                  <a:avLst/>
                </a:prstGeom>
              </p:spPr>
            </p:pic>
          </mc:Fallback>
        </mc:AlternateContent>
        <mc:AlternateContent xmlns:mc="http://schemas.openxmlformats.org/markup-compatibility/2006" xmlns:p14="http://schemas.microsoft.com/office/powerpoint/2010/main">
          <mc:Choice Requires="p14">
            <p:contentPart p14:bwMode="auto" r:id="rId102">
              <p14:nvContentPartPr>
                <p14:cNvPr id="66" name="Ink 65">
                  <a:extLst>
                    <a:ext uri="{FF2B5EF4-FFF2-40B4-BE49-F238E27FC236}">
                      <a16:creationId xmlns:a16="http://schemas.microsoft.com/office/drawing/2014/main" id="{AB56431A-043E-4F93-8F8A-081D0EA0FB39}"/>
                    </a:ext>
                  </a:extLst>
                </p14:cNvPr>
                <p14:cNvContentPartPr/>
                <p14:nvPr/>
              </p14:nvContentPartPr>
              <p14:xfrm>
                <a:off x="7776297" y="3754718"/>
                <a:ext cx="52560" cy="174960"/>
              </p14:xfrm>
            </p:contentPart>
          </mc:Choice>
          <mc:Fallback xmlns="">
            <p:pic>
              <p:nvPicPr>
                <p:cNvPr id="66" name="Ink 65">
                  <a:extLst>
                    <a:ext uri="{FF2B5EF4-FFF2-40B4-BE49-F238E27FC236}">
                      <a16:creationId xmlns:a16="http://schemas.microsoft.com/office/drawing/2014/main" id="{AB56431A-043E-4F93-8F8A-081D0EA0FB39}"/>
                    </a:ext>
                  </a:extLst>
                </p:cNvPr>
                <p:cNvPicPr/>
                <p:nvPr/>
              </p:nvPicPr>
              <p:blipFill>
                <a:blip r:embed="rId103"/>
                <a:stretch>
                  <a:fillRect/>
                </a:stretch>
              </p:blipFill>
              <p:spPr>
                <a:xfrm>
                  <a:off x="7767297" y="3746078"/>
                  <a:ext cx="70200" cy="192600"/>
                </a:xfrm>
                <a:prstGeom prst="rect">
                  <a:avLst/>
                </a:prstGeom>
              </p:spPr>
            </p:pic>
          </mc:Fallback>
        </mc:AlternateContent>
        <mc:AlternateContent xmlns:mc="http://schemas.openxmlformats.org/markup-compatibility/2006" xmlns:p14="http://schemas.microsoft.com/office/powerpoint/2010/main">
          <mc:Choice Requires="p14">
            <p:contentPart p14:bwMode="auto" r:id="rId104">
              <p14:nvContentPartPr>
                <p14:cNvPr id="67" name="Ink 66">
                  <a:extLst>
                    <a:ext uri="{FF2B5EF4-FFF2-40B4-BE49-F238E27FC236}">
                      <a16:creationId xmlns:a16="http://schemas.microsoft.com/office/drawing/2014/main" id="{195A4FC3-8675-498D-AC9A-E23D89EEDFDB}"/>
                    </a:ext>
                  </a:extLst>
                </p14:cNvPr>
                <p14:cNvContentPartPr/>
                <p14:nvPr/>
              </p14:nvContentPartPr>
              <p14:xfrm>
                <a:off x="7895097" y="3796478"/>
                <a:ext cx="79560" cy="101520"/>
              </p14:xfrm>
            </p:contentPart>
          </mc:Choice>
          <mc:Fallback xmlns="">
            <p:pic>
              <p:nvPicPr>
                <p:cNvPr id="67" name="Ink 66">
                  <a:extLst>
                    <a:ext uri="{FF2B5EF4-FFF2-40B4-BE49-F238E27FC236}">
                      <a16:creationId xmlns:a16="http://schemas.microsoft.com/office/drawing/2014/main" id="{195A4FC3-8675-498D-AC9A-E23D89EEDFDB}"/>
                    </a:ext>
                  </a:extLst>
                </p:cNvPr>
                <p:cNvPicPr/>
                <p:nvPr/>
              </p:nvPicPr>
              <p:blipFill>
                <a:blip r:embed="rId105"/>
                <a:stretch>
                  <a:fillRect/>
                </a:stretch>
              </p:blipFill>
              <p:spPr>
                <a:xfrm>
                  <a:off x="7886097" y="3787838"/>
                  <a:ext cx="97200" cy="119160"/>
                </a:xfrm>
                <a:prstGeom prst="rect">
                  <a:avLst/>
                </a:prstGeom>
              </p:spPr>
            </p:pic>
          </mc:Fallback>
        </mc:AlternateContent>
        <mc:AlternateContent xmlns:mc="http://schemas.openxmlformats.org/markup-compatibility/2006" xmlns:p14="http://schemas.microsoft.com/office/powerpoint/2010/main">
          <mc:Choice Requires="p14">
            <p:contentPart p14:bwMode="auto" r:id="rId106">
              <p14:nvContentPartPr>
                <p14:cNvPr id="68" name="Ink 67">
                  <a:extLst>
                    <a:ext uri="{FF2B5EF4-FFF2-40B4-BE49-F238E27FC236}">
                      <a16:creationId xmlns:a16="http://schemas.microsoft.com/office/drawing/2014/main" id="{3585F691-F964-4A47-BFC0-63E05A9593A6}"/>
                    </a:ext>
                  </a:extLst>
                </p14:cNvPr>
                <p14:cNvContentPartPr/>
                <p14:nvPr/>
              </p14:nvContentPartPr>
              <p14:xfrm>
                <a:off x="8007777" y="3775598"/>
                <a:ext cx="74520" cy="89640"/>
              </p14:xfrm>
            </p:contentPart>
          </mc:Choice>
          <mc:Fallback xmlns="">
            <p:pic>
              <p:nvPicPr>
                <p:cNvPr id="68" name="Ink 67">
                  <a:extLst>
                    <a:ext uri="{FF2B5EF4-FFF2-40B4-BE49-F238E27FC236}">
                      <a16:creationId xmlns:a16="http://schemas.microsoft.com/office/drawing/2014/main" id="{3585F691-F964-4A47-BFC0-63E05A9593A6}"/>
                    </a:ext>
                  </a:extLst>
                </p:cNvPr>
                <p:cNvPicPr/>
                <p:nvPr/>
              </p:nvPicPr>
              <p:blipFill>
                <a:blip r:embed="rId107"/>
                <a:stretch>
                  <a:fillRect/>
                </a:stretch>
              </p:blipFill>
              <p:spPr>
                <a:xfrm>
                  <a:off x="7998777" y="3766958"/>
                  <a:ext cx="92160" cy="107280"/>
                </a:xfrm>
                <a:prstGeom prst="rect">
                  <a:avLst/>
                </a:prstGeom>
              </p:spPr>
            </p:pic>
          </mc:Fallback>
        </mc:AlternateContent>
        <mc:AlternateContent xmlns:mc="http://schemas.openxmlformats.org/markup-compatibility/2006" xmlns:p14="http://schemas.microsoft.com/office/powerpoint/2010/main">
          <mc:Choice Requires="p14">
            <p:contentPart p14:bwMode="auto" r:id="rId108">
              <p14:nvContentPartPr>
                <p14:cNvPr id="69" name="Ink 68">
                  <a:extLst>
                    <a:ext uri="{FF2B5EF4-FFF2-40B4-BE49-F238E27FC236}">
                      <a16:creationId xmlns:a16="http://schemas.microsoft.com/office/drawing/2014/main" id="{4F05D166-A8A9-4399-9FC7-0DFA49A1667E}"/>
                    </a:ext>
                  </a:extLst>
                </p14:cNvPr>
                <p14:cNvContentPartPr/>
                <p14:nvPr/>
              </p14:nvContentPartPr>
              <p14:xfrm>
                <a:off x="8112537" y="3783518"/>
                <a:ext cx="47160" cy="52560"/>
              </p14:xfrm>
            </p:contentPart>
          </mc:Choice>
          <mc:Fallback xmlns="">
            <p:pic>
              <p:nvPicPr>
                <p:cNvPr id="69" name="Ink 68">
                  <a:extLst>
                    <a:ext uri="{FF2B5EF4-FFF2-40B4-BE49-F238E27FC236}">
                      <a16:creationId xmlns:a16="http://schemas.microsoft.com/office/drawing/2014/main" id="{4F05D166-A8A9-4399-9FC7-0DFA49A1667E}"/>
                    </a:ext>
                  </a:extLst>
                </p:cNvPr>
                <p:cNvPicPr/>
                <p:nvPr/>
              </p:nvPicPr>
              <p:blipFill>
                <a:blip r:embed="rId109"/>
                <a:stretch>
                  <a:fillRect/>
                </a:stretch>
              </p:blipFill>
              <p:spPr>
                <a:xfrm>
                  <a:off x="8103897" y="3774878"/>
                  <a:ext cx="64800" cy="70200"/>
                </a:xfrm>
                <a:prstGeom prst="rect">
                  <a:avLst/>
                </a:prstGeom>
              </p:spPr>
            </p:pic>
          </mc:Fallback>
        </mc:AlternateContent>
        <mc:AlternateContent xmlns:mc="http://schemas.openxmlformats.org/markup-compatibility/2006" xmlns:p14="http://schemas.microsoft.com/office/powerpoint/2010/main">
          <mc:Choice Requires="p14">
            <p:contentPart p14:bwMode="auto" r:id="rId110">
              <p14:nvContentPartPr>
                <p14:cNvPr id="70" name="Ink 69">
                  <a:extLst>
                    <a:ext uri="{FF2B5EF4-FFF2-40B4-BE49-F238E27FC236}">
                      <a16:creationId xmlns:a16="http://schemas.microsoft.com/office/drawing/2014/main" id="{FA3FD7A8-1B2F-49CF-BCAB-1C54C11825B5}"/>
                    </a:ext>
                  </a:extLst>
                </p14:cNvPr>
                <p14:cNvContentPartPr/>
                <p14:nvPr/>
              </p14:nvContentPartPr>
              <p14:xfrm>
                <a:off x="8201457" y="3782798"/>
                <a:ext cx="7920" cy="47880"/>
              </p14:xfrm>
            </p:contentPart>
          </mc:Choice>
          <mc:Fallback xmlns="">
            <p:pic>
              <p:nvPicPr>
                <p:cNvPr id="70" name="Ink 69">
                  <a:extLst>
                    <a:ext uri="{FF2B5EF4-FFF2-40B4-BE49-F238E27FC236}">
                      <a16:creationId xmlns:a16="http://schemas.microsoft.com/office/drawing/2014/main" id="{FA3FD7A8-1B2F-49CF-BCAB-1C54C11825B5}"/>
                    </a:ext>
                  </a:extLst>
                </p:cNvPr>
                <p:cNvPicPr/>
                <p:nvPr/>
              </p:nvPicPr>
              <p:blipFill>
                <a:blip r:embed="rId111"/>
                <a:stretch>
                  <a:fillRect/>
                </a:stretch>
              </p:blipFill>
              <p:spPr>
                <a:xfrm>
                  <a:off x="8192457" y="3774158"/>
                  <a:ext cx="25560" cy="65520"/>
                </a:xfrm>
                <a:prstGeom prst="rect">
                  <a:avLst/>
                </a:prstGeom>
              </p:spPr>
            </p:pic>
          </mc:Fallback>
        </mc:AlternateContent>
        <mc:AlternateContent xmlns:mc="http://schemas.openxmlformats.org/markup-compatibility/2006" xmlns:p14="http://schemas.microsoft.com/office/powerpoint/2010/main">
          <mc:Choice Requires="p14">
            <p:contentPart p14:bwMode="auto" r:id="rId112">
              <p14:nvContentPartPr>
                <p14:cNvPr id="71" name="Ink 70">
                  <a:extLst>
                    <a:ext uri="{FF2B5EF4-FFF2-40B4-BE49-F238E27FC236}">
                      <a16:creationId xmlns:a16="http://schemas.microsoft.com/office/drawing/2014/main" id="{234F326F-23BD-44B9-A92E-454DBF66E1B9}"/>
                    </a:ext>
                  </a:extLst>
                </p14:cNvPr>
                <p14:cNvContentPartPr/>
                <p14:nvPr/>
              </p14:nvContentPartPr>
              <p14:xfrm>
                <a:off x="8292177" y="3817718"/>
                <a:ext cx="51840" cy="7560"/>
              </p14:xfrm>
            </p:contentPart>
          </mc:Choice>
          <mc:Fallback xmlns="">
            <p:pic>
              <p:nvPicPr>
                <p:cNvPr id="71" name="Ink 70">
                  <a:extLst>
                    <a:ext uri="{FF2B5EF4-FFF2-40B4-BE49-F238E27FC236}">
                      <a16:creationId xmlns:a16="http://schemas.microsoft.com/office/drawing/2014/main" id="{234F326F-23BD-44B9-A92E-454DBF66E1B9}"/>
                    </a:ext>
                  </a:extLst>
                </p:cNvPr>
                <p:cNvPicPr/>
                <p:nvPr/>
              </p:nvPicPr>
              <p:blipFill>
                <a:blip r:embed="rId113"/>
                <a:stretch>
                  <a:fillRect/>
                </a:stretch>
              </p:blipFill>
              <p:spPr>
                <a:xfrm>
                  <a:off x="8283537" y="3808718"/>
                  <a:ext cx="69480" cy="25200"/>
                </a:xfrm>
                <a:prstGeom prst="rect">
                  <a:avLst/>
                </a:prstGeom>
              </p:spPr>
            </p:pic>
          </mc:Fallback>
        </mc:AlternateContent>
        <mc:AlternateContent xmlns:mc="http://schemas.openxmlformats.org/markup-compatibility/2006" xmlns:p14="http://schemas.microsoft.com/office/powerpoint/2010/main">
          <mc:Choice Requires="p14">
            <p:contentPart p14:bwMode="auto" r:id="rId114">
              <p14:nvContentPartPr>
                <p14:cNvPr id="72" name="Ink 71">
                  <a:extLst>
                    <a:ext uri="{FF2B5EF4-FFF2-40B4-BE49-F238E27FC236}">
                      <a16:creationId xmlns:a16="http://schemas.microsoft.com/office/drawing/2014/main" id="{A877D2CC-4F1F-41E6-A976-29A79B3958EE}"/>
                    </a:ext>
                  </a:extLst>
                </p14:cNvPr>
                <p14:cNvContentPartPr/>
                <p14:nvPr/>
              </p14:nvContentPartPr>
              <p14:xfrm>
                <a:off x="8452737" y="3817718"/>
                <a:ext cx="7560" cy="360"/>
              </p14:xfrm>
            </p:contentPart>
          </mc:Choice>
          <mc:Fallback xmlns="">
            <p:pic>
              <p:nvPicPr>
                <p:cNvPr id="72" name="Ink 71">
                  <a:extLst>
                    <a:ext uri="{FF2B5EF4-FFF2-40B4-BE49-F238E27FC236}">
                      <a16:creationId xmlns:a16="http://schemas.microsoft.com/office/drawing/2014/main" id="{A877D2CC-4F1F-41E6-A976-29A79B3958EE}"/>
                    </a:ext>
                  </a:extLst>
                </p:cNvPr>
                <p:cNvPicPr/>
                <p:nvPr/>
              </p:nvPicPr>
              <p:blipFill>
                <a:blip r:embed="rId115"/>
                <a:stretch>
                  <a:fillRect/>
                </a:stretch>
              </p:blipFill>
              <p:spPr>
                <a:xfrm>
                  <a:off x="8443737" y="3808718"/>
                  <a:ext cx="25200" cy="18000"/>
                </a:xfrm>
                <a:prstGeom prst="rect">
                  <a:avLst/>
                </a:prstGeom>
              </p:spPr>
            </p:pic>
          </mc:Fallback>
        </mc:AlternateContent>
      </p:grpSp>
      <p:sp>
        <p:nvSpPr>
          <p:cNvPr id="74" name="TextBox 73">
            <a:extLst>
              <a:ext uri="{FF2B5EF4-FFF2-40B4-BE49-F238E27FC236}">
                <a16:creationId xmlns:a16="http://schemas.microsoft.com/office/drawing/2014/main" id="{EABD5123-7F3E-4FD8-BE01-4D02616F6FBE}"/>
              </a:ext>
            </a:extLst>
          </p:cNvPr>
          <p:cNvSpPr txBox="1"/>
          <p:nvPr/>
        </p:nvSpPr>
        <p:spPr>
          <a:xfrm>
            <a:off x="161129" y="1195102"/>
            <a:ext cx="3588568" cy="646331"/>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solidFill>
                <a:latin typeface="+mn-lt"/>
              </a:rPr>
              <a:t>Sampling Distribution of the MEAN</a:t>
            </a:r>
          </a:p>
        </p:txBody>
      </p:sp>
      <p:sp>
        <p:nvSpPr>
          <p:cNvPr id="75" name="TextBox 74">
            <a:extLst>
              <a:ext uri="{FF2B5EF4-FFF2-40B4-BE49-F238E27FC236}">
                <a16:creationId xmlns:a16="http://schemas.microsoft.com/office/drawing/2014/main" id="{981143FD-A90E-495D-BFC0-DC7E14C8A702}"/>
              </a:ext>
            </a:extLst>
          </p:cNvPr>
          <p:cNvSpPr txBox="1"/>
          <p:nvPr/>
        </p:nvSpPr>
        <p:spPr>
          <a:xfrm>
            <a:off x="6003297" y="1730768"/>
            <a:ext cx="3200807"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Normal Distribution</a:t>
            </a:r>
          </a:p>
        </p:txBody>
      </p:sp>
    </p:spTree>
    <p:extLst>
      <p:ext uri="{BB962C8B-B14F-4D97-AF65-F5344CB8AC3E}">
        <p14:creationId xmlns:p14="http://schemas.microsoft.com/office/powerpoint/2010/main" val="30657556"/>
      </p:ext>
    </p:extLst>
  </p:cSld>
  <p:clrMapOvr>
    <a:masterClrMapping/>
  </p:clrMapOvr>
  <p:transition spd="med">
    <p:wipe dir="r"/>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25F4E2-C99F-4C9A-9438-DEDE4EC9CA88}"/>
              </a:ext>
            </a:extLst>
          </p:cNvPr>
          <p:cNvSpPr>
            <a:spLocks noGrp="1"/>
          </p:cNvSpPr>
          <p:nvPr>
            <p:ph type="title"/>
          </p:nvPr>
        </p:nvSpPr>
        <p:spPr>
          <a:xfrm>
            <a:off x="0" y="22860"/>
            <a:ext cx="4295219" cy="640080"/>
          </a:xfrm>
        </p:spPr>
        <p:txBody>
          <a:bodyPr/>
          <a:lstStyle/>
          <a:p>
            <a:r>
              <a:rPr lang="en-US" dirty="0"/>
              <a:t>Central Limit Theorem</a:t>
            </a:r>
          </a:p>
        </p:txBody>
      </p:sp>
      <p:grpSp>
        <p:nvGrpSpPr>
          <p:cNvPr id="4" name="Group 3">
            <a:extLst>
              <a:ext uri="{FF2B5EF4-FFF2-40B4-BE49-F238E27FC236}">
                <a16:creationId xmlns:a16="http://schemas.microsoft.com/office/drawing/2014/main" id="{69C0FA5D-35E2-4719-8F2D-F62EF0D5CB1E}"/>
              </a:ext>
            </a:extLst>
          </p:cNvPr>
          <p:cNvGrpSpPr/>
          <p:nvPr/>
        </p:nvGrpSpPr>
        <p:grpSpPr>
          <a:xfrm>
            <a:off x="711778" y="1655272"/>
            <a:ext cx="2478600" cy="1243080"/>
            <a:chOff x="669897" y="1521278"/>
            <a:chExt cx="2478600" cy="1243080"/>
          </a:xfrm>
        </p:grpSpPr>
        <mc:AlternateContent xmlns:mc="http://schemas.openxmlformats.org/markup-compatibility/2006" xmlns:p14="http://schemas.microsoft.com/office/powerpoint/2010/main">
          <mc:Choice Requires="p14">
            <p:contentPart p14:bwMode="auto" r:id="rId2">
              <p14:nvContentPartPr>
                <p14:cNvPr id="5" name="Ink 4">
                  <a:extLst>
                    <a:ext uri="{FF2B5EF4-FFF2-40B4-BE49-F238E27FC236}">
                      <a16:creationId xmlns:a16="http://schemas.microsoft.com/office/drawing/2014/main" id="{67DF212E-5039-4547-8E4D-9D6A04B647E4}"/>
                    </a:ext>
                  </a:extLst>
                </p14:cNvPr>
                <p14:cNvContentPartPr/>
                <p14:nvPr/>
              </p14:nvContentPartPr>
              <p14:xfrm>
                <a:off x="836937" y="1521278"/>
                <a:ext cx="63720" cy="1243080"/>
              </p14:xfrm>
            </p:contentPart>
          </mc:Choice>
          <mc:Fallback xmlns="">
            <p:pic>
              <p:nvPicPr>
                <p:cNvPr id="5" name="Ink 4">
                  <a:extLst>
                    <a:ext uri="{FF2B5EF4-FFF2-40B4-BE49-F238E27FC236}">
                      <a16:creationId xmlns:a16="http://schemas.microsoft.com/office/drawing/2014/main" id="{67DF212E-5039-4547-8E4D-9D6A04B647E4}"/>
                    </a:ext>
                  </a:extLst>
                </p:cNvPr>
                <p:cNvPicPr/>
                <p:nvPr/>
              </p:nvPicPr>
              <p:blipFill>
                <a:blip r:embed="rId3"/>
                <a:stretch>
                  <a:fillRect/>
                </a:stretch>
              </p:blipFill>
              <p:spPr>
                <a:xfrm>
                  <a:off x="827937" y="1512638"/>
                  <a:ext cx="81360" cy="126072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6" name="Ink 5">
                  <a:extLst>
                    <a:ext uri="{FF2B5EF4-FFF2-40B4-BE49-F238E27FC236}">
                      <a16:creationId xmlns:a16="http://schemas.microsoft.com/office/drawing/2014/main" id="{2806D210-4605-4E8C-B08C-617A3A419530}"/>
                    </a:ext>
                  </a:extLst>
                </p14:cNvPr>
                <p14:cNvContentPartPr/>
                <p14:nvPr/>
              </p14:nvContentPartPr>
              <p14:xfrm>
                <a:off x="669897" y="2587598"/>
                <a:ext cx="1758600" cy="36720"/>
              </p14:xfrm>
            </p:contentPart>
          </mc:Choice>
          <mc:Fallback xmlns="">
            <p:pic>
              <p:nvPicPr>
                <p:cNvPr id="6" name="Ink 5">
                  <a:extLst>
                    <a:ext uri="{FF2B5EF4-FFF2-40B4-BE49-F238E27FC236}">
                      <a16:creationId xmlns:a16="http://schemas.microsoft.com/office/drawing/2014/main" id="{2806D210-4605-4E8C-B08C-617A3A419530}"/>
                    </a:ext>
                  </a:extLst>
                </p:cNvPr>
                <p:cNvPicPr/>
                <p:nvPr/>
              </p:nvPicPr>
              <p:blipFill>
                <a:blip r:embed="rId5"/>
                <a:stretch>
                  <a:fillRect/>
                </a:stretch>
              </p:blipFill>
              <p:spPr>
                <a:xfrm>
                  <a:off x="660897" y="2578598"/>
                  <a:ext cx="1776240" cy="5436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7" name="Ink 6">
                  <a:extLst>
                    <a:ext uri="{FF2B5EF4-FFF2-40B4-BE49-F238E27FC236}">
                      <a16:creationId xmlns:a16="http://schemas.microsoft.com/office/drawing/2014/main" id="{8161947D-9A09-4FB8-804C-D15EDB8E0502}"/>
                    </a:ext>
                  </a:extLst>
                </p14:cNvPr>
                <p14:cNvContentPartPr/>
                <p14:nvPr/>
              </p14:nvContentPartPr>
              <p14:xfrm>
                <a:off x="921177" y="1540718"/>
                <a:ext cx="2227320" cy="839880"/>
              </p14:xfrm>
            </p:contentPart>
          </mc:Choice>
          <mc:Fallback xmlns="">
            <p:pic>
              <p:nvPicPr>
                <p:cNvPr id="7" name="Ink 6">
                  <a:extLst>
                    <a:ext uri="{FF2B5EF4-FFF2-40B4-BE49-F238E27FC236}">
                      <a16:creationId xmlns:a16="http://schemas.microsoft.com/office/drawing/2014/main" id="{8161947D-9A09-4FB8-804C-D15EDB8E0502}"/>
                    </a:ext>
                  </a:extLst>
                </p:cNvPr>
                <p:cNvPicPr/>
                <p:nvPr/>
              </p:nvPicPr>
              <p:blipFill>
                <a:blip r:embed="rId7"/>
                <a:stretch>
                  <a:fillRect/>
                </a:stretch>
              </p:blipFill>
              <p:spPr>
                <a:xfrm>
                  <a:off x="912177" y="1531718"/>
                  <a:ext cx="2244960" cy="857520"/>
                </a:xfrm>
                <a:prstGeom prst="rect">
                  <a:avLst/>
                </a:prstGeom>
              </p:spPr>
            </p:pic>
          </mc:Fallback>
        </mc:AlternateContent>
      </p:grpSp>
      <p:pic>
        <p:nvPicPr>
          <p:cNvPr id="8" name="Picture 7">
            <a:extLst>
              <a:ext uri="{FF2B5EF4-FFF2-40B4-BE49-F238E27FC236}">
                <a16:creationId xmlns:a16="http://schemas.microsoft.com/office/drawing/2014/main" id="{F8779B53-938C-4D0B-9920-8BDECC4AF6C2}"/>
              </a:ext>
            </a:extLst>
          </p:cNvPr>
          <p:cNvPicPr>
            <a:picLocks noChangeAspect="1"/>
          </p:cNvPicPr>
          <p:nvPr/>
        </p:nvPicPr>
        <p:blipFill>
          <a:blip r:embed="rId8"/>
          <a:stretch>
            <a:fillRect/>
          </a:stretch>
        </p:blipFill>
        <p:spPr>
          <a:xfrm>
            <a:off x="4418496" y="1320984"/>
            <a:ext cx="4013726" cy="1547336"/>
          </a:xfrm>
          <a:prstGeom prst="rect">
            <a:avLst/>
          </a:prstGeom>
        </p:spPr>
      </p:pic>
      <p:sp>
        <p:nvSpPr>
          <p:cNvPr id="9" name="TextBox 8">
            <a:extLst>
              <a:ext uri="{FF2B5EF4-FFF2-40B4-BE49-F238E27FC236}">
                <a16:creationId xmlns:a16="http://schemas.microsoft.com/office/drawing/2014/main" id="{CC24C145-5C49-4D83-81D7-EF607B9E9219}"/>
              </a:ext>
            </a:extLst>
          </p:cNvPr>
          <p:cNvSpPr txBox="1"/>
          <p:nvPr/>
        </p:nvSpPr>
        <p:spPr>
          <a:xfrm>
            <a:off x="279206" y="928273"/>
            <a:ext cx="3441215"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Original distribution </a:t>
            </a:r>
            <a:endParaRPr lang="en-US" sz="1400" b="1" dirty="0">
              <a:solidFill>
                <a:schemeClr val="bg2"/>
              </a:solidFill>
              <a:latin typeface="+mn-lt"/>
            </a:endParaRPr>
          </a:p>
        </p:txBody>
      </p:sp>
      <p:sp>
        <p:nvSpPr>
          <p:cNvPr id="10" name="TextBox 9">
            <a:extLst>
              <a:ext uri="{FF2B5EF4-FFF2-40B4-BE49-F238E27FC236}">
                <a16:creationId xmlns:a16="http://schemas.microsoft.com/office/drawing/2014/main" id="{8F5ED67B-8421-410F-935C-BE90D5E52911}"/>
              </a:ext>
            </a:extLst>
          </p:cNvPr>
          <p:cNvSpPr txBox="1"/>
          <p:nvPr/>
        </p:nvSpPr>
        <p:spPr>
          <a:xfrm>
            <a:off x="4948539" y="913351"/>
            <a:ext cx="3441215"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Sampling distribution </a:t>
            </a:r>
            <a:endParaRPr lang="en-US" sz="1400" b="1" dirty="0">
              <a:solidFill>
                <a:schemeClr val="bg2"/>
              </a:solidFill>
              <a:latin typeface="+mn-lt"/>
            </a:endParaRPr>
          </a:p>
        </p:txBody>
      </p:sp>
      <p:sp>
        <p:nvSpPr>
          <p:cNvPr id="11" name="TextBox 10">
            <a:extLst>
              <a:ext uri="{FF2B5EF4-FFF2-40B4-BE49-F238E27FC236}">
                <a16:creationId xmlns:a16="http://schemas.microsoft.com/office/drawing/2014/main" id="{6C91ED42-F6E8-4528-8E84-668D4C8B4008}"/>
              </a:ext>
            </a:extLst>
          </p:cNvPr>
          <p:cNvSpPr txBox="1"/>
          <p:nvPr/>
        </p:nvSpPr>
        <p:spPr>
          <a:xfrm>
            <a:off x="373438" y="3163686"/>
            <a:ext cx="6205356" cy="738664"/>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solidFill>
                <a:latin typeface="+mn-lt"/>
              </a:rPr>
              <a:t>No matter the underlying distribution, the sampling distribution approximates a normal distribution, and the mean of the sampling distribution will be same as the population mean</a:t>
            </a:r>
          </a:p>
        </p:txBody>
      </p:sp>
      <p:sp>
        <p:nvSpPr>
          <p:cNvPr id="12" name="Rectangle 11">
            <a:extLst>
              <a:ext uri="{FF2B5EF4-FFF2-40B4-BE49-F238E27FC236}">
                <a16:creationId xmlns:a16="http://schemas.microsoft.com/office/drawing/2014/main" id="{6725BC00-9303-484B-ABAB-A7945E85F11B}"/>
              </a:ext>
            </a:extLst>
          </p:cNvPr>
          <p:cNvSpPr/>
          <p:nvPr/>
        </p:nvSpPr>
        <p:spPr>
          <a:xfrm>
            <a:off x="184974" y="3218510"/>
            <a:ext cx="188464" cy="599508"/>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3" name="Rectangle 12">
            <a:extLst>
              <a:ext uri="{FF2B5EF4-FFF2-40B4-BE49-F238E27FC236}">
                <a16:creationId xmlns:a16="http://schemas.microsoft.com/office/drawing/2014/main" id="{E7772B37-3DD2-48A0-8E29-14FE716C0269}"/>
              </a:ext>
            </a:extLst>
          </p:cNvPr>
          <p:cNvSpPr/>
          <p:nvPr/>
        </p:nvSpPr>
        <p:spPr>
          <a:xfrm>
            <a:off x="6756788" y="3218510"/>
            <a:ext cx="1807859" cy="1547336"/>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1600" dirty="0">
                <a:solidFill>
                  <a:schemeClr val="tx2"/>
                </a:solidFill>
                <a:latin typeface="+mn-lt"/>
              </a:rPr>
              <a:t>Usually for CLT to be applied with need sample size of at least </a:t>
            </a:r>
            <a:r>
              <a:rPr lang="en-US" sz="1600" b="1" dirty="0">
                <a:solidFill>
                  <a:schemeClr val="tx2"/>
                </a:solidFill>
                <a:latin typeface="+mn-lt"/>
              </a:rPr>
              <a:t>30</a:t>
            </a:r>
            <a:r>
              <a:rPr lang="en-US" sz="1600" dirty="0">
                <a:solidFill>
                  <a:schemeClr val="tx2"/>
                </a:solidFill>
                <a:latin typeface="+mn-lt"/>
              </a:rPr>
              <a:t> observations</a:t>
            </a:r>
          </a:p>
        </p:txBody>
      </p:sp>
      <p:grpSp>
        <p:nvGrpSpPr>
          <p:cNvPr id="29" name="Group 28">
            <a:extLst>
              <a:ext uri="{FF2B5EF4-FFF2-40B4-BE49-F238E27FC236}">
                <a16:creationId xmlns:a16="http://schemas.microsoft.com/office/drawing/2014/main" id="{514CDB31-EDC9-4278-A60D-6B7938E9EDE0}"/>
              </a:ext>
            </a:extLst>
          </p:cNvPr>
          <p:cNvGrpSpPr/>
          <p:nvPr/>
        </p:nvGrpSpPr>
        <p:grpSpPr>
          <a:xfrm>
            <a:off x="7706097" y="1514275"/>
            <a:ext cx="1128600" cy="679320"/>
            <a:chOff x="7706097" y="1514275"/>
            <a:chExt cx="1128600" cy="679320"/>
          </a:xfrm>
        </p:grpSpPr>
        <mc:AlternateContent xmlns:mc="http://schemas.openxmlformats.org/markup-compatibility/2006" xmlns:p14="http://schemas.microsoft.com/office/powerpoint/2010/main">
          <mc:Choice Requires="p14">
            <p:contentPart p14:bwMode="auto" r:id="rId9">
              <p14:nvContentPartPr>
                <p14:cNvPr id="14" name="Ink 13">
                  <a:extLst>
                    <a:ext uri="{FF2B5EF4-FFF2-40B4-BE49-F238E27FC236}">
                      <a16:creationId xmlns:a16="http://schemas.microsoft.com/office/drawing/2014/main" id="{67B1361C-8F18-405F-B256-EE432185C2E4}"/>
                    </a:ext>
                  </a:extLst>
                </p14:cNvPr>
                <p14:cNvContentPartPr/>
                <p14:nvPr/>
              </p14:nvContentPartPr>
              <p14:xfrm>
                <a:off x="7706097" y="1710475"/>
                <a:ext cx="111960" cy="203400"/>
              </p14:xfrm>
            </p:contentPart>
          </mc:Choice>
          <mc:Fallback xmlns="">
            <p:pic>
              <p:nvPicPr>
                <p:cNvPr id="14" name="Ink 13">
                  <a:extLst>
                    <a:ext uri="{FF2B5EF4-FFF2-40B4-BE49-F238E27FC236}">
                      <a16:creationId xmlns:a16="http://schemas.microsoft.com/office/drawing/2014/main" id="{67B1361C-8F18-405F-B256-EE432185C2E4}"/>
                    </a:ext>
                  </a:extLst>
                </p:cNvPr>
                <p:cNvPicPr/>
                <p:nvPr/>
              </p:nvPicPr>
              <p:blipFill>
                <a:blip r:embed="rId10"/>
                <a:stretch>
                  <a:fillRect/>
                </a:stretch>
              </p:blipFill>
              <p:spPr>
                <a:xfrm>
                  <a:off x="7697097" y="1701835"/>
                  <a:ext cx="129600" cy="22104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5" name="Ink 14">
                  <a:extLst>
                    <a:ext uri="{FF2B5EF4-FFF2-40B4-BE49-F238E27FC236}">
                      <a16:creationId xmlns:a16="http://schemas.microsoft.com/office/drawing/2014/main" id="{F08825A2-E2F9-490A-B262-08CE2F5CAD07}"/>
                    </a:ext>
                  </a:extLst>
                </p14:cNvPr>
                <p14:cNvContentPartPr/>
                <p14:nvPr/>
              </p14:nvContentPartPr>
              <p14:xfrm>
                <a:off x="7859097" y="1576195"/>
                <a:ext cx="119520" cy="490680"/>
              </p14:xfrm>
            </p:contentPart>
          </mc:Choice>
          <mc:Fallback xmlns="">
            <p:pic>
              <p:nvPicPr>
                <p:cNvPr id="15" name="Ink 14">
                  <a:extLst>
                    <a:ext uri="{FF2B5EF4-FFF2-40B4-BE49-F238E27FC236}">
                      <a16:creationId xmlns:a16="http://schemas.microsoft.com/office/drawing/2014/main" id="{F08825A2-E2F9-490A-B262-08CE2F5CAD07}"/>
                    </a:ext>
                  </a:extLst>
                </p:cNvPr>
                <p:cNvPicPr/>
                <p:nvPr/>
              </p:nvPicPr>
              <p:blipFill>
                <a:blip r:embed="rId12"/>
                <a:stretch>
                  <a:fillRect/>
                </a:stretch>
              </p:blipFill>
              <p:spPr>
                <a:xfrm>
                  <a:off x="7850457" y="1567555"/>
                  <a:ext cx="137160" cy="50832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6" name="Ink 15">
                  <a:extLst>
                    <a:ext uri="{FF2B5EF4-FFF2-40B4-BE49-F238E27FC236}">
                      <a16:creationId xmlns:a16="http://schemas.microsoft.com/office/drawing/2014/main" id="{A751389F-F962-4641-86A5-48F83C3EFDCA}"/>
                    </a:ext>
                  </a:extLst>
                </p14:cNvPr>
                <p14:cNvContentPartPr/>
                <p14:nvPr/>
              </p14:nvContentPartPr>
              <p14:xfrm>
                <a:off x="7991937" y="1756915"/>
                <a:ext cx="147960" cy="148680"/>
              </p14:xfrm>
            </p:contentPart>
          </mc:Choice>
          <mc:Fallback xmlns="">
            <p:pic>
              <p:nvPicPr>
                <p:cNvPr id="16" name="Ink 15">
                  <a:extLst>
                    <a:ext uri="{FF2B5EF4-FFF2-40B4-BE49-F238E27FC236}">
                      <a16:creationId xmlns:a16="http://schemas.microsoft.com/office/drawing/2014/main" id="{A751389F-F962-4641-86A5-48F83C3EFDCA}"/>
                    </a:ext>
                  </a:extLst>
                </p:cNvPr>
                <p:cNvPicPr/>
                <p:nvPr/>
              </p:nvPicPr>
              <p:blipFill>
                <a:blip r:embed="rId14"/>
                <a:stretch>
                  <a:fillRect/>
                </a:stretch>
              </p:blipFill>
              <p:spPr>
                <a:xfrm>
                  <a:off x="7983297" y="1747915"/>
                  <a:ext cx="165600" cy="16632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8" name="Ink 17">
                  <a:extLst>
                    <a:ext uri="{FF2B5EF4-FFF2-40B4-BE49-F238E27FC236}">
                      <a16:creationId xmlns:a16="http://schemas.microsoft.com/office/drawing/2014/main" id="{175F7BB1-A7C1-46E6-ADEA-A9BE7FE84043}"/>
                    </a:ext>
                  </a:extLst>
                </p14:cNvPr>
                <p14:cNvContentPartPr/>
                <p14:nvPr/>
              </p14:nvContentPartPr>
              <p14:xfrm>
                <a:off x="8209737" y="1807315"/>
                <a:ext cx="20160" cy="84960"/>
              </p14:xfrm>
            </p:contentPart>
          </mc:Choice>
          <mc:Fallback xmlns="">
            <p:pic>
              <p:nvPicPr>
                <p:cNvPr id="18" name="Ink 17">
                  <a:extLst>
                    <a:ext uri="{FF2B5EF4-FFF2-40B4-BE49-F238E27FC236}">
                      <a16:creationId xmlns:a16="http://schemas.microsoft.com/office/drawing/2014/main" id="{175F7BB1-A7C1-46E6-ADEA-A9BE7FE84043}"/>
                    </a:ext>
                  </a:extLst>
                </p:cNvPr>
                <p:cNvPicPr/>
                <p:nvPr/>
              </p:nvPicPr>
              <p:blipFill>
                <a:blip r:embed="rId16"/>
                <a:stretch>
                  <a:fillRect/>
                </a:stretch>
              </p:blipFill>
              <p:spPr>
                <a:xfrm>
                  <a:off x="8200737" y="1798675"/>
                  <a:ext cx="37800" cy="10260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9" name="Ink 18">
                  <a:extLst>
                    <a:ext uri="{FF2B5EF4-FFF2-40B4-BE49-F238E27FC236}">
                      <a16:creationId xmlns:a16="http://schemas.microsoft.com/office/drawing/2014/main" id="{4CF6FB66-8AC4-4992-BBBD-150210516A4D}"/>
                    </a:ext>
                  </a:extLst>
                </p14:cNvPr>
                <p14:cNvContentPartPr/>
                <p14:nvPr/>
              </p14:nvContentPartPr>
              <p14:xfrm>
                <a:off x="8376057" y="1768435"/>
                <a:ext cx="187920" cy="50760"/>
              </p14:xfrm>
            </p:contentPart>
          </mc:Choice>
          <mc:Fallback xmlns="">
            <p:pic>
              <p:nvPicPr>
                <p:cNvPr id="19" name="Ink 18">
                  <a:extLst>
                    <a:ext uri="{FF2B5EF4-FFF2-40B4-BE49-F238E27FC236}">
                      <a16:creationId xmlns:a16="http://schemas.microsoft.com/office/drawing/2014/main" id="{4CF6FB66-8AC4-4992-BBBD-150210516A4D}"/>
                    </a:ext>
                  </a:extLst>
                </p:cNvPr>
                <p:cNvPicPr/>
                <p:nvPr/>
              </p:nvPicPr>
              <p:blipFill>
                <a:blip r:embed="rId18"/>
                <a:stretch>
                  <a:fillRect/>
                </a:stretch>
              </p:blipFill>
              <p:spPr>
                <a:xfrm>
                  <a:off x="8367417" y="1759795"/>
                  <a:ext cx="205560" cy="6840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20" name="Ink 19">
                  <a:extLst>
                    <a:ext uri="{FF2B5EF4-FFF2-40B4-BE49-F238E27FC236}">
                      <a16:creationId xmlns:a16="http://schemas.microsoft.com/office/drawing/2014/main" id="{4921B5F0-30BF-4B50-90E6-A3CF5FD604A5}"/>
                    </a:ext>
                  </a:extLst>
                </p14:cNvPr>
                <p14:cNvContentPartPr/>
                <p14:nvPr/>
              </p14:nvContentPartPr>
              <p14:xfrm>
                <a:off x="8585217" y="1661155"/>
                <a:ext cx="76320" cy="78120"/>
              </p14:xfrm>
            </p:contentPart>
          </mc:Choice>
          <mc:Fallback xmlns="">
            <p:pic>
              <p:nvPicPr>
                <p:cNvPr id="20" name="Ink 19">
                  <a:extLst>
                    <a:ext uri="{FF2B5EF4-FFF2-40B4-BE49-F238E27FC236}">
                      <a16:creationId xmlns:a16="http://schemas.microsoft.com/office/drawing/2014/main" id="{4921B5F0-30BF-4B50-90E6-A3CF5FD604A5}"/>
                    </a:ext>
                  </a:extLst>
                </p:cNvPr>
                <p:cNvPicPr/>
                <p:nvPr/>
              </p:nvPicPr>
              <p:blipFill>
                <a:blip r:embed="rId20"/>
                <a:stretch>
                  <a:fillRect/>
                </a:stretch>
              </p:blipFill>
              <p:spPr>
                <a:xfrm>
                  <a:off x="8576217" y="1652155"/>
                  <a:ext cx="93960" cy="9576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21" name="Ink 20">
                  <a:extLst>
                    <a:ext uri="{FF2B5EF4-FFF2-40B4-BE49-F238E27FC236}">
                      <a16:creationId xmlns:a16="http://schemas.microsoft.com/office/drawing/2014/main" id="{6F9ABCCC-C501-4B8E-A7CB-D400283D3D0B}"/>
                    </a:ext>
                  </a:extLst>
                </p14:cNvPr>
                <p14:cNvContentPartPr/>
                <p14:nvPr/>
              </p14:nvContentPartPr>
              <p14:xfrm>
                <a:off x="8390097" y="1877515"/>
                <a:ext cx="323280" cy="17640"/>
              </p14:xfrm>
            </p:contentPart>
          </mc:Choice>
          <mc:Fallback xmlns="">
            <p:pic>
              <p:nvPicPr>
                <p:cNvPr id="21" name="Ink 20">
                  <a:extLst>
                    <a:ext uri="{FF2B5EF4-FFF2-40B4-BE49-F238E27FC236}">
                      <a16:creationId xmlns:a16="http://schemas.microsoft.com/office/drawing/2014/main" id="{6F9ABCCC-C501-4B8E-A7CB-D400283D3D0B}"/>
                    </a:ext>
                  </a:extLst>
                </p:cNvPr>
                <p:cNvPicPr/>
                <p:nvPr/>
              </p:nvPicPr>
              <p:blipFill>
                <a:blip r:embed="rId22"/>
                <a:stretch>
                  <a:fillRect/>
                </a:stretch>
              </p:blipFill>
              <p:spPr>
                <a:xfrm>
                  <a:off x="8381097" y="1868515"/>
                  <a:ext cx="340920" cy="3528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24" name="Ink 23">
                  <a:extLst>
                    <a:ext uri="{FF2B5EF4-FFF2-40B4-BE49-F238E27FC236}">
                      <a16:creationId xmlns:a16="http://schemas.microsoft.com/office/drawing/2014/main" id="{3FFD77F7-F515-4ACD-B9EF-8FC78CC46E9B}"/>
                    </a:ext>
                  </a:extLst>
                </p14:cNvPr>
                <p14:cNvContentPartPr/>
                <p14:nvPr/>
              </p14:nvContentPartPr>
              <p14:xfrm>
                <a:off x="8686377" y="1514275"/>
                <a:ext cx="148320" cy="679320"/>
              </p14:xfrm>
            </p:contentPart>
          </mc:Choice>
          <mc:Fallback xmlns="">
            <p:pic>
              <p:nvPicPr>
                <p:cNvPr id="24" name="Ink 23">
                  <a:extLst>
                    <a:ext uri="{FF2B5EF4-FFF2-40B4-BE49-F238E27FC236}">
                      <a16:creationId xmlns:a16="http://schemas.microsoft.com/office/drawing/2014/main" id="{3FFD77F7-F515-4ACD-B9EF-8FC78CC46E9B}"/>
                    </a:ext>
                  </a:extLst>
                </p:cNvPr>
                <p:cNvPicPr/>
                <p:nvPr/>
              </p:nvPicPr>
              <p:blipFill>
                <a:blip r:embed="rId24"/>
                <a:stretch>
                  <a:fillRect/>
                </a:stretch>
              </p:blipFill>
              <p:spPr>
                <a:xfrm>
                  <a:off x="8677377" y="1505275"/>
                  <a:ext cx="165960" cy="69696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28" name="Ink 27">
                  <a:extLst>
                    <a:ext uri="{FF2B5EF4-FFF2-40B4-BE49-F238E27FC236}">
                      <a16:creationId xmlns:a16="http://schemas.microsoft.com/office/drawing/2014/main" id="{CBF6917F-DB44-4161-B42E-C858281ABBBB}"/>
                    </a:ext>
                  </a:extLst>
                </p14:cNvPr>
                <p14:cNvContentPartPr/>
                <p14:nvPr/>
              </p14:nvContentPartPr>
              <p14:xfrm>
                <a:off x="8476497" y="1968235"/>
                <a:ext cx="97560" cy="139680"/>
              </p14:xfrm>
            </p:contentPart>
          </mc:Choice>
          <mc:Fallback xmlns="">
            <p:pic>
              <p:nvPicPr>
                <p:cNvPr id="28" name="Ink 27">
                  <a:extLst>
                    <a:ext uri="{FF2B5EF4-FFF2-40B4-BE49-F238E27FC236}">
                      <a16:creationId xmlns:a16="http://schemas.microsoft.com/office/drawing/2014/main" id="{CBF6917F-DB44-4161-B42E-C858281ABBBB}"/>
                    </a:ext>
                  </a:extLst>
                </p:cNvPr>
                <p:cNvPicPr/>
                <p:nvPr/>
              </p:nvPicPr>
              <p:blipFill>
                <a:blip r:embed="rId26"/>
                <a:stretch>
                  <a:fillRect/>
                </a:stretch>
              </p:blipFill>
              <p:spPr>
                <a:xfrm>
                  <a:off x="8467497" y="1959235"/>
                  <a:ext cx="115200" cy="157320"/>
                </a:xfrm>
                <a:prstGeom prst="rect">
                  <a:avLst/>
                </a:prstGeom>
              </p:spPr>
            </p:pic>
          </mc:Fallback>
        </mc:AlternateContent>
      </p:grpSp>
      <p:grpSp>
        <p:nvGrpSpPr>
          <p:cNvPr id="35" name="Group 34">
            <a:extLst>
              <a:ext uri="{FF2B5EF4-FFF2-40B4-BE49-F238E27FC236}">
                <a16:creationId xmlns:a16="http://schemas.microsoft.com/office/drawing/2014/main" id="{11D89019-0806-462E-91FA-2CF2F2A6ABE4}"/>
              </a:ext>
            </a:extLst>
          </p:cNvPr>
          <p:cNvGrpSpPr/>
          <p:nvPr/>
        </p:nvGrpSpPr>
        <p:grpSpPr>
          <a:xfrm>
            <a:off x="104337" y="1856995"/>
            <a:ext cx="403920" cy="223200"/>
            <a:chOff x="104337" y="1856995"/>
            <a:chExt cx="403920" cy="223200"/>
          </a:xfrm>
        </p:grpSpPr>
        <mc:AlternateContent xmlns:mc="http://schemas.openxmlformats.org/markup-compatibility/2006" xmlns:p14="http://schemas.microsoft.com/office/powerpoint/2010/main">
          <mc:Choice Requires="p14">
            <p:contentPart p14:bwMode="auto" r:id="rId27">
              <p14:nvContentPartPr>
                <p14:cNvPr id="30" name="Ink 29">
                  <a:extLst>
                    <a:ext uri="{FF2B5EF4-FFF2-40B4-BE49-F238E27FC236}">
                      <a16:creationId xmlns:a16="http://schemas.microsoft.com/office/drawing/2014/main" id="{124E01D0-D2E8-4711-9DCC-F4E4A9C14678}"/>
                    </a:ext>
                  </a:extLst>
                </p14:cNvPr>
                <p14:cNvContentPartPr/>
                <p14:nvPr/>
              </p14:nvContentPartPr>
              <p14:xfrm>
                <a:off x="104337" y="1926475"/>
                <a:ext cx="145440" cy="153720"/>
              </p14:xfrm>
            </p:contentPart>
          </mc:Choice>
          <mc:Fallback xmlns="">
            <p:pic>
              <p:nvPicPr>
                <p:cNvPr id="30" name="Ink 29">
                  <a:extLst>
                    <a:ext uri="{FF2B5EF4-FFF2-40B4-BE49-F238E27FC236}">
                      <a16:creationId xmlns:a16="http://schemas.microsoft.com/office/drawing/2014/main" id="{124E01D0-D2E8-4711-9DCC-F4E4A9C14678}"/>
                    </a:ext>
                  </a:extLst>
                </p:cNvPr>
                <p:cNvPicPr/>
                <p:nvPr/>
              </p:nvPicPr>
              <p:blipFill>
                <a:blip r:embed="rId28"/>
                <a:stretch>
                  <a:fillRect/>
                </a:stretch>
              </p:blipFill>
              <p:spPr>
                <a:xfrm>
                  <a:off x="95697" y="1917475"/>
                  <a:ext cx="163080" cy="17136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31" name="Ink 30">
                  <a:extLst>
                    <a:ext uri="{FF2B5EF4-FFF2-40B4-BE49-F238E27FC236}">
                      <a16:creationId xmlns:a16="http://schemas.microsoft.com/office/drawing/2014/main" id="{89177487-C6E1-40D1-B28D-BD61321D9761}"/>
                    </a:ext>
                  </a:extLst>
                </p14:cNvPr>
                <p14:cNvContentPartPr/>
                <p14:nvPr/>
              </p14:nvContentPartPr>
              <p14:xfrm>
                <a:off x="281097" y="1955635"/>
                <a:ext cx="137160" cy="56160"/>
              </p14:xfrm>
            </p:contentPart>
          </mc:Choice>
          <mc:Fallback xmlns="">
            <p:pic>
              <p:nvPicPr>
                <p:cNvPr id="31" name="Ink 30">
                  <a:extLst>
                    <a:ext uri="{FF2B5EF4-FFF2-40B4-BE49-F238E27FC236}">
                      <a16:creationId xmlns:a16="http://schemas.microsoft.com/office/drawing/2014/main" id="{89177487-C6E1-40D1-B28D-BD61321D9761}"/>
                    </a:ext>
                  </a:extLst>
                </p:cNvPr>
                <p:cNvPicPr/>
                <p:nvPr/>
              </p:nvPicPr>
              <p:blipFill>
                <a:blip r:embed="rId30"/>
                <a:stretch>
                  <a:fillRect/>
                </a:stretch>
              </p:blipFill>
              <p:spPr>
                <a:xfrm>
                  <a:off x="272457" y="1946995"/>
                  <a:ext cx="154800" cy="7380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32" name="Ink 31">
                  <a:extLst>
                    <a:ext uri="{FF2B5EF4-FFF2-40B4-BE49-F238E27FC236}">
                      <a16:creationId xmlns:a16="http://schemas.microsoft.com/office/drawing/2014/main" id="{2FDA5ECC-EFB9-46D7-ADD4-C48D13149557}"/>
                    </a:ext>
                  </a:extLst>
                </p14:cNvPr>
                <p14:cNvContentPartPr/>
                <p14:nvPr/>
              </p14:nvContentPartPr>
              <p14:xfrm>
                <a:off x="404577" y="1856995"/>
                <a:ext cx="103680" cy="77760"/>
              </p14:xfrm>
            </p:contentPart>
          </mc:Choice>
          <mc:Fallback xmlns="">
            <p:pic>
              <p:nvPicPr>
                <p:cNvPr id="32" name="Ink 31">
                  <a:extLst>
                    <a:ext uri="{FF2B5EF4-FFF2-40B4-BE49-F238E27FC236}">
                      <a16:creationId xmlns:a16="http://schemas.microsoft.com/office/drawing/2014/main" id="{2FDA5ECC-EFB9-46D7-ADD4-C48D13149557}"/>
                    </a:ext>
                  </a:extLst>
                </p:cNvPr>
                <p:cNvPicPr/>
                <p:nvPr/>
              </p:nvPicPr>
              <p:blipFill>
                <a:blip r:embed="rId32"/>
                <a:stretch>
                  <a:fillRect/>
                </a:stretch>
              </p:blipFill>
              <p:spPr>
                <a:xfrm>
                  <a:off x="395937" y="1848355"/>
                  <a:ext cx="121320" cy="9540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34" name="Ink 33">
                  <a:extLst>
                    <a:ext uri="{FF2B5EF4-FFF2-40B4-BE49-F238E27FC236}">
                      <a16:creationId xmlns:a16="http://schemas.microsoft.com/office/drawing/2014/main" id="{AFF3A8AC-157D-4B12-B887-5B24F08B28D7}"/>
                    </a:ext>
                  </a:extLst>
                </p14:cNvPr>
                <p14:cNvContentPartPr/>
                <p14:nvPr/>
              </p14:nvContentPartPr>
              <p14:xfrm>
                <a:off x="341937" y="1960315"/>
                <a:ext cx="10800" cy="15120"/>
              </p14:xfrm>
            </p:contentPart>
          </mc:Choice>
          <mc:Fallback xmlns="">
            <p:pic>
              <p:nvPicPr>
                <p:cNvPr id="34" name="Ink 33">
                  <a:extLst>
                    <a:ext uri="{FF2B5EF4-FFF2-40B4-BE49-F238E27FC236}">
                      <a16:creationId xmlns:a16="http://schemas.microsoft.com/office/drawing/2014/main" id="{AFF3A8AC-157D-4B12-B887-5B24F08B28D7}"/>
                    </a:ext>
                  </a:extLst>
                </p:cNvPr>
                <p:cNvPicPr/>
                <p:nvPr/>
              </p:nvPicPr>
              <p:blipFill>
                <a:blip r:embed="rId34"/>
                <a:stretch>
                  <a:fillRect/>
                </a:stretch>
              </p:blipFill>
              <p:spPr>
                <a:xfrm>
                  <a:off x="332937" y="1951675"/>
                  <a:ext cx="28440" cy="3276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35">
            <p14:nvContentPartPr>
              <p14:cNvPr id="36" name="Ink 35">
                <a:extLst>
                  <a:ext uri="{FF2B5EF4-FFF2-40B4-BE49-F238E27FC236}">
                    <a16:creationId xmlns:a16="http://schemas.microsoft.com/office/drawing/2014/main" id="{5837E66D-2498-4C3D-95B5-AB89EC23DC8D}"/>
                  </a:ext>
                </a:extLst>
              </p14:cNvPr>
              <p14:cNvContentPartPr/>
              <p14:nvPr/>
            </p14:nvContentPartPr>
            <p14:xfrm>
              <a:off x="-496143" y="1095595"/>
              <a:ext cx="360" cy="360"/>
            </p14:xfrm>
          </p:contentPart>
        </mc:Choice>
        <mc:Fallback xmlns="">
          <p:pic>
            <p:nvPicPr>
              <p:cNvPr id="36" name="Ink 35">
                <a:extLst>
                  <a:ext uri="{FF2B5EF4-FFF2-40B4-BE49-F238E27FC236}">
                    <a16:creationId xmlns:a16="http://schemas.microsoft.com/office/drawing/2014/main" id="{5837E66D-2498-4C3D-95B5-AB89EC23DC8D}"/>
                  </a:ext>
                </a:extLst>
              </p:cNvPr>
              <p:cNvPicPr/>
              <p:nvPr/>
            </p:nvPicPr>
            <p:blipFill>
              <a:blip r:embed="rId36"/>
              <a:stretch>
                <a:fillRect/>
              </a:stretch>
            </p:blipFill>
            <p:spPr>
              <a:xfrm>
                <a:off x="-504783" y="1086595"/>
                <a:ext cx="18000" cy="18000"/>
              </a:xfrm>
              <a:prstGeom prst="rect">
                <a:avLst/>
              </a:prstGeom>
            </p:spPr>
          </p:pic>
        </mc:Fallback>
      </mc:AlternateContent>
    </p:spTree>
    <p:extLst>
      <p:ext uri="{BB962C8B-B14F-4D97-AF65-F5344CB8AC3E}">
        <p14:creationId xmlns:p14="http://schemas.microsoft.com/office/powerpoint/2010/main" val="3012613294"/>
      </p:ext>
    </p:extLst>
  </p:cSld>
  <p:clrMapOvr>
    <a:masterClrMapping/>
  </p:clrMapOvr>
  <p:transition spd="med">
    <p:wipe dir="r"/>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AAB86-8B83-4388-9E31-E03CF8FFCD09}"/>
              </a:ext>
            </a:extLst>
          </p:cNvPr>
          <p:cNvSpPr>
            <a:spLocks noGrp="1"/>
          </p:cNvSpPr>
          <p:nvPr>
            <p:ph type="title"/>
          </p:nvPr>
        </p:nvSpPr>
        <p:spPr>
          <a:xfrm>
            <a:off x="0" y="0"/>
            <a:ext cx="4295219" cy="640080"/>
          </a:xfrm>
        </p:spPr>
        <p:txBody>
          <a:bodyPr/>
          <a:lstStyle/>
          <a:p>
            <a:r>
              <a:rPr lang="en-US" dirty="0"/>
              <a:t>Why CLT is important ? </a:t>
            </a:r>
          </a:p>
        </p:txBody>
      </p:sp>
      <p:sp>
        <p:nvSpPr>
          <p:cNvPr id="3" name="Content Placeholder 2">
            <a:extLst>
              <a:ext uri="{FF2B5EF4-FFF2-40B4-BE49-F238E27FC236}">
                <a16:creationId xmlns:a16="http://schemas.microsoft.com/office/drawing/2014/main" id="{08E511C3-797A-4799-81E2-1343734E3DF9}"/>
              </a:ext>
            </a:extLst>
          </p:cNvPr>
          <p:cNvSpPr>
            <a:spLocks noGrp="1"/>
          </p:cNvSpPr>
          <p:nvPr>
            <p:ph sz="half" idx="13"/>
          </p:nvPr>
        </p:nvSpPr>
        <p:spPr>
          <a:xfrm>
            <a:off x="162637" y="971550"/>
            <a:ext cx="7361967" cy="3200400"/>
          </a:xfrm>
        </p:spPr>
        <p:txBody>
          <a:bodyPr/>
          <a:lstStyle/>
          <a:p>
            <a:r>
              <a:rPr lang="en-US" dirty="0"/>
              <a:t>They approx. a wide variety of random variable</a:t>
            </a:r>
          </a:p>
          <a:p>
            <a:r>
              <a:rPr lang="en-US" dirty="0"/>
              <a:t>Distributions of sample with large enough sample sizes could be approximated to normal</a:t>
            </a:r>
          </a:p>
          <a:p>
            <a:r>
              <a:rPr lang="en-US" dirty="0"/>
              <a:t>All Computable statistics are elegant</a:t>
            </a:r>
          </a:p>
          <a:p>
            <a:r>
              <a:rPr lang="en-US" dirty="0"/>
              <a:t>Decision based on normal distribution insights have a good track record</a:t>
            </a:r>
          </a:p>
        </p:txBody>
      </p:sp>
      <p:sp>
        <p:nvSpPr>
          <p:cNvPr id="4" name="Rectangle 3">
            <a:extLst>
              <a:ext uri="{FF2B5EF4-FFF2-40B4-BE49-F238E27FC236}">
                <a16:creationId xmlns:a16="http://schemas.microsoft.com/office/drawing/2014/main" id="{F6AB9167-933D-4D18-BC21-28DC93BCCFFC}"/>
              </a:ext>
            </a:extLst>
          </p:cNvPr>
          <p:cNvSpPr/>
          <p:nvPr/>
        </p:nvSpPr>
        <p:spPr>
          <a:xfrm>
            <a:off x="823658" y="2645478"/>
            <a:ext cx="7056934" cy="1640336"/>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CLT allows us to perform test, solve problems and make inferences using the normal distribution, even when the population is not normally distributed</a:t>
            </a:r>
          </a:p>
        </p:txBody>
      </p:sp>
    </p:spTree>
    <p:extLst>
      <p:ext uri="{BB962C8B-B14F-4D97-AF65-F5344CB8AC3E}">
        <p14:creationId xmlns:p14="http://schemas.microsoft.com/office/powerpoint/2010/main" val="4272512511"/>
      </p:ext>
    </p:extLst>
  </p:cSld>
  <p:clrMapOvr>
    <a:masterClrMapping/>
  </p:clrMapOvr>
  <p:transition spd="med">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4B5D2-0728-491B-B188-E55DA3F71DBD}"/>
              </a:ext>
            </a:extLst>
          </p:cNvPr>
          <p:cNvSpPr>
            <a:spLocks noGrp="1"/>
          </p:cNvSpPr>
          <p:nvPr>
            <p:ph type="title"/>
          </p:nvPr>
        </p:nvSpPr>
        <p:spPr>
          <a:xfrm>
            <a:off x="80166" y="146626"/>
            <a:ext cx="8556530" cy="640080"/>
          </a:xfrm>
        </p:spPr>
        <p:txBody>
          <a:bodyPr/>
          <a:lstStyle/>
          <a:p>
            <a:r>
              <a:rPr lang="en-US" dirty="0"/>
              <a:t>Why Sample should be Random &amp; Representative? </a:t>
            </a:r>
          </a:p>
        </p:txBody>
      </p:sp>
      <p:sp>
        <p:nvSpPr>
          <p:cNvPr id="3" name="Content Placeholder 2">
            <a:extLst>
              <a:ext uri="{FF2B5EF4-FFF2-40B4-BE49-F238E27FC236}">
                <a16:creationId xmlns:a16="http://schemas.microsoft.com/office/drawing/2014/main" id="{FB513912-8764-42DB-B71C-BF2285B701A9}"/>
              </a:ext>
            </a:extLst>
          </p:cNvPr>
          <p:cNvSpPr>
            <a:spLocks noGrp="1"/>
          </p:cNvSpPr>
          <p:nvPr>
            <p:ph sz="half" idx="1"/>
          </p:nvPr>
        </p:nvSpPr>
        <p:spPr>
          <a:xfrm>
            <a:off x="186635" y="885589"/>
            <a:ext cx="8694317" cy="3780355"/>
          </a:xfrm>
        </p:spPr>
        <p:txBody>
          <a:bodyPr>
            <a:normAutofit/>
          </a:bodyPr>
          <a:lstStyle/>
          <a:p>
            <a:r>
              <a:rPr lang="en-US" sz="1800" dirty="0">
                <a:solidFill>
                  <a:schemeClr val="bg2">
                    <a:lumMod val="50000"/>
                    <a:lumOff val="50000"/>
                  </a:schemeClr>
                </a:solidFill>
              </a:rPr>
              <a:t>Sampling involves selecting units from a population of interest such that the sampling units </a:t>
            </a:r>
            <a:r>
              <a:rPr lang="en-US" sz="1800" b="1" dirty="0">
                <a:solidFill>
                  <a:schemeClr val="accent1"/>
                </a:solidFill>
              </a:rPr>
              <a:t>represent the whole population</a:t>
            </a:r>
            <a:r>
              <a:rPr lang="en-US" sz="1800" dirty="0">
                <a:solidFill>
                  <a:schemeClr val="bg2">
                    <a:lumMod val="50000"/>
                    <a:lumOff val="50000"/>
                  </a:schemeClr>
                </a:solidFill>
              </a:rPr>
              <a:t>. If sample is bias the resultant statistics can bias and will not be representative. </a:t>
            </a:r>
          </a:p>
          <a:p>
            <a:r>
              <a:rPr lang="en-US" sz="1800" dirty="0">
                <a:solidFill>
                  <a:schemeClr val="bg2">
                    <a:lumMod val="50000"/>
                    <a:lumOff val="50000"/>
                  </a:schemeClr>
                </a:solidFill>
              </a:rPr>
              <a:t>Random sampling is one such procedure that selects a sample of units from a population </a:t>
            </a:r>
            <a:r>
              <a:rPr lang="en-US" sz="1800" b="1" dirty="0">
                <a:solidFill>
                  <a:schemeClr val="accent1"/>
                </a:solidFill>
              </a:rPr>
              <a:t>by chance</a:t>
            </a:r>
            <a:r>
              <a:rPr lang="en-US" sz="1800" dirty="0">
                <a:solidFill>
                  <a:schemeClr val="bg2">
                    <a:lumMod val="50000"/>
                    <a:lumOff val="50000"/>
                  </a:schemeClr>
                </a:solidFill>
              </a:rPr>
              <a:t>, typically to </a:t>
            </a:r>
            <a:r>
              <a:rPr lang="en-US" sz="1800" b="1" dirty="0">
                <a:solidFill>
                  <a:schemeClr val="accent1"/>
                </a:solidFill>
              </a:rPr>
              <a:t>facilitate generalization </a:t>
            </a:r>
            <a:r>
              <a:rPr lang="en-US" sz="1800" dirty="0">
                <a:solidFill>
                  <a:schemeClr val="bg2">
                    <a:lumMod val="50000"/>
                    <a:lumOff val="50000"/>
                  </a:schemeClr>
                </a:solidFill>
              </a:rPr>
              <a:t>from the sample to the population. </a:t>
            </a:r>
          </a:p>
          <a:p>
            <a:r>
              <a:rPr lang="en-US" sz="1800" dirty="0">
                <a:solidFill>
                  <a:schemeClr val="bg2">
                    <a:lumMod val="50000"/>
                    <a:lumOff val="50000"/>
                  </a:schemeClr>
                </a:solidFill>
              </a:rPr>
              <a:t>Random sampling ensures that results obtained from your sample should approximate what would have been obtained </a:t>
            </a:r>
            <a:r>
              <a:rPr lang="en-US" sz="1800" b="1" dirty="0">
                <a:solidFill>
                  <a:schemeClr val="accent1"/>
                </a:solidFill>
              </a:rPr>
              <a:t>if the entire population had been measured</a:t>
            </a:r>
            <a:r>
              <a:rPr lang="en-US" sz="1800" dirty="0">
                <a:solidFill>
                  <a:schemeClr val="bg2">
                    <a:lumMod val="50000"/>
                    <a:lumOff val="50000"/>
                  </a:schemeClr>
                </a:solidFill>
              </a:rPr>
              <a:t>. The simplest random sample allows all the units in the population to have an </a:t>
            </a:r>
            <a:r>
              <a:rPr lang="en-US" sz="1800" b="1" dirty="0">
                <a:solidFill>
                  <a:schemeClr val="accent1"/>
                </a:solidFill>
              </a:rPr>
              <a:t>equal chance </a:t>
            </a:r>
            <a:r>
              <a:rPr lang="en-US" sz="1800" dirty="0">
                <a:solidFill>
                  <a:schemeClr val="bg2">
                    <a:lumMod val="50000"/>
                    <a:lumOff val="50000"/>
                  </a:schemeClr>
                </a:solidFill>
              </a:rPr>
              <a:t>of being selected. </a:t>
            </a:r>
            <a:r>
              <a:rPr lang="en-US" sz="1800" b="1" i="1" dirty="0">
                <a:solidFill>
                  <a:schemeClr val="bg2">
                    <a:lumMod val="50000"/>
                    <a:lumOff val="50000"/>
                  </a:schemeClr>
                </a:solidFill>
              </a:rPr>
              <a:t>Often in practice we rely on more complex sampling techniques.</a:t>
            </a:r>
          </a:p>
        </p:txBody>
      </p:sp>
    </p:spTree>
    <p:extLst>
      <p:ext uri="{BB962C8B-B14F-4D97-AF65-F5344CB8AC3E}">
        <p14:creationId xmlns:p14="http://schemas.microsoft.com/office/powerpoint/2010/main" val="3661297187"/>
      </p:ext>
    </p:extLst>
  </p:cSld>
  <p:clrMapOvr>
    <a:masterClrMapping/>
  </p:clrMapOvr>
  <p:transition spd="med">
    <p:wipe dir="r"/>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6D8AD-5CBA-47F4-B48F-371D8D233987}"/>
              </a:ext>
            </a:extLst>
          </p:cNvPr>
          <p:cNvSpPr>
            <a:spLocks noGrp="1"/>
          </p:cNvSpPr>
          <p:nvPr>
            <p:ph type="title"/>
          </p:nvPr>
        </p:nvSpPr>
        <p:spPr>
          <a:xfrm>
            <a:off x="0" y="22860"/>
            <a:ext cx="6931292" cy="640080"/>
          </a:xfrm>
        </p:spPr>
        <p:txBody>
          <a:bodyPr/>
          <a:lstStyle/>
          <a:p>
            <a:r>
              <a:rPr lang="en-US" dirty="0"/>
              <a:t>Probability</a:t>
            </a:r>
          </a:p>
        </p:txBody>
      </p:sp>
      <p:sp>
        <p:nvSpPr>
          <p:cNvPr id="3" name="Content Placeholder 2">
            <a:extLst>
              <a:ext uri="{FF2B5EF4-FFF2-40B4-BE49-F238E27FC236}">
                <a16:creationId xmlns:a16="http://schemas.microsoft.com/office/drawing/2014/main" id="{80C827C4-36EC-4BB1-B754-40EF4DA9490F}"/>
              </a:ext>
            </a:extLst>
          </p:cNvPr>
          <p:cNvSpPr>
            <a:spLocks noGrp="1"/>
          </p:cNvSpPr>
          <p:nvPr>
            <p:ph sz="half" idx="13"/>
          </p:nvPr>
        </p:nvSpPr>
        <p:spPr>
          <a:xfrm>
            <a:off x="0" y="650114"/>
            <a:ext cx="8960422" cy="3843272"/>
          </a:xfrm>
        </p:spPr>
        <p:txBody>
          <a:bodyPr/>
          <a:lstStyle/>
          <a:p>
            <a:r>
              <a:rPr lang="en-US" dirty="0">
                <a:solidFill>
                  <a:schemeClr val="bg2">
                    <a:lumMod val="50000"/>
                    <a:lumOff val="50000"/>
                  </a:schemeClr>
                </a:solidFill>
              </a:rPr>
              <a:t>How likely something is to happen.</a:t>
            </a:r>
          </a:p>
          <a:p>
            <a:r>
              <a:rPr lang="en-US" dirty="0">
                <a:solidFill>
                  <a:schemeClr val="bg2">
                    <a:lumMod val="50000"/>
                    <a:lumOff val="50000"/>
                  </a:schemeClr>
                </a:solidFill>
              </a:rPr>
              <a:t>Many events can't be predicted with total certainty. The best we can say is how likely they are to happen, using the idea of probability.</a:t>
            </a:r>
          </a:p>
          <a:p>
            <a:r>
              <a:rPr lang="en-US" b="1" dirty="0">
                <a:solidFill>
                  <a:schemeClr val="bg2">
                    <a:lumMod val="50000"/>
                    <a:lumOff val="50000"/>
                  </a:schemeClr>
                </a:solidFill>
              </a:rPr>
              <a:t>Tossing a Coin</a:t>
            </a:r>
          </a:p>
        </p:txBody>
      </p:sp>
      <p:pic>
        <p:nvPicPr>
          <p:cNvPr id="5" name="Picture 4" descr="A hand with a coin in the background&#10;&#10;Description automatically generated with low confidence">
            <a:extLst>
              <a:ext uri="{FF2B5EF4-FFF2-40B4-BE49-F238E27FC236}">
                <a16:creationId xmlns:a16="http://schemas.microsoft.com/office/drawing/2014/main" id="{3475738F-4AC8-441F-8555-75C1B04F0D49}"/>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816119" y="2304173"/>
            <a:ext cx="1515252" cy="1917946"/>
          </a:xfrm>
          <a:prstGeom prst="rect">
            <a:avLst/>
          </a:prstGeom>
        </p:spPr>
      </p:pic>
      <p:sp>
        <p:nvSpPr>
          <p:cNvPr id="7" name="TextBox 6">
            <a:extLst>
              <a:ext uri="{FF2B5EF4-FFF2-40B4-BE49-F238E27FC236}">
                <a16:creationId xmlns:a16="http://schemas.microsoft.com/office/drawing/2014/main" id="{92A89A0C-0BCE-4B1A-B37D-83F3C0C7CF08}"/>
              </a:ext>
            </a:extLst>
          </p:cNvPr>
          <p:cNvSpPr txBox="1"/>
          <p:nvPr/>
        </p:nvSpPr>
        <p:spPr>
          <a:xfrm>
            <a:off x="3147490" y="2945333"/>
            <a:ext cx="3420275" cy="523220"/>
          </a:xfrm>
          <a:prstGeom prst="rect">
            <a:avLst/>
          </a:prstGeom>
          <a:noFill/>
        </p:spPr>
        <p:txBody>
          <a:bodyPr wrap="square" rtlCol="0">
            <a:spAutoFit/>
          </a:bodyPr>
          <a:lstStyle/>
          <a:p>
            <a:pPr>
              <a:spcBef>
                <a:spcPts val="0"/>
              </a:spcBef>
              <a:spcAft>
                <a:spcPts val="0"/>
              </a:spcAft>
              <a:buClr>
                <a:schemeClr val="bg1"/>
              </a:buClr>
            </a:pPr>
            <a:r>
              <a:rPr lang="en-US" sz="2800" b="1" dirty="0">
                <a:solidFill>
                  <a:schemeClr val="bg2">
                    <a:lumMod val="50000"/>
                    <a:lumOff val="50000"/>
                  </a:schemeClr>
                </a:solidFill>
                <a:latin typeface="+mn-lt"/>
              </a:rPr>
              <a:t>Head or Tail ? </a:t>
            </a:r>
            <a:endParaRPr lang="en-US" sz="1400" b="1" dirty="0">
              <a:solidFill>
                <a:schemeClr val="bg2">
                  <a:lumMod val="50000"/>
                  <a:lumOff val="50000"/>
                </a:schemeClr>
              </a:solidFill>
              <a:latin typeface="+mn-lt"/>
            </a:endParaRPr>
          </a:p>
        </p:txBody>
      </p:sp>
    </p:spTree>
    <p:extLst>
      <p:ext uri="{BB962C8B-B14F-4D97-AF65-F5344CB8AC3E}">
        <p14:creationId xmlns:p14="http://schemas.microsoft.com/office/powerpoint/2010/main" val="1367373909"/>
      </p:ext>
    </p:extLst>
  </p:cSld>
  <p:clrMapOvr>
    <a:masterClrMapping/>
  </p:clrMapOvr>
  <p:transition spd="med">
    <p:wipe dir="r"/>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30665-F41C-4D7C-A1F3-2F9ACDCFF020}"/>
              </a:ext>
            </a:extLst>
          </p:cNvPr>
          <p:cNvSpPr>
            <a:spLocks noGrp="1"/>
          </p:cNvSpPr>
          <p:nvPr>
            <p:ph type="title"/>
          </p:nvPr>
        </p:nvSpPr>
        <p:spPr>
          <a:xfrm>
            <a:off x="0" y="22860"/>
            <a:ext cx="4295219" cy="640080"/>
          </a:xfrm>
        </p:spPr>
        <p:txBody>
          <a:bodyPr/>
          <a:lstStyle/>
          <a:p>
            <a:r>
              <a:rPr lang="en-US" dirty="0"/>
              <a:t>Probability</a:t>
            </a:r>
          </a:p>
        </p:txBody>
      </p:sp>
      <p:sp>
        <p:nvSpPr>
          <p:cNvPr id="3" name="Content Placeholder 2">
            <a:extLst>
              <a:ext uri="{FF2B5EF4-FFF2-40B4-BE49-F238E27FC236}">
                <a16:creationId xmlns:a16="http://schemas.microsoft.com/office/drawing/2014/main" id="{24E31847-FB72-4A28-9F16-6E09BAC2AC14}"/>
              </a:ext>
            </a:extLst>
          </p:cNvPr>
          <p:cNvSpPr>
            <a:spLocks noGrp="1"/>
          </p:cNvSpPr>
          <p:nvPr>
            <p:ph sz="half" idx="13"/>
          </p:nvPr>
        </p:nvSpPr>
        <p:spPr>
          <a:xfrm>
            <a:off x="48843" y="742688"/>
            <a:ext cx="8492752" cy="3200400"/>
          </a:xfrm>
        </p:spPr>
        <p:txBody>
          <a:bodyPr/>
          <a:lstStyle/>
          <a:p>
            <a:r>
              <a:rPr lang="en-US" dirty="0"/>
              <a:t>Throwing Dice</a:t>
            </a:r>
          </a:p>
        </p:txBody>
      </p:sp>
      <p:pic>
        <p:nvPicPr>
          <p:cNvPr id="5" name="Picture 4" descr="A close up of a dice&#10;&#10;Description automatically generated with medium confidence">
            <a:extLst>
              <a:ext uri="{FF2B5EF4-FFF2-40B4-BE49-F238E27FC236}">
                <a16:creationId xmlns:a16="http://schemas.microsoft.com/office/drawing/2014/main" id="{AFBA4308-42D6-4B96-81B0-080B9E4373C8}"/>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02405" y="1201096"/>
            <a:ext cx="2634293" cy="1971115"/>
          </a:xfrm>
          <a:prstGeom prst="rect">
            <a:avLst/>
          </a:prstGeom>
        </p:spPr>
      </p:pic>
      <p:sp>
        <p:nvSpPr>
          <p:cNvPr id="6" name="TextBox 5">
            <a:extLst>
              <a:ext uri="{FF2B5EF4-FFF2-40B4-BE49-F238E27FC236}">
                <a16:creationId xmlns:a16="http://schemas.microsoft.com/office/drawing/2014/main" id="{7C40165F-EBB2-411F-9F49-049391ED8FC5}"/>
              </a:ext>
            </a:extLst>
          </p:cNvPr>
          <p:cNvSpPr txBox="1"/>
          <p:nvPr/>
        </p:nvSpPr>
        <p:spPr>
          <a:xfrm>
            <a:off x="48843" y="3535463"/>
            <a:ext cx="2634293" cy="338554"/>
          </a:xfrm>
          <a:prstGeom prst="rect">
            <a:avLst/>
          </a:prstGeom>
          <a:noFill/>
        </p:spPr>
        <p:txBody>
          <a:bodyPr wrap="square" rtlCol="0">
            <a:spAutoFit/>
          </a:bodyPr>
          <a:lstStyle/>
          <a:p>
            <a:pPr>
              <a:spcBef>
                <a:spcPts val="0"/>
              </a:spcBef>
              <a:spcAft>
                <a:spcPts val="0"/>
              </a:spcAft>
              <a:buClr>
                <a:schemeClr val="bg1"/>
              </a:buClr>
            </a:pPr>
            <a:r>
              <a:rPr lang="en-US" sz="1600" b="1" dirty="0">
                <a:solidFill>
                  <a:schemeClr val="bg2"/>
                </a:solidFill>
                <a:latin typeface="+mn-lt"/>
              </a:rPr>
              <a:t>Probability Formula </a:t>
            </a:r>
            <a:endParaRPr lang="en-US" sz="1400" b="1" dirty="0">
              <a:solidFill>
                <a:schemeClr val="bg2"/>
              </a:solidFill>
              <a:latin typeface="+mn-lt"/>
            </a:endParaRPr>
          </a:p>
        </p:txBody>
      </p:sp>
      <p:pic>
        <p:nvPicPr>
          <p:cNvPr id="8" name="Picture 7">
            <a:extLst>
              <a:ext uri="{FF2B5EF4-FFF2-40B4-BE49-F238E27FC236}">
                <a16:creationId xmlns:a16="http://schemas.microsoft.com/office/drawing/2014/main" id="{CEAD1E4D-C022-435E-BA29-C8D081FF1739}"/>
              </a:ext>
            </a:extLst>
          </p:cNvPr>
          <p:cNvPicPr>
            <a:picLocks noChangeAspect="1"/>
          </p:cNvPicPr>
          <p:nvPr/>
        </p:nvPicPr>
        <p:blipFill>
          <a:blip r:embed="rId4"/>
          <a:stretch>
            <a:fillRect/>
          </a:stretch>
        </p:blipFill>
        <p:spPr>
          <a:xfrm>
            <a:off x="494082" y="3874017"/>
            <a:ext cx="8601075" cy="885825"/>
          </a:xfrm>
          <a:prstGeom prst="rect">
            <a:avLst/>
          </a:prstGeom>
        </p:spPr>
      </p:pic>
    </p:spTree>
    <p:extLst>
      <p:ext uri="{BB962C8B-B14F-4D97-AF65-F5344CB8AC3E}">
        <p14:creationId xmlns:p14="http://schemas.microsoft.com/office/powerpoint/2010/main" val="3091052118"/>
      </p:ext>
    </p:extLst>
  </p:cSld>
  <p:clrMapOvr>
    <a:masterClrMapping/>
  </p:clrMapOvr>
  <p:transition spd="med">
    <p:wipe dir="r"/>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8CE0D-4FDD-4402-BFC6-C4E1021E3033}"/>
              </a:ext>
            </a:extLst>
          </p:cNvPr>
          <p:cNvSpPr>
            <a:spLocks noGrp="1"/>
          </p:cNvSpPr>
          <p:nvPr>
            <p:ph type="title"/>
          </p:nvPr>
        </p:nvSpPr>
        <p:spPr>
          <a:xfrm>
            <a:off x="0" y="0"/>
            <a:ext cx="4295219" cy="640080"/>
          </a:xfrm>
        </p:spPr>
        <p:txBody>
          <a:bodyPr/>
          <a:lstStyle/>
          <a:p>
            <a:r>
              <a:rPr lang="en-US" dirty="0"/>
              <a:t>Probability Example</a:t>
            </a:r>
          </a:p>
        </p:txBody>
      </p:sp>
      <p:sp>
        <p:nvSpPr>
          <p:cNvPr id="3" name="Content Placeholder 2">
            <a:extLst>
              <a:ext uri="{FF2B5EF4-FFF2-40B4-BE49-F238E27FC236}">
                <a16:creationId xmlns:a16="http://schemas.microsoft.com/office/drawing/2014/main" id="{6A7FAF5B-4E17-4FA5-AF73-E751EC3EBBBA}"/>
              </a:ext>
            </a:extLst>
          </p:cNvPr>
          <p:cNvSpPr>
            <a:spLocks noGrp="1"/>
          </p:cNvSpPr>
          <p:nvPr>
            <p:ph sz="half" idx="13"/>
          </p:nvPr>
        </p:nvSpPr>
        <p:spPr>
          <a:xfrm>
            <a:off x="85856" y="640080"/>
            <a:ext cx="8157704" cy="3200400"/>
          </a:xfrm>
        </p:spPr>
        <p:txBody>
          <a:bodyPr/>
          <a:lstStyle/>
          <a:p>
            <a:r>
              <a:rPr lang="en-US" dirty="0"/>
              <a:t>Ex 1 : the chances of rolling a "4" with a die</a:t>
            </a:r>
          </a:p>
          <a:p>
            <a:endParaRPr lang="en-US" dirty="0"/>
          </a:p>
          <a:p>
            <a:endParaRPr lang="en-US" dirty="0"/>
          </a:p>
          <a:p>
            <a:r>
              <a:rPr lang="en-US" dirty="0"/>
              <a:t>Ex 2 : there are 5 marbles in a bag: 4 are blue, and 1 is red. What is the probability that a blue marble gets picked?</a:t>
            </a:r>
          </a:p>
        </p:txBody>
      </p:sp>
      <p:pic>
        <p:nvPicPr>
          <p:cNvPr id="7" name="Picture 6" descr="A picture containing indoor, floor, blue, close&#10;&#10;Description automatically generated">
            <a:extLst>
              <a:ext uri="{FF2B5EF4-FFF2-40B4-BE49-F238E27FC236}">
                <a16:creationId xmlns:a16="http://schemas.microsoft.com/office/drawing/2014/main" id="{EC87BBCD-760D-40AA-A681-7E2FD88DA110}"/>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50866" y="2397240"/>
            <a:ext cx="2163803" cy="1443240"/>
          </a:xfrm>
          <a:prstGeom prst="rect">
            <a:avLst/>
          </a:prstGeom>
        </p:spPr>
      </p:pic>
      <p:pic>
        <p:nvPicPr>
          <p:cNvPr id="10" name="Picture 9" descr="A picture containing red, cherry, vegetable&#10;&#10;Description automatically generated">
            <a:extLst>
              <a:ext uri="{FF2B5EF4-FFF2-40B4-BE49-F238E27FC236}">
                <a16:creationId xmlns:a16="http://schemas.microsoft.com/office/drawing/2014/main" id="{8C11656E-03F2-47CC-8B80-2E364003ED3A}"/>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1686150" y="2934718"/>
            <a:ext cx="1428750" cy="1428750"/>
          </a:xfrm>
          <a:prstGeom prst="rect">
            <a:avLst/>
          </a:prstGeom>
        </p:spPr>
      </p:pic>
    </p:spTree>
    <p:extLst>
      <p:ext uri="{BB962C8B-B14F-4D97-AF65-F5344CB8AC3E}">
        <p14:creationId xmlns:p14="http://schemas.microsoft.com/office/powerpoint/2010/main" val="3429128477"/>
      </p:ext>
    </p:extLst>
  </p:cSld>
  <p:clrMapOvr>
    <a:masterClrMapping/>
  </p:clrMapOvr>
  <p:transition spd="med">
    <p:wipe dir="r"/>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B5086-BB20-41DD-A145-1AF442DC95A9}"/>
              </a:ext>
            </a:extLst>
          </p:cNvPr>
          <p:cNvSpPr>
            <a:spLocks noGrp="1"/>
          </p:cNvSpPr>
          <p:nvPr>
            <p:ph type="title"/>
          </p:nvPr>
        </p:nvSpPr>
        <p:spPr>
          <a:xfrm>
            <a:off x="0" y="22860"/>
            <a:ext cx="4295219" cy="640080"/>
          </a:xfrm>
        </p:spPr>
        <p:txBody>
          <a:bodyPr/>
          <a:lstStyle/>
          <a:p>
            <a:r>
              <a:rPr lang="en-US" dirty="0"/>
              <a:t>Probability Line</a:t>
            </a:r>
          </a:p>
        </p:txBody>
      </p:sp>
      <p:pic>
        <p:nvPicPr>
          <p:cNvPr id="5" name="Content Placeholder 4">
            <a:extLst>
              <a:ext uri="{FF2B5EF4-FFF2-40B4-BE49-F238E27FC236}">
                <a16:creationId xmlns:a16="http://schemas.microsoft.com/office/drawing/2014/main" id="{ACB318F2-CE07-4621-BEC5-E2E661CF3436}"/>
              </a:ext>
            </a:extLst>
          </p:cNvPr>
          <p:cNvPicPr>
            <a:picLocks noGrp="1" noChangeAspect="1"/>
          </p:cNvPicPr>
          <p:nvPr>
            <p:ph sz="half" idx="13"/>
          </p:nvPr>
        </p:nvPicPr>
        <p:blipFill>
          <a:blip r:embed="rId2"/>
          <a:stretch>
            <a:fillRect/>
          </a:stretch>
        </p:blipFill>
        <p:spPr>
          <a:xfrm>
            <a:off x="1105452" y="2384342"/>
            <a:ext cx="5681518" cy="2208672"/>
          </a:xfrm>
        </p:spPr>
      </p:pic>
      <p:sp>
        <p:nvSpPr>
          <p:cNvPr id="7" name="TextBox 6">
            <a:extLst>
              <a:ext uri="{FF2B5EF4-FFF2-40B4-BE49-F238E27FC236}">
                <a16:creationId xmlns:a16="http://schemas.microsoft.com/office/drawing/2014/main" id="{05CF8509-6037-4CBA-8398-BA0579C00A57}"/>
              </a:ext>
            </a:extLst>
          </p:cNvPr>
          <p:cNvSpPr txBox="1"/>
          <p:nvPr/>
        </p:nvSpPr>
        <p:spPr>
          <a:xfrm>
            <a:off x="76782" y="662940"/>
            <a:ext cx="7859652" cy="1169551"/>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lumMod val="50000"/>
                    <a:lumOff val="50000"/>
                  </a:schemeClr>
                </a:solidFill>
              </a:rPr>
              <a:t>Probability is the chance that something will happen. It can be shown on a probability line</a:t>
            </a:r>
          </a:p>
          <a:p>
            <a:pPr>
              <a:spcBef>
                <a:spcPts val="0"/>
              </a:spcBef>
              <a:spcAft>
                <a:spcPts val="0"/>
              </a:spcAft>
              <a:buClr>
                <a:schemeClr val="bg1"/>
              </a:buClr>
            </a:pPr>
            <a:endParaRPr lang="en-US" sz="1400" dirty="0">
              <a:solidFill>
                <a:schemeClr val="bg2">
                  <a:lumMod val="50000"/>
                  <a:lumOff val="50000"/>
                </a:schemeClr>
              </a:solidFill>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lumMod val="50000"/>
                    <a:lumOff val="50000"/>
                  </a:schemeClr>
                </a:solidFill>
              </a:rPr>
              <a:t>Probability does not tell us exactly what will happen, it is just a guide</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lumMod val="50000"/>
                    <a:lumOff val="50000"/>
                  </a:schemeClr>
                </a:solidFill>
              </a:rPr>
              <a:t>Range of Probability : Between 0 and 1</a:t>
            </a:r>
          </a:p>
        </p:txBody>
      </p:sp>
    </p:spTree>
    <p:extLst>
      <p:ext uri="{BB962C8B-B14F-4D97-AF65-F5344CB8AC3E}">
        <p14:creationId xmlns:p14="http://schemas.microsoft.com/office/powerpoint/2010/main" val="1473195285"/>
      </p:ext>
    </p:extLst>
  </p:cSld>
  <p:clrMapOvr>
    <a:masterClrMapping/>
  </p:clrMapOvr>
  <p:transition spd="med">
    <p:wipe dir="r"/>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33BAEC-C6AA-4DAE-9256-FBDECF1BF0EE}"/>
              </a:ext>
            </a:extLst>
          </p:cNvPr>
          <p:cNvSpPr>
            <a:spLocks noGrp="1"/>
          </p:cNvSpPr>
          <p:nvPr>
            <p:ph type="title"/>
          </p:nvPr>
        </p:nvSpPr>
        <p:spPr>
          <a:xfrm>
            <a:off x="0" y="2286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FFAA7F65-22A8-4A3C-90D2-11A20B2B9B82}"/>
              </a:ext>
            </a:extLst>
          </p:cNvPr>
          <p:cNvSpPr>
            <a:spLocks noGrp="1"/>
          </p:cNvSpPr>
          <p:nvPr>
            <p:ph sz="half" idx="13"/>
          </p:nvPr>
        </p:nvSpPr>
        <p:spPr>
          <a:xfrm>
            <a:off x="160525" y="770609"/>
            <a:ext cx="8269387" cy="3200400"/>
          </a:xfrm>
        </p:spPr>
        <p:txBody>
          <a:bodyPr/>
          <a:lstStyle/>
          <a:p>
            <a:r>
              <a:rPr lang="en-US" b="1" dirty="0"/>
              <a:t>Experiment : </a:t>
            </a:r>
            <a:r>
              <a:rPr lang="en-US" b="0" i="0" dirty="0">
                <a:solidFill>
                  <a:srgbClr val="333333"/>
                </a:solidFill>
                <a:effectLst/>
                <a:latin typeface="Verdana" panose="020B0604030504040204" pitchFamily="34" charset="0"/>
              </a:rPr>
              <a:t>a repeatable procedure with a set of possible results.</a:t>
            </a:r>
          </a:p>
          <a:p>
            <a:r>
              <a:rPr lang="en-US" dirty="0">
                <a:solidFill>
                  <a:srgbClr val="333333"/>
                </a:solidFill>
                <a:latin typeface="Verdana" panose="020B0604030504040204" pitchFamily="34" charset="0"/>
              </a:rPr>
              <a:t>Ex : Throwing a dice</a:t>
            </a:r>
            <a:endParaRPr lang="en-US" dirty="0"/>
          </a:p>
        </p:txBody>
      </p:sp>
      <p:pic>
        <p:nvPicPr>
          <p:cNvPr id="4" name="Picture 3" descr="A close up of a dice&#10;&#10;Description automatically generated with medium confidence">
            <a:extLst>
              <a:ext uri="{FF2B5EF4-FFF2-40B4-BE49-F238E27FC236}">
                <a16:creationId xmlns:a16="http://schemas.microsoft.com/office/drawing/2014/main" id="{B4BB22FB-62A6-4A5D-81EC-A14BFEE56CC7}"/>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830462" y="2107563"/>
            <a:ext cx="2634293" cy="1971115"/>
          </a:xfrm>
          <a:prstGeom prst="rect">
            <a:avLst/>
          </a:prstGeom>
        </p:spPr>
      </p:pic>
    </p:spTree>
    <p:extLst>
      <p:ext uri="{BB962C8B-B14F-4D97-AF65-F5344CB8AC3E}">
        <p14:creationId xmlns:p14="http://schemas.microsoft.com/office/powerpoint/2010/main" val="1315040994"/>
      </p:ext>
    </p:extLst>
  </p:cSld>
  <p:clrMapOvr>
    <a:masterClrMapping/>
  </p:clrMapOvr>
  <p:transition spd="med">
    <p:wipe dir="r"/>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965611-A63B-47E6-8CEF-CD66AE7C7D30}"/>
              </a:ext>
            </a:extLst>
          </p:cNvPr>
          <p:cNvSpPr>
            <a:spLocks noGrp="1"/>
          </p:cNvSpPr>
          <p:nvPr>
            <p:ph type="title"/>
          </p:nvPr>
        </p:nvSpPr>
        <p:spPr>
          <a:xfrm>
            <a:off x="0" y="2286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6D34550C-3232-4CA6-BCC9-0C77271244F4}"/>
              </a:ext>
            </a:extLst>
          </p:cNvPr>
          <p:cNvSpPr>
            <a:spLocks noGrp="1"/>
          </p:cNvSpPr>
          <p:nvPr>
            <p:ph sz="half" idx="13"/>
          </p:nvPr>
        </p:nvSpPr>
        <p:spPr>
          <a:xfrm>
            <a:off x="78876" y="791549"/>
            <a:ext cx="7145582" cy="3200400"/>
          </a:xfrm>
        </p:spPr>
        <p:txBody>
          <a:bodyPr/>
          <a:lstStyle/>
          <a:p>
            <a:r>
              <a:rPr lang="en-US" b="1" dirty="0"/>
              <a:t>Outcome : </a:t>
            </a:r>
            <a:r>
              <a:rPr lang="en-US" b="0" i="0" dirty="0">
                <a:solidFill>
                  <a:srgbClr val="333333"/>
                </a:solidFill>
                <a:effectLst/>
                <a:latin typeface="Verdana" panose="020B0604030504040204" pitchFamily="34" charset="0"/>
              </a:rPr>
              <a:t>A possible result of an experiment.</a:t>
            </a:r>
          </a:p>
          <a:p>
            <a:r>
              <a:rPr lang="en-US" dirty="0">
                <a:solidFill>
                  <a:srgbClr val="333333"/>
                </a:solidFill>
                <a:latin typeface="Verdana" panose="020B0604030504040204" pitchFamily="34" charset="0"/>
              </a:rPr>
              <a:t>Ex : Getting a 6</a:t>
            </a:r>
            <a:endParaRPr lang="en-US" dirty="0"/>
          </a:p>
        </p:txBody>
      </p:sp>
      <p:pic>
        <p:nvPicPr>
          <p:cNvPr id="4" name="Picture 3" descr="A close up of a dice&#10;&#10;Description automatically generated with medium confidence">
            <a:extLst>
              <a:ext uri="{FF2B5EF4-FFF2-40B4-BE49-F238E27FC236}">
                <a16:creationId xmlns:a16="http://schemas.microsoft.com/office/drawing/2014/main" id="{F51748E5-DF80-48C6-9067-FE2BF74E9498}"/>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772410" y="1695734"/>
            <a:ext cx="2634293" cy="1971115"/>
          </a:xfrm>
          <a:prstGeom prst="rect">
            <a:avLst/>
          </a:prstGeom>
        </p:spPr>
      </p:pic>
    </p:spTree>
    <p:extLst>
      <p:ext uri="{BB962C8B-B14F-4D97-AF65-F5344CB8AC3E}">
        <p14:creationId xmlns:p14="http://schemas.microsoft.com/office/powerpoint/2010/main" val="4073158111"/>
      </p:ext>
    </p:extLst>
  </p:cSld>
  <p:clrMapOvr>
    <a:masterClrMapping/>
  </p:clrMapOvr>
  <p:transition spd="med">
    <p:wipe dir="r"/>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4F1E7-9A94-4879-97D7-7A8013D8B905}"/>
              </a:ext>
            </a:extLst>
          </p:cNvPr>
          <p:cNvSpPr>
            <a:spLocks noGrp="1"/>
          </p:cNvSpPr>
          <p:nvPr>
            <p:ph type="title"/>
          </p:nvPr>
        </p:nvSpPr>
        <p:spPr>
          <a:xfrm>
            <a:off x="0" y="2286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1A0EDEF0-1655-4751-97B5-A92270149DFC}"/>
              </a:ext>
            </a:extLst>
          </p:cNvPr>
          <p:cNvSpPr>
            <a:spLocks noGrp="1"/>
          </p:cNvSpPr>
          <p:nvPr>
            <p:ph sz="half" idx="13"/>
          </p:nvPr>
        </p:nvSpPr>
        <p:spPr>
          <a:xfrm>
            <a:off x="83744" y="749668"/>
            <a:ext cx="8422950" cy="3200400"/>
          </a:xfrm>
        </p:spPr>
        <p:txBody>
          <a:bodyPr/>
          <a:lstStyle/>
          <a:p>
            <a:r>
              <a:rPr lang="en-US" b="1" i="0" dirty="0">
                <a:solidFill>
                  <a:srgbClr val="333333"/>
                </a:solidFill>
                <a:effectLst/>
                <a:latin typeface="Verdana" panose="020B0604030504040204" pitchFamily="34" charset="0"/>
              </a:rPr>
              <a:t>Sample Space:</a:t>
            </a:r>
            <a:r>
              <a:rPr lang="en-US" b="0" i="0" dirty="0">
                <a:solidFill>
                  <a:srgbClr val="333333"/>
                </a:solidFill>
                <a:effectLst/>
                <a:latin typeface="Verdana" panose="020B0604030504040204" pitchFamily="34" charset="0"/>
              </a:rPr>
              <a:t> all the possible outcomes of an experiment.</a:t>
            </a:r>
          </a:p>
          <a:p>
            <a:r>
              <a:rPr lang="en-US" dirty="0">
                <a:solidFill>
                  <a:srgbClr val="333333"/>
                </a:solidFill>
                <a:latin typeface="Verdana" panose="020B0604030504040204" pitchFamily="34" charset="0"/>
              </a:rPr>
              <a:t>Ex : choosing a card from a deck</a:t>
            </a:r>
            <a:endParaRPr lang="en-US" dirty="0"/>
          </a:p>
        </p:txBody>
      </p:sp>
      <p:pic>
        <p:nvPicPr>
          <p:cNvPr id="7" name="Picture 6">
            <a:extLst>
              <a:ext uri="{FF2B5EF4-FFF2-40B4-BE49-F238E27FC236}">
                <a16:creationId xmlns:a16="http://schemas.microsoft.com/office/drawing/2014/main" id="{314346DD-1DA0-45D8-A3F2-C4703B7CFA47}"/>
              </a:ext>
            </a:extLst>
          </p:cNvPr>
          <p:cNvPicPr>
            <a:picLocks noChangeAspect="1"/>
          </p:cNvPicPr>
          <p:nvPr/>
        </p:nvPicPr>
        <p:blipFill>
          <a:blip r:embed="rId2"/>
          <a:stretch>
            <a:fillRect/>
          </a:stretch>
        </p:blipFill>
        <p:spPr>
          <a:xfrm>
            <a:off x="5479420" y="1453909"/>
            <a:ext cx="3490076" cy="2582887"/>
          </a:xfrm>
          <a:prstGeom prst="rect">
            <a:avLst/>
          </a:prstGeom>
        </p:spPr>
      </p:pic>
    </p:spTree>
    <p:extLst>
      <p:ext uri="{BB962C8B-B14F-4D97-AF65-F5344CB8AC3E}">
        <p14:creationId xmlns:p14="http://schemas.microsoft.com/office/powerpoint/2010/main" val="2829562172"/>
      </p:ext>
    </p:extLst>
  </p:cSld>
  <p:clrMapOvr>
    <a:masterClrMapping/>
  </p:clrMapOvr>
  <p:transition spd="med">
    <p:wipe dir="r"/>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8137BA-BF16-422D-8941-6AE0A4714DB0}"/>
              </a:ext>
            </a:extLst>
          </p:cNvPr>
          <p:cNvSpPr>
            <a:spLocks noGrp="1"/>
          </p:cNvSpPr>
          <p:nvPr>
            <p:ph type="title"/>
          </p:nvPr>
        </p:nvSpPr>
        <p:spPr>
          <a:xfrm>
            <a:off x="0" y="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4C7E0A7D-2472-441B-B8F0-89DA756599F4}"/>
              </a:ext>
            </a:extLst>
          </p:cNvPr>
          <p:cNvSpPr>
            <a:spLocks noGrp="1"/>
          </p:cNvSpPr>
          <p:nvPr>
            <p:ph sz="half" idx="13"/>
          </p:nvPr>
        </p:nvSpPr>
        <p:spPr>
          <a:xfrm>
            <a:off x="64915" y="640080"/>
            <a:ext cx="8164685" cy="3200400"/>
          </a:xfrm>
        </p:spPr>
        <p:txBody>
          <a:bodyPr/>
          <a:lstStyle/>
          <a:p>
            <a:r>
              <a:rPr lang="en-US" b="1" i="0" dirty="0">
                <a:solidFill>
                  <a:srgbClr val="333333"/>
                </a:solidFill>
                <a:effectLst/>
                <a:latin typeface="Verdana" panose="020B0604030504040204" pitchFamily="34" charset="0"/>
              </a:rPr>
              <a:t>Sample Point:</a:t>
            </a:r>
            <a:r>
              <a:rPr lang="en-US" b="0" i="0" dirty="0">
                <a:solidFill>
                  <a:srgbClr val="333333"/>
                </a:solidFill>
                <a:effectLst/>
                <a:latin typeface="Verdana" panose="020B0604030504040204" pitchFamily="34" charset="0"/>
              </a:rPr>
              <a:t> just one of the possible outcomes</a:t>
            </a:r>
          </a:p>
          <a:p>
            <a:endParaRPr lang="en-US" b="0" i="0" dirty="0">
              <a:solidFill>
                <a:srgbClr val="333333"/>
              </a:solidFill>
              <a:effectLst/>
              <a:latin typeface="Verdana" panose="020B0604030504040204" pitchFamily="34" charset="0"/>
            </a:endParaRPr>
          </a:p>
          <a:p>
            <a:pPr marL="0" indent="0">
              <a:buNone/>
            </a:pPr>
            <a:r>
              <a:rPr lang="en-US" b="1" dirty="0">
                <a:solidFill>
                  <a:srgbClr val="333333"/>
                </a:solidFill>
                <a:latin typeface="Verdana" panose="020B0604030504040204" pitchFamily="34" charset="0"/>
              </a:rPr>
              <a:t>Ex : Deck of Cards</a:t>
            </a:r>
          </a:p>
          <a:p>
            <a:pPr lvl="1">
              <a:buFont typeface="Arial" panose="020B0604020202020204" pitchFamily="34" charset="0"/>
              <a:buChar char="•"/>
            </a:pPr>
            <a:r>
              <a:rPr lang="en-US" sz="1400" dirty="0">
                <a:solidFill>
                  <a:srgbClr val="333333"/>
                </a:solidFill>
                <a:latin typeface="Verdana" panose="020B0604030504040204" pitchFamily="34" charset="0"/>
              </a:rPr>
              <a:t>the 5 of Clubs is a sample point</a:t>
            </a:r>
          </a:p>
          <a:p>
            <a:pPr lvl="1">
              <a:buFont typeface="Arial" panose="020B0604020202020204" pitchFamily="34" charset="0"/>
              <a:buChar char="•"/>
            </a:pPr>
            <a:r>
              <a:rPr lang="en-US" sz="1400" dirty="0">
                <a:solidFill>
                  <a:srgbClr val="333333"/>
                </a:solidFill>
                <a:latin typeface="Verdana" panose="020B0604030504040204" pitchFamily="34" charset="0"/>
              </a:rPr>
              <a:t>the King of Hearts is a sample point</a:t>
            </a:r>
          </a:p>
          <a:p>
            <a:pPr lvl="1">
              <a:buFont typeface="Arial" panose="020B0604020202020204" pitchFamily="34" charset="0"/>
              <a:buChar char="•"/>
            </a:pPr>
            <a:r>
              <a:rPr lang="en-US" dirty="0">
                <a:solidFill>
                  <a:srgbClr val="333333"/>
                </a:solidFill>
                <a:latin typeface="Verdana" panose="020B0604030504040204" pitchFamily="34" charset="0"/>
              </a:rPr>
              <a:t>"King" is not a sample point. There are 4 Kings, so that is 4 different sample points.3</a:t>
            </a:r>
          </a:p>
          <a:p>
            <a:pPr marL="0" indent="0" algn="l">
              <a:buNone/>
            </a:pPr>
            <a:endParaRPr lang="en-US" dirty="0">
              <a:solidFill>
                <a:srgbClr val="333333"/>
              </a:solidFill>
              <a:latin typeface="Verdana" panose="020B0604030504040204" pitchFamily="34" charset="0"/>
            </a:endParaRPr>
          </a:p>
          <a:p>
            <a:pPr marL="0" indent="0">
              <a:buNone/>
            </a:pPr>
            <a:r>
              <a:rPr lang="en-US" b="1" dirty="0">
                <a:solidFill>
                  <a:srgbClr val="333333"/>
                </a:solidFill>
                <a:latin typeface="Verdana" panose="020B0604030504040204" pitchFamily="34" charset="0"/>
              </a:rPr>
              <a:t>Ex : Throwing a dice</a:t>
            </a:r>
          </a:p>
          <a:p>
            <a:pPr marL="0" indent="0">
              <a:buNone/>
            </a:pPr>
            <a:r>
              <a:rPr lang="en-US" dirty="0">
                <a:solidFill>
                  <a:srgbClr val="333333"/>
                </a:solidFill>
                <a:latin typeface="Verdana" panose="020B0604030504040204" pitchFamily="34" charset="0"/>
              </a:rPr>
              <a:t>There are 6 different sample points in the sample space.</a:t>
            </a:r>
          </a:p>
        </p:txBody>
      </p:sp>
      <p:pic>
        <p:nvPicPr>
          <p:cNvPr id="5" name="Picture 4">
            <a:extLst>
              <a:ext uri="{FF2B5EF4-FFF2-40B4-BE49-F238E27FC236}">
                <a16:creationId xmlns:a16="http://schemas.microsoft.com/office/drawing/2014/main" id="{590E487C-0915-4FFC-8400-CE05A8362E94}"/>
              </a:ext>
            </a:extLst>
          </p:cNvPr>
          <p:cNvPicPr>
            <a:picLocks noChangeAspect="1"/>
          </p:cNvPicPr>
          <p:nvPr/>
        </p:nvPicPr>
        <p:blipFill>
          <a:blip r:embed="rId2"/>
          <a:stretch>
            <a:fillRect/>
          </a:stretch>
        </p:blipFill>
        <p:spPr>
          <a:xfrm>
            <a:off x="2805621" y="3666527"/>
            <a:ext cx="2338752" cy="1143644"/>
          </a:xfrm>
          <a:prstGeom prst="rect">
            <a:avLst/>
          </a:prstGeom>
        </p:spPr>
      </p:pic>
    </p:spTree>
    <p:extLst>
      <p:ext uri="{BB962C8B-B14F-4D97-AF65-F5344CB8AC3E}">
        <p14:creationId xmlns:p14="http://schemas.microsoft.com/office/powerpoint/2010/main" val="1035050059"/>
      </p:ext>
    </p:extLst>
  </p:cSld>
  <p:clrMapOvr>
    <a:masterClrMapping/>
  </p:clrMapOvr>
  <p:transition spd="med">
    <p:wipe dir="r"/>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D5C09-F52C-461C-B60C-A89B0B1C7754}"/>
              </a:ext>
            </a:extLst>
          </p:cNvPr>
          <p:cNvSpPr>
            <a:spLocks noGrp="1"/>
          </p:cNvSpPr>
          <p:nvPr>
            <p:ph type="title"/>
          </p:nvPr>
        </p:nvSpPr>
        <p:spPr>
          <a:xfrm>
            <a:off x="0" y="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A6526305-67A1-4B4D-8A20-D0804E209C5F}"/>
              </a:ext>
            </a:extLst>
          </p:cNvPr>
          <p:cNvSpPr>
            <a:spLocks noGrp="1"/>
          </p:cNvSpPr>
          <p:nvPr>
            <p:ph sz="half" idx="13"/>
          </p:nvPr>
        </p:nvSpPr>
        <p:spPr>
          <a:xfrm>
            <a:off x="137160" y="798529"/>
            <a:ext cx="8869680" cy="3200400"/>
          </a:xfrm>
        </p:spPr>
        <p:txBody>
          <a:bodyPr>
            <a:normAutofit/>
          </a:bodyPr>
          <a:lstStyle/>
          <a:p>
            <a:r>
              <a:rPr lang="en-US" b="1" i="0" dirty="0">
                <a:solidFill>
                  <a:srgbClr val="333333"/>
                </a:solidFill>
                <a:effectLst/>
                <a:latin typeface="Verdana" panose="020B0604030504040204" pitchFamily="34" charset="0"/>
              </a:rPr>
              <a:t>Event:</a:t>
            </a:r>
            <a:r>
              <a:rPr lang="en-US" b="0" i="0" dirty="0">
                <a:solidFill>
                  <a:srgbClr val="333333"/>
                </a:solidFill>
                <a:effectLst/>
                <a:latin typeface="Verdana" panose="020B0604030504040204" pitchFamily="34" charset="0"/>
              </a:rPr>
              <a:t> one </a:t>
            </a:r>
            <a:r>
              <a:rPr lang="en-US" b="1" i="0" dirty="0">
                <a:solidFill>
                  <a:srgbClr val="333333"/>
                </a:solidFill>
                <a:effectLst/>
                <a:latin typeface="Verdana" panose="020B0604030504040204" pitchFamily="34" charset="0"/>
              </a:rPr>
              <a:t>or more</a:t>
            </a:r>
            <a:r>
              <a:rPr lang="en-US" b="0" i="0" dirty="0">
                <a:solidFill>
                  <a:srgbClr val="333333"/>
                </a:solidFill>
                <a:effectLst/>
                <a:latin typeface="Verdana" panose="020B0604030504040204" pitchFamily="34" charset="0"/>
              </a:rPr>
              <a:t> outcomes of an experiment</a:t>
            </a:r>
          </a:p>
          <a:p>
            <a:r>
              <a:rPr lang="en-US" dirty="0"/>
              <a:t>Example Events:</a:t>
            </a:r>
          </a:p>
          <a:p>
            <a:pPr lvl="1"/>
            <a:r>
              <a:rPr lang="en-US" dirty="0"/>
              <a:t>An event can be just one outcome:</a:t>
            </a:r>
          </a:p>
        </p:txBody>
      </p:sp>
    </p:spTree>
    <p:extLst>
      <p:ext uri="{BB962C8B-B14F-4D97-AF65-F5344CB8AC3E}">
        <p14:creationId xmlns:p14="http://schemas.microsoft.com/office/powerpoint/2010/main" val="3707714688"/>
      </p:ext>
    </p:extLst>
  </p:cSld>
  <p:clrMapOvr>
    <a:masterClrMapping/>
  </p:clrMapOvr>
  <p:transition spd="med">
    <p:wipe dir="r"/>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BF548-4820-4ED8-BE4E-E946B39FF719}"/>
              </a:ext>
            </a:extLst>
          </p:cNvPr>
          <p:cNvSpPr>
            <a:spLocks noGrp="1"/>
          </p:cNvSpPr>
          <p:nvPr>
            <p:ph type="title"/>
          </p:nvPr>
        </p:nvSpPr>
        <p:spPr>
          <a:xfrm>
            <a:off x="0" y="22860"/>
            <a:ext cx="6560519" cy="640080"/>
          </a:xfrm>
        </p:spPr>
        <p:txBody>
          <a:bodyPr/>
          <a:lstStyle/>
          <a:p>
            <a:r>
              <a:rPr lang="en-US" dirty="0"/>
              <a:t>Probability – </a:t>
            </a:r>
            <a:r>
              <a:rPr lang="en-US" dirty="0">
                <a:solidFill>
                  <a:schemeClr val="bg2">
                    <a:lumMod val="50000"/>
                    <a:lumOff val="50000"/>
                  </a:schemeClr>
                </a:solidFill>
              </a:rPr>
              <a:t>Let’s use the words</a:t>
            </a:r>
          </a:p>
        </p:txBody>
      </p:sp>
      <p:sp>
        <p:nvSpPr>
          <p:cNvPr id="3" name="Content Placeholder 2">
            <a:extLst>
              <a:ext uri="{FF2B5EF4-FFF2-40B4-BE49-F238E27FC236}">
                <a16:creationId xmlns:a16="http://schemas.microsoft.com/office/drawing/2014/main" id="{C2052F85-B5EB-40E8-BC7B-31955E33B4C8}"/>
              </a:ext>
            </a:extLst>
          </p:cNvPr>
          <p:cNvSpPr>
            <a:spLocks noGrp="1"/>
          </p:cNvSpPr>
          <p:nvPr>
            <p:ph sz="half" idx="13"/>
          </p:nvPr>
        </p:nvSpPr>
        <p:spPr>
          <a:xfrm>
            <a:off x="64915" y="826450"/>
            <a:ext cx="8590474" cy="1058191"/>
          </a:xfrm>
        </p:spPr>
        <p:txBody>
          <a:bodyPr/>
          <a:lstStyle/>
          <a:p>
            <a:r>
              <a:rPr lang="en-US" b="0" i="0" dirty="0">
                <a:solidFill>
                  <a:srgbClr val="333333"/>
                </a:solidFill>
                <a:effectLst/>
                <a:latin typeface="Verdana" panose="020B0604030504040204" pitchFamily="34" charset="0"/>
              </a:rPr>
              <a:t>Example: Alex wants to see how many times a "double" comes up when throwing 2 dice.</a:t>
            </a:r>
          </a:p>
          <a:p>
            <a:pPr algn="l"/>
            <a:r>
              <a:rPr lang="en-US" b="0" i="0" dirty="0">
                <a:solidFill>
                  <a:srgbClr val="333333"/>
                </a:solidFill>
                <a:effectLst/>
                <a:latin typeface="Verdana" panose="020B0604030504040204" pitchFamily="34" charset="0"/>
              </a:rPr>
              <a:t>The </a:t>
            </a:r>
            <a:r>
              <a:rPr lang="en-US" b="1" i="0" dirty="0">
                <a:solidFill>
                  <a:srgbClr val="333333"/>
                </a:solidFill>
                <a:effectLst/>
                <a:latin typeface="Verdana" panose="020B0604030504040204" pitchFamily="34" charset="0"/>
              </a:rPr>
              <a:t>Sample Space</a:t>
            </a:r>
            <a:r>
              <a:rPr lang="en-US" b="0" i="0" dirty="0">
                <a:solidFill>
                  <a:srgbClr val="333333"/>
                </a:solidFill>
                <a:effectLst/>
                <a:latin typeface="Verdana" panose="020B0604030504040204" pitchFamily="34" charset="0"/>
              </a:rPr>
              <a:t> is all possible </a:t>
            </a:r>
            <a:r>
              <a:rPr lang="en-US" b="1" i="0" dirty="0">
                <a:solidFill>
                  <a:srgbClr val="333333"/>
                </a:solidFill>
                <a:effectLst/>
                <a:latin typeface="Verdana" panose="020B0604030504040204" pitchFamily="34" charset="0"/>
              </a:rPr>
              <a:t>Outcomes</a:t>
            </a:r>
            <a:r>
              <a:rPr lang="en-US" b="0" i="0" dirty="0">
                <a:solidFill>
                  <a:srgbClr val="333333"/>
                </a:solidFill>
                <a:effectLst/>
                <a:latin typeface="Verdana" panose="020B0604030504040204" pitchFamily="34" charset="0"/>
              </a:rPr>
              <a:t> (36 Sample Points):</a:t>
            </a:r>
          </a:p>
          <a:p>
            <a:pPr algn="ctr"/>
            <a:r>
              <a:rPr lang="en-US" b="0" i="0" dirty="0">
                <a:solidFill>
                  <a:srgbClr val="333333"/>
                </a:solidFill>
                <a:effectLst/>
                <a:latin typeface="Verdana" panose="020B0604030504040204" pitchFamily="34" charset="0"/>
              </a:rPr>
              <a:t>{1,1} {1,2} {1,3} {1,4} ... {6,3} {6,4} {6,5} {6,6}</a:t>
            </a:r>
          </a:p>
          <a:p>
            <a:pPr marL="0" indent="0" algn="ctr">
              <a:buNone/>
            </a:pPr>
            <a:endParaRPr lang="en-US" dirty="0">
              <a:solidFill>
                <a:srgbClr val="333333"/>
              </a:solidFill>
              <a:latin typeface="Verdana" panose="020B0604030504040204" pitchFamily="34" charset="0"/>
            </a:endParaRPr>
          </a:p>
          <a:p>
            <a:pPr algn="ctr"/>
            <a:endParaRPr lang="en-US" b="0" i="0" dirty="0">
              <a:solidFill>
                <a:srgbClr val="333333"/>
              </a:solidFill>
              <a:effectLst/>
              <a:latin typeface="Verdana" panose="020B0604030504040204" pitchFamily="34" charset="0"/>
            </a:endParaRPr>
          </a:p>
          <a:p>
            <a:pPr algn="ctr"/>
            <a:endParaRPr lang="en-US" b="0" i="0" dirty="0">
              <a:solidFill>
                <a:srgbClr val="333333"/>
              </a:solidFill>
              <a:effectLst/>
              <a:latin typeface="Verdana" panose="020B0604030504040204" pitchFamily="34" charset="0"/>
            </a:endParaRPr>
          </a:p>
          <a:p>
            <a:endParaRPr lang="en-US" dirty="0"/>
          </a:p>
        </p:txBody>
      </p:sp>
      <p:pic>
        <p:nvPicPr>
          <p:cNvPr id="7" name="Picture 6">
            <a:extLst>
              <a:ext uri="{FF2B5EF4-FFF2-40B4-BE49-F238E27FC236}">
                <a16:creationId xmlns:a16="http://schemas.microsoft.com/office/drawing/2014/main" id="{010950B7-163A-4CF8-9365-717E34D03FB2}"/>
              </a:ext>
            </a:extLst>
          </p:cNvPr>
          <p:cNvPicPr>
            <a:picLocks noChangeAspect="1"/>
          </p:cNvPicPr>
          <p:nvPr/>
        </p:nvPicPr>
        <p:blipFill>
          <a:blip r:embed="rId2"/>
          <a:stretch>
            <a:fillRect/>
          </a:stretch>
        </p:blipFill>
        <p:spPr>
          <a:xfrm>
            <a:off x="6372551" y="1947324"/>
            <a:ext cx="2638825" cy="1561475"/>
          </a:xfrm>
          <a:prstGeom prst="rect">
            <a:avLst/>
          </a:prstGeom>
        </p:spPr>
      </p:pic>
      <p:sp>
        <p:nvSpPr>
          <p:cNvPr id="8" name="TextBox 7">
            <a:extLst>
              <a:ext uri="{FF2B5EF4-FFF2-40B4-BE49-F238E27FC236}">
                <a16:creationId xmlns:a16="http://schemas.microsoft.com/office/drawing/2014/main" id="{593CF9C8-9783-4446-A95B-D1798AE0AA9D}"/>
              </a:ext>
            </a:extLst>
          </p:cNvPr>
          <p:cNvSpPr txBox="1"/>
          <p:nvPr/>
        </p:nvSpPr>
        <p:spPr>
          <a:xfrm>
            <a:off x="104702" y="2038205"/>
            <a:ext cx="6170455" cy="892552"/>
          </a:xfrm>
          <a:prstGeom prst="rect">
            <a:avLst/>
          </a:prstGeom>
          <a:noFill/>
        </p:spPr>
        <p:txBody>
          <a:bodyPr wrap="square" rtlCol="0">
            <a:spAutoFit/>
          </a:bodyPr>
          <a:lstStyle/>
          <a:p>
            <a:pPr marL="228600" indent="-228600">
              <a:spcBef>
                <a:spcPts val="1200"/>
              </a:spcBef>
              <a:spcAft>
                <a:spcPts val="0"/>
              </a:spcAft>
              <a:buClr>
                <a:srgbClr val="AAAAAA"/>
              </a:buClr>
              <a:buFont typeface="Arial" pitchFamily="34" charset="0"/>
              <a:buChar char="•"/>
            </a:pPr>
            <a:r>
              <a:rPr lang="en-US" sz="1400" dirty="0">
                <a:solidFill>
                  <a:srgbClr val="333333"/>
                </a:solidFill>
                <a:latin typeface="Verdana" panose="020B0604030504040204" pitchFamily="34" charset="0"/>
                <a:cs typeface="Arial" panose="020B0604020202020204" pitchFamily="34" charset="0"/>
              </a:rPr>
              <a:t>The Event Alex is looking for is a "double", where both dice have the same number. It is made up of these 6 Sample Points:</a:t>
            </a:r>
          </a:p>
          <a:p>
            <a:pPr marL="1600200" lvl="3" indent="-228600">
              <a:spcBef>
                <a:spcPts val="1200"/>
              </a:spcBef>
              <a:spcAft>
                <a:spcPts val="0"/>
              </a:spcAft>
              <a:buClr>
                <a:srgbClr val="AAAAAA"/>
              </a:buClr>
              <a:buFont typeface="Arial" pitchFamily="34" charset="0"/>
              <a:buChar char="•"/>
            </a:pPr>
            <a:r>
              <a:rPr lang="en-US" sz="1400" dirty="0">
                <a:solidFill>
                  <a:srgbClr val="333333"/>
                </a:solidFill>
                <a:latin typeface="Verdana" panose="020B0604030504040204" pitchFamily="34" charset="0"/>
                <a:cs typeface="Arial" panose="020B0604020202020204" pitchFamily="34" charset="0"/>
              </a:rPr>
              <a:t>{1,1} {2,2} {3,3} {4,4} {5,5} and {6,6}</a:t>
            </a:r>
          </a:p>
        </p:txBody>
      </p:sp>
      <p:pic>
        <p:nvPicPr>
          <p:cNvPr id="10" name="Picture 9">
            <a:extLst>
              <a:ext uri="{FF2B5EF4-FFF2-40B4-BE49-F238E27FC236}">
                <a16:creationId xmlns:a16="http://schemas.microsoft.com/office/drawing/2014/main" id="{D27E8F84-1492-48D3-A72C-C55AB9766896}"/>
              </a:ext>
            </a:extLst>
          </p:cNvPr>
          <p:cNvPicPr>
            <a:picLocks noChangeAspect="1"/>
          </p:cNvPicPr>
          <p:nvPr/>
        </p:nvPicPr>
        <p:blipFill>
          <a:blip r:embed="rId3"/>
          <a:stretch>
            <a:fillRect/>
          </a:stretch>
        </p:blipFill>
        <p:spPr>
          <a:xfrm>
            <a:off x="3280818" y="3154478"/>
            <a:ext cx="1842614" cy="1923906"/>
          </a:xfrm>
          <a:prstGeom prst="rect">
            <a:avLst/>
          </a:prstGeom>
        </p:spPr>
      </p:pic>
      <p:sp>
        <p:nvSpPr>
          <p:cNvPr id="11" name="TextBox 10">
            <a:extLst>
              <a:ext uri="{FF2B5EF4-FFF2-40B4-BE49-F238E27FC236}">
                <a16:creationId xmlns:a16="http://schemas.microsoft.com/office/drawing/2014/main" id="{4997F32A-66F2-4762-AF10-F27AF77B4AF8}"/>
              </a:ext>
            </a:extLst>
          </p:cNvPr>
          <p:cNvSpPr txBox="1"/>
          <p:nvPr/>
        </p:nvSpPr>
        <p:spPr>
          <a:xfrm>
            <a:off x="132624" y="3441215"/>
            <a:ext cx="2554735"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ese are the results: </a:t>
            </a:r>
          </a:p>
        </p:txBody>
      </p:sp>
    </p:spTree>
    <p:extLst>
      <p:ext uri="{BB962C8B-B14F-4D97-AF65-F5344CB8AC3E}">
        <p14:creationId xmlns:p14="http://schemas.microsoft.com/office/powerpoint/2010/main" val="1334183108"/>
      </p:ext>
    </p:extLst>
  </p:cSld>
  <p:clrMapOvr>
    <a:masterClrMapping/>
  </p:clrMapOvr>
  <p:transition spd="med">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A5C4F0-02D4-4D34-9B21-249283527E45}"/>
              </a:ext>
            </a:extLst>
          </p:cNvPr>
          <p:cNvSpPr>
            <a:spLocks noGrp="1"/>
          </p:cNvSpPr>
          <p:nvPr>
            <p:ph type="title"/>
          </p:nvPr>
        </p:nvSpPr>
        <p:spPr>
          <a:xfrm>
            <a:off x="0" y="22860"/>
            <a:ext cx="7955280" cy="640080"/>
          </a:xfrm>
        </p:spPr>
        <p:txBody>
          <a:bodyPr/>
          <a:lstStyle/>
          <a:p>
            <a:r>
              <a:rPr lang="en-US" b="1" dirty="0">
                <a:solidFill>
                  <a:schemeClr val="accent1"/>
                </a:solidFill>
              </a:rPr>
              <a:t>Bias in sampling :</a:t>
            </a:r>
            <a:br>
              <a:rPr lang="en-US" b="1" dirty="0">
                <a:solidFill>
                  <a:schemeClr val="accent1"/>
                </a:solidFill>
              </a:rPr>
            </a:br>
            <a:endParaRPr lang="en-US" dirty="0"/>
          </a:p>
        </p:txBody>
      </p:sp>
      <p:sp>
        <p:nvSpPr>
          <p:cNvPr id="3" name="Content Placeholder 2">
            <a:extLst>
              <a:ext uri="{FF2B5EF4-FFF2-40B4-BE49-F238E27FC236}">
                <a16:creationId xmlns:a16="http://schemas.microsoft.com/office/drawing/2014/main" id="{AC6D725B-4977-4966-9898-81C64E843334}"/>
              </a:ext>
            </a:extLst>
          </p:cNvPr>
          <p:cNvSpPr>
            <a:spLocks noGrp="1"/>
          </p:cNvSpPr>
          <p:nvPr>
            <p:ph sz="half" idx="1"/>
          </p:nvPr>
        </p:nvSpPr>
        <p:spPr>
          <a:xfrm>
            <a:off x="30893" y="523337"/>
            <a:ext cx="8603555" cy="4096826"/>
          </a:xfrm>
        </p:spPr>
        <p:txBody>
          <a:bodyPr>
            <a:normAutofit/>
          </a:bodyPr>
          <a:lstStyle/>
          <a:p>
            <a:pPr marL="0" indent="0">
              <a:buNone/>
            </a:pPr>
            <a:r>
              <a:rPr lang="en-US" sz="1200" dirty="0">
                <a:solidFill>
                  <a:schemeClr val="bg2">
                    <a:lumMod val="50000"/>
                    <a:lumOff val="50000"/>
                  </a:schemeClr>
                </a:solidFill>
              </a:rPr>
              <a:t>There are five important potential sources of bias that should be considered when selecting a sample, irrespective of the method used. Sampling bias may be introduced when:</a:t>
            </a:r>
          </a:p>
          <a:p>
            <a:r>
              <a:rPr lang="en-US" sz="1200" dirty="0">
                <a:solidFill>
                  <a:schemeClr val="bg2">
                    <a:lumMod val="50000"/>
                    <a:lumOff val="50000"/>
                  </a:schemeClr>
                </a:solidFill>
              </a:rPr>
              <a:t>Any pre-agreed sampling rules are deviated from</a:t>
            </a:r>
          </a:p>
          <a:p>
            <a:r>
              <a:rPr lang="en-US" sz="1200" dirty="0">
                <a:solidFill>
                  <a:schemeClr val="bg2">
                    <a:lumMod val="50000"/>
                    <a:lumOff val="50000"/>
                  </a:schemeClr>
                </a:solidFill>
              </a:rPr>
              <a:t>People in hard-to-reach groups are omitted</a:t>
            </a:r>
          </a:p>
          <a:p>
            <a:r>
              <a:rPr lang="en-US" sz="1200" dirty="0">
                <a:solidFill>
                  <a:schemeClr val="bg2">
                    <a:lumMod val="50000"/>
                    <a:lumOff val="50000"/>
                  </a:schemeClr>
                </a:solidFill>
              </a:rPr>
              <a:t>Selected individuals are replaced with others, for example if they are difficult to contact</a:t>
            </a:r>
          </a:p>
          <a:p>
            <a:r>
              <a:rPr lang="en-US" sz="1200" dirty="0">
                <a:solidFill>
                  <a:schemeClr val="bg2">
                    <a:lumMod val="50000"/>
                    <a:lumOff val="50000"/>
                  </a:schemeClr>
                </a:solidFill>
              </a:rPr>
              <a:t>There are low response rates</a:t>
            </a:r>
          </a:p>
          <a:p>
            <a:r>
              <a:rPr lang="en-US" sz="1200" dirty="0">
                <a:solidFill>
                  <a:schemeClr val="bg2">
                    <a:lumMod val="50000"/>
                    <a:lumOff val="50000"/>
                  </a:schemeClr>
                </a:solidFill>
              </a:rPr>
              <a:t>An out-of-date list is used as the sample frame (for example, if it excludes people who have recently moved to an area)</a:t>
            </a:r>
          </a:p>
          <a:p>
            <a:pPr marL="0" indent="0">
              <a:buNone/>
            </a:pPr>
            <a:endParaRPr lang="en-US" sz="1200" dirty="0">
              <a:solidFill>
                <a:schemeClr val="bg2">
                  <a:lumMod val="50000"/>
                  <a:lumOff val="50000"/>
                </a:schemeClr>
              </a:solidFill>
            </a:endParaRPr>
          </a:p>
          <a:p>
            <a:pPr marL="0" indent="0">
              <a:buNone/>
            </a:pPr>
            <a:r>
              <a:rPr lang="en-US" sz="2000" b="1" dirty="0">
                <a:solidFill>
                  <a:schemeClr val="accent1"/>
                </a:solidFill>
              </a:rPr>
              <a:t>Types of Sampling : </a:t>
            </a:r>
          </a:p>
          <a:p>
            <a:pPr marL="0" indent="0">
              <a:buNone/>
            </a:pPr>
            <a:r>
              <a:rPr lang="en-US" sz="1200" b="1" dirty="0">
                <a:solidFill>
                  <a:schemeClr val="accent1"/>
                </a:solidFill>
              </a:rPr>
              <a:t>Probability sampling </a:t>
            </a:r>
            <a:r>
              <a:rPr lang="en-US" sz="1200" dirty="0">
                <a:solidFill>
                  <a:schemeClr val="bg2">
                    <a:lumMod val="50000"/>
                    <a:lumOff val="50000"/>
                  </a:schemeClr>
                </a:solidFill>
              </a:rPr>
              <a:t>involves random selection, allowing you to make strong statistical inferences about the whole group.</a:t>
            </a:r>
          </a:p>
          <a:p>
            <a:pPr marL="0" indent="0">
              <a:buNone/>
            </a:pPr>
            <a:r>
              <a:rPr lang="en-US" sz="1200" b="1" dirty="0">
                <a:solidFill>
                  <a:schemeClr val="accent1"/>
                </a:solidFill>
              </a:rPr>
              <a:t>Non-probability</a:t>
            </a:r>
            <a:r>
              <a:rPr lang="en-US" sz="1200" dirty="0">
                <a:solidFill>
                  <a:schemeClr val="bg2">
                    <a:lumMod val="50000"/>
                    <a:lumOff val="50000"/>
                  </a:schemeClr>
                </a:solidFill>
              </a:rPr>
              <a:t> sampling involves non-random selection based on convenience or other criteria, allowing you to easily collect data.</a:t>
            </a:r>
          </a:p>
          <a:p>
            <a:pPr marL="0" indent="0">
              <a:buNone/>
            </a:pPr>
            <a:endParaRPr lang="en-US" sz="1600" b="1" dirty="0">
              <a:solidFill>
                <a:schemeClr val="accent1"/>
              </a:solidFill>
            </a:endParaRPr>
          </a:p>
          <a:p>
            <a:endParaRPr lang="en-US" dirty="0"/>
          </a:p>
        </p:txBody>
      </p:sp>
    </p:spTree>
    <p:extLst>
      <p:ext uri="{BB962C8B-B14F-4D97-AF65-F5344CB8AC3E}">
        <p14:creationId xmlns:p14="http://schemas.microsoft.com/office/powerpoint/2010/main" val="3121719466"/>
      </p:ext>
    </p:extLst>
  </p:cSld>
  <p:clrMapOvr>
    <a:masterClrMapping/>
  </p:clrMapOvr>
  <p:transition spd="med">
    <p:wipe dir="r"/>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20B3A-BFEF-46FE-BCFB-6C1E194FE7E2}"/>
              </a:ext>
            </a:extLst>
          </p:cNvPr>
          <p:cNvSpPr>
            <a:spLocks noGrp="1"/>
          </p:cNvSpPr>
          <p:nvPr>
            <p:ph type="title"/>
          </p:nvPr>
        </p:nvSpPr>
        <p:spPr>
          <a:xfrm>
            <a:off x="0" y="0"/>
            <a:ext cx="4295219" cy="640080"/>
          </a:xfrm>
        </p:spPr>
        <p:txBody>
          <a:bodyPr/>
          <a:lstStyle/>
          <a:p>
            <a:r>
              <a:rPr lang="en-US" dirty="0"/>
              <a:t>Basic Counting Principle</a:t>
            </a:r>
          </a:p>
        </p:txBody>
      </p:sp>
      <p:sp>
        <p:nvSpPr>
          <p:cNvPr id="3" name="Content Placeholder 2">
            <a:extLst>
              <a:ext uri="{FF2B5EF4-FFF2-40B4-BE49-F238E27FC236}">
                <a16:creationId xmlns:a16="http://schemas.microsoft.com/office/drawing/2014/main" id="{7E895A45-2B38-45B6-A1B0-4B6527B5A775}"/>
              </a:ext>
            </a:extLst>
          </p:cNvPr>
          <p:cNvSpPr>
            <a:spLocks noGrp="1"/>
          </p:cNvSpPr>
          <p:nvPr>
            <p:ph sz="half" idx="13"/>
          </p:nvPr>
        </p:nvSpPr>
        <p:spPr>
          <a:xfrm>
            <a:off x="97704" y="640080"/>
            <a:ext cx="8395030" cy="3200400"/>
          </a:xfrm>
        </p:spPr>
        <p:txBody>
          <a:bodyPr/>
          <a:lstStyle/>
          <a:p>
            <a:r>
              <a:rPr lang="en-US" dirty="0"/>
              <a:t>When there are </a:t>
            </a:r>
            <a:r>
              <a:rPr lang="en-US" b="1" dirty="0"/>
              <a:t>m</a:t>
            </a:r>
            <a:r>
              <a:rPr lang="en-US" dirty="0"/>
              <a:t> ways to do one thing, and </a:t>
            </a:r>
            <a:r>
              <a:rPr lang="en-US" b="1" dirty="0"/>
              <a:t>n</a:t>
            </a:r>
            <a:r>
              <a:rPr lang="en-US" dirty="0"/>
              <a:t> ways to do another, then there are </a:t>
            </a:r>
            <a:r>
              <a:rPr lang="en-US" b="1" dirty="0" err="1"/>
              <a:t>m×n</a:t>
            </a:r>
            <a:r>
              <a:rPr lang="en-US" dirty="0"/>
              <a:t> ways of doing both.</a:t>
            </a:r>
          </a:p>
          <a:p>
            <a:pPr algn="l"/>
            <a:r>
              <a:rPr lang="en-US" b="1" i="0" dirty="0">
                <a:solidFill>
                  <a:srgbClr val="333333"/>
                </a:solidFill>
                <a:effectLst/>
                <a:latin typeface="Verdana" panose="020B0604030504040204" pitchFamily="34" charset="0"/>
              </a:rPr>
              <a:t>Example: </a:t>
            </a:r>
            <a:r>
              <a:rPr lang="en-US" b="0" i="0" dirty="0">
                <a:solidFill>
                  <a:srgbClr val="333333"/>
                </a:solidFill>
                <a:effectLst/>
                <a:latin typeface="Verdana" panose="020B0604030504040204" pitchFamily="34" charset="0"/>
              </a:rPr>
              <a:t>you have </a:t>
            </a:r>
            <a:r>
              <a:rPr lang="en-US" b="1" i="0" dirty="0">
                <a:solidFill>
                  <a:srgbClr val="333333"/>
                </a:solidFill>
                <a:effectLst/>
                <a:latin typeface="Verdana" panose="020B0604030504040204" pitchFamily="34" charset="0"/>
              </a:rPr>
              <a:t>3</a:t>
            </a:r>
            <a:r>
              <a:rPr lang="en-US" b="0" i="0" dirty="0">
                <a:solidFill>
                  <a:srgbClr val="333333"/>
                </a:solidFill>
                <a:effectLst/>
                <a:latin typeface="Verdana" panose="020B0604030504040204" pitchFamily="34" charset="0"/>
              </a:rPr>
              <a:t> shirts and </a:t>
            </a:r>
            <a:r>
              <a:rPr lang="en-US" b="1" i="0" dirty="0">
                <a:solidFill>
                  <a:srgbClr val="333333"/>
                </a:solidFill>
                <a:effectLst/>
                <a:latin typeface="Verdana" panose="020B0604030504040204" pitchFamily="34" charset="0"/>
              </a:rPr>
              <a:t>4</a:t>
            </a:r>
            <a:r>
              <a:rPr lang="en-US" b="0" i="0" dirty="0">
                <a:solidFill>
                  <a:srgbClr val="333333"/>
                </a:solidFill>
                <a:effectLst/>
                <a:latin typeface="Verdana" panose="020B0604030504040204" pitchFamily="34" charset="0"/>
              </a:rPr>
              <a:t> pants.</a:t>
            </a:r>
          </a:p>
          <a:p>
            <a:pPr lvl="1"/>
            <a:r>
              <a:rPr lang="en-US" b="0" i="0" dirty="0">
                <a:solidFill>
                  <a:srgbClr val="333333"/>
                </a:solidFill>
                <a:effectLst/>
                <a:latin typeface="Verdana" panose="020B0604030504040204" pitchFamily="34" charset="0"/>
              </a:rPr>
              <a:t>That means </a:t>
            </a:r>
            <a:r>
              <a:rPr lang="en-US" b="1" i="0" dirty="0">
                <a:solidFill>
                  <a:srgbClr val="333333"/>
                </a:solidFill>
                <a:effectLst/>
                <a:latin typeface="Verdana" panose="020B0604030504040204" pitchFamily="34" charset="0"/>
              </a:rPr>
              <a:t>3×4=12</a:t>
            </a:r>
            <a:r>
              <a:rPr lang="en-US" b="0" i="0" dirty="0">
                <a:solidFill>
                  <a:srgbClr val="333333"/>
                </a:solidFill>
                <a:effectLst/>
                <a:latin typeface="Verdana" panose="020B0604030504040204" pitchFamily="34" charset="0"/>
              </a:rPr>
              <a:t> different outfits.</a:t>
            </a:r>
          </a:p>
          <a:p>
            <a:pPr marL="342900" lvl="1" indent="0">
              <a:buNone/>
            </a:pPr>
            <a:endParaRPr lang="en-US" dirty="0">
              <a:solidFill>
                <a:srgbClr val="333333"/>
              </a:solidFill>
              <a:latin typeface="Verdana" panose="020B0604030504040204" pitchFamily="34" charset="0"/>
            </a:endParaRPr>
          </a:p>
          <a:p>
            <a:pPr algn="l"/>
            <a:r>
              <a:rPr lang="en-US" b="1" i="0" dirty="0">
                <a:solidFill>
                  <a:srgbClr val="333333"/>
                </a:solidFill>
                <a:effectLst/>
                <a:latin typeface="Verdana" panose="020B0604030504040204" pitchFamily="34" charset="0"/>
              </a:rPr>
              <a:t>Example: </a:t>
            </a:r>
            <a:r>
              <a:rPr lang="en-US" b="0" i="0" dirty="0">
                <a:solidFill>
                  <a:srgbClr val="333333"/>
                </a:solidFill>
                <a:effectLst/>
                <a:latin typeface="Verdana" panose="020B0604030504040204" pitchFamily="34" charset="0"/>
              </a:rPr>
              <a:t>There are </a:t>
            </a:r>
            <a:r>
              <a:rPr lang="en-US" b="1" i="0" dirty="0">
                <a:solidFill>
                  <a:srgbClr val="333333"/>
                </a:solidFill>
                <a:effectLst/>
                <a:latin typeface="Verdana" panose="020B0604030504040204" pitchFamily="34" charset="0"/>
              </a:rPr>
              <a:t>6</a:t>
            </a:r>
            <a:r>
              <a:rPr lang="en-US" b="0" i="0" dirty="0">
                <a:solidFill>
                  <a:srgbClr val="333333"/>
                </a:solidFill>
                <a:effectLst/>
                <a:latin typeface="Verdana" panose="020B0604030504040204" pitchFamily="34" charset="0"/>
              </a:rPr>
              <a:t> flavors of ice-cream, and </a:t>
            </a:r>
            <a:r>
              <a:rPr lang="en-US" b="1" i="0" dirty="0">
                <a:solidFill>
                  <a:srgbClr val="333333"/>
                </a:solidFill>
                <a:effectLst/>
                <a:latin typeface="Verdana" panose="020B0604030504040204" pitchFamily="34" charset="0"/>
              </a:rPr>
              <a:t>3</a:t>
            </a:r>
            <a:r>
              <a:rPr lang="en-US" b="0" i="0" dirty="0">
                <a:solidFill>
                  <a:srgbClr val="333333"/>
                </a:solidFill>
                <a:effectLst/>
                <a:latin typeface="Verdana" panose="020B0604030504040204" pitchFamily="34" charset="0"/>
              </a:rPr>
              <a:t> different cones.</a:t>
            </a:r>
          </a:p>
          <a:p>
            <a:pPr lvl="1"/>
            <a:r>
              <a:rPr lang="en-US" b="0" i="0" dirty="0">
                <a:solidFill>
                  <a:srgbClr val="333333"/>
                </a:solidFill>
                <a:effectLst/>
                <a:latin typeface="Verdana" panose="020B0604030504040204" pitchFamily="34" charset="0"/>
              </a:rPr>
              <a:t>That means </a:t>
            </a:r>
            <a:r>
              <a:rPr lang="en-US" b="1" i="0" dirty="0">
                <a:solidFill>
                  <a:srgbClr val="333333"/>
                </a:solidFill>
                <a:effectLst/>
                <a:latin typeface="Verdana" panose="020B0604030504040204" pitchFamily="34" charset="0"/>
              </a:rPr>
              <a:t>6×3=18</a:t>
            </a:r>
            <a:r>
              <a:rPr lang="en-US" b="0" i="0" dirty="0">
                <a:solidFill>
                  <a:srgbClr val="333333"/>
                </a:solidFill>
                <a:effectLst/>
                <a:latin typeface="Verdana" panose="020B0604030504040204" pitchFamily="34" charset="0"/>
              </a:rPr>
              <a:t> different single-scoop ice-creams you could order.</a:t>
            </a:r>
          </a:p>
          <a:p>
            <a:pPr marL="342900" lvl="1" indent="0">
              <a:buNone/>
            </a:pPr>
            <a:endParaRPr lang="en-US" b="0" i="0" dirty="0">
              <a:solidFill>
                <a:srgbClr val="333333"/>
              </a:solidFill>
              <a:effectLst/>
              <a:latin typeface="Verdana" panose="020B0604030504040204" pitchFamily="34" charset="0"/>
            </a:endParaRPr>
          </a:p>
          <a:p>
            <a:endParaRPr lang="en-US" dirty="0"/>
          </a:p>
        </p:txBody>
      </p:sp>
    </p:spTree>
    <p:extLst>
      <p:ext uri="{BB962C8B-B14F-4D97-AF65-F5344CB8AC3E}">
        <p14:creationId xmlns:p14="http://schemas.microsoft.com/office/powerpoint/2010/main" val="1347032845"/>
      </p:ext>
    </p:extLst>
  </p:cSld>
  <p:clrMapOvr>
    <a:masterClrMapping/>
  </p:clrMapOvr>
  <p:transition spd="med">
    <p:wipe dir="r"/>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14532B-185A-4357-BE52-28EBAB6F3121}"/>
              </a:ext>
            </a:extLst>
          </p:cNvPr>
          <p:cNvSpPr>
            <a:spLocks noGrp="1"/>
          </p:cNvSpPr>
          <p:nvPr>
            <p:ph type="title"/>
          </p:nvPr>
        </p:nvSpPr>
        <p:spPr>
          <a:xfrm>
            <a:off x="0" y="0"/>
            <a:ext cx="4295219" cy="640080"/>
          </a:xfrm>
        </p:spPr>
        <p:txBody>
          <a:bodyPr/>
          <a:lstStyle/>
          <a:p>
            <a:r>
              <a:rPr lang="en-US" dirty="0"/>
              <a:t>Basic Counting Principle</a:t>
            </a:r>
          </a:p>
        </p:txBody>
      </p:sp>
      <p:sp>
        <p:nvSpPr>
          <p:cNvPr id="3" name="Content Placeholder 2">
            <a:extLst>
              <a:ext uri="{FF2B5EF4-FFF2-40B4-BE49-F238E27FC236}">
                <a16:creationId xmlns:a16="http://schemas.microsoft.com/office/drawing/2014/main" id="{7FE24EE5-9E37-494F-9C2B-DFF91D177E34}"/>
              </a:ext>
            </a:extLst>
          </p:cNvPr>
          <p:cNvSpPr>
            <a:spLocks noGrp="1"/>
          </p:cNvSpPr>
          <p:nvPr>
            <p:ph sz="half" idx="13"/>
          </p:nvPr>
        </p:nvSpPr>
        <p:spPr>
          <a:xfrm>
            <a:off x="0" y="640080"/>
            <a:ext cx="9483933" cy="3200400"/>
          </a:xfrm>
        </p:spPr>
        <p:txBody>
          <a:bodyPr/>
          <a:lstStyle/>
          <a:p>
            <a:r>
              <a:rPr lang="en-US" b="0" i="0" dirty="0">
                <a:solidFill>
                  <a:srgbClr val="333333"/>
                </a:solidFill>
                <a:effectLst/>
                <a:latin typeface="Verdana" panose="020B0604030504040204" pitchFamily="34" charset="0"/>
              </a:rPr>
              <a:t>It also works when you have more than 2 choices:</a:t>
            </a:r>
          </a:p>
          <a:p>
            <a:r>
              <a:rPr lang="en-US" b="0" i="0" dirty="0">
                <a:solidFill>
                  <a:srgbClr val="333333"/>
                </a:solidFill>
                <a:effectLst/>
                <a:latin typeface="Verdana" panose="020B0604030504040204" pitchFamily="34" charset="0"/>
              </a:rPr>
              <a:t>Example: You are buying a new car.</a:t>
            </a:r>
          </a:p>
          <a:p>
            <a:pPr lvl="1"/>
            <a:r>
              <a:rPr lang="en-US" dirty="0">
                <a:solidFill>
                  <a:srgbClr val="333333"/>
                </a:solidFill>
                <a:latin typeface="Verdana" panose="020B0604030504040204" pitchFamily="34" charset="0"/>
              </a:rPr>
              <a:t>There are 2 body styles</a:t>
            </a:r>
          </a:p>
          <a:p>
            <a:pPr lvl="1"/>
            <a:r>
              <a:rPr lang="en-US" b="0" i="0" dirty="0">
                <a:solidFill>
                  <a:srgbClr val="333333"/>
                </a:solidFill>
                <a:effectLst/>
                <a:latin typeface="Verdana" panose="020B0604030504040204" pitchFamily="34" charset="0"/>
              </a:rPr>
              <a:t>There are 5 colors available</a:t>
            </a:r>
          </a:p>
          <a:p>
            <a:pPr lvl="1"/>
            <a:r>
              <a:rPr lang="en-US" dirty="0">
                <a:solidFill>
                  <a:srgbClr val="333333"/>
                </a:solidFill>
                <a:latin typeface="Verdana" panose="020B0604030504040204" pitchFamily="34" charset="0"/>
              </a:rPr>
              <a:t>There are 3 models : </a:t>
            </a:r>
          </a:p>
          <a:p>
            <a:pPr lvl="2"/>
            <a:r>
              <a:rPr lang="en-US" b="0" i="0" dirty="0">
                <a:solidFill>
                  <a:srgbClr val="333333"/>
                </a:solidFill>
                <a:effectLst/>
                <a:latin typeface="Verdana" panose="020B0604030504040204" pitchFamily="34" charset="0"/>
              </a:rPr>
              <a:t>GL (standard model),</a:t>
            </a:r>
          </a:p>
          <a:p>
            <a:pPr lvl="2"/>
            <a:r>
              <a:rPr lang="en-US" b="0" i="0" dirty="0">
                <a:solidFill>
                  <a:srgbClr val="333333"/>
                </a:solidFill>
                <a:effectLst/>
                <a:latin typeface="Verdana" panose="020B0604030504040204" pitchFamily="34" charset="0"/>
              </a:rPr>
              <a:t>SS (sports model with bigger engine)</a:t>
            </a:r>
          </a:p>
          <a:p>
            <a:pPr lvl="2"/>
            <a:r>
              <a:rPr lang="en-US" b="0" i="0" dirty="0">
                <a:solidFill>
                  <a:srgbClr val="333333"/>
                </a:solidFill>
                <a:effectLst/>
                <a:latin typeface="Verdana" panose="020B0604030504040204" pitchFamily="34" charset="0"/>
              </a:rPr>
              <a:t>SL (luxury model with leather seats)</a:t>
            </a:r>
          </a:p>
          <a:p>
            <a:pPr lvl="2"/>
            <a:endParaRPr lang="en-US" b="0" i="0" dirty="0">
              <a:solidFill>
                <a:srgbClr val="333333"/>
              </a:solidFill>
              <a:effectLst/>
              <a:latin typeface="Verdana" panose="020B0604030504040204" pitchFamily="34" charset="0"/>
            </a:endParaRPr>
          </a:p>
          <a:p>
            <a:r>
              <a:rPr lang="en-US" b="1" dirty="0"/>
              <a:t>How many total choices you have ? </a:t>
            </a:r>
          </a:p>
          <a:p>
            <a:pPr marL="0" indent="0">
              <a:buNone/>
            </a:pPr>
            <a:endParaRPr lang="en-US" dirty="0"/>
          </a:p>
        </p:txBody>
      </p:sp>
      <p:pic>
        <p:nvPicPr>
          <p:cNvPr id="5" name="Picture 4" descr="A red car parked on a road&#10;&#10;Description automatically generated with medium confidence">
            <a:extLst>
              <a:ext uri="{FF2B5EF4-FFF2-40B4-BE49-F238E27FC236}">
                <a16:creationId xmlns:a16="http://schemas.microsoft.com/office/drawing/2014/main" id="{19F1B0FC-CF74-40A2-BF51-6C0B862B6932}"/>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868238" y="0"/>
            <a:ext cx="2275761" cy="970241"/>
          </a:xfrm>
          <a:prstGeom prst="rect">
            <a:avLst/>
          </a:prstGeom>
        </p:spPr>
      </p:pic>
      <p:pic>
        <p:nvPicPr>
          <p:cNvPr id="7" name="Picture 6" descr="A red car parked on a road&#10;&#10;Description automatically generated with medium confidence">
            <a:extLst>
              <a:ext uri="{FF2B5EF4-FFF2-40B4-BE49-F238E27FC236}">
                <a16:creationId xmlns:a16="http://schemas.microsoft.com/office/drawing/2014/main" id="{5C777FBC-EC57-4116-9590-28C6560EB948}"/>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7208171" y="970241"/>
            <a:ext cx="1935829" cy="1451872"/>
          </a:xfrm>
          <a:prstGeom prst="rect">
            <a:avLst/>
          </a:prstGeom>
        </p:spPr>
      </p:pic>
      <p:pic>
        <p:nvPicPr>
          <p:cNvPr id="10" name="Picture 9">
            <a:extLst>
              <a:ext uri="{FF2B5EF4-FFF2-40B4-BE49-F238E27FC236}">
                <a16:creationId xmlns:a16="http://schemas.microsoft.com/office/drawing/2014/main" id="{380E2F7E-32C4-431E-B6FF-0AF97B2D0F87}"/>
              </a:ext>
            </a:extLst>
          </p:cNvPr>
          <p:cNvPicPr>
            <a:picLocks noChangeAspect="1"/>
          </p:cNvPicPr>
          <p:nvPr/>
        </p:nvPicPr>
        <p:blipFill>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3268674" y="2962944"/>
            <a:ext cx="1755072" cy="1755072"/>
          </a:xfrm>
          <a:prstGeom prst="rect">
            <a:avLst/>
          </a:prstGeom>
        </p:spPr>
      </p:pic>
    </p:spTree>
    <p:extLst>
      <p:ext uri="{BB962C8B-B14F-4D97-AF65-F5344CB8AC3E}">
        <p14:creationId xmlns:p14="http://schemas.microsoft.com/office/powerpoint/2010/main" val="2033431723"/>
      </p:ext>
    </p:extLst>
  </p:cSld>
  <p:clrMapOvr>
    <a:masterClrMapping/>
  </p:clrMapOvr>
  <p:transition spd="med">
    <p:wipe dir="r"/>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838622-11D2-416A-A0DB-E3E9EFE6E75C}"/>
              </a:ext>
            </a:extLst>
          </p:cNvPr>
          <p:cNvSpPr>
            <a:spLocks noGrp="1"/>
          </p:cNvSpPr>
          <p:nvPr>
            <p:ph type="title"/>
          </p:nvPr>
        </p:nvSpPr>
        <p:spPr>
          <a:xfrm>
            <a:off x="0" y="22860"/>
            <a:ext cx="7230614" cy="640080"/>
          </a:xfrm>
        </p:spPr>
        <p:txBody>
          <a:bodyPr/>
          <a:lstStyle/>
          <a:p>
            <a:r>
              <a:rPr lang="en-US" dirty="0"/>
              <a:t>Basic Counting Principle – Ex continued</a:t>
            </a:r>
          </a:p>
        </p:txBody>
      </p:sp>
      <p:sp>
        <p:nvSpPr>
          <p:cNvPr id="3" name="Content Placeholder 2">
            <a:extLst>
              <a:ext uri="{FF2B5EF4-FFF2-40B4-BE49-F238E27FC236}">
                <a16:creationId xmlns:a16="http://schemas.microsoft.com/office/drawing/2014/main" id="{07E829D6-B167-49B9-8A62-F4EBDAFC55FF}"/>
              </a:ext>
            </a:extLst>
          </p:cNvPr>
          <p:cNvSpPr>
            <a:spLocks noGrp="1"/>
          </p:cNvSpPr>
          <p:nvPr>
            <p:ph sz="half" idx="13"/>
          </p:nvPr>
        </p:nvSpPr>
        <p:spPr>
          <a:xfrm>
            <a:off x="133670" y="2934669"/>
            <a:ext cx="8396077" cy="1633355"/>
          </a:xfrm>
        </p:spPr>
        <p:txBody>
          <a:bodyPr>
            <a:normAutofit/>
          </a:bodyPr>
          <a:lstStyle/>
          <a:p>
            <a:r>
              <a:rPr lang="en-US" dirty="0"/>
              <a:t>You can count the choices, or just do the simple calculation:</a:t>
            </a:r>
          </a:p>
          <a:p>
            <a:pPr marL="0" indent="0">
              <a:buNone/>
            </a:pPr>
            <a:endParaRPr lang="en-US" dirty="0"/>
          </a:p>
        </p:txBody>
      </p:sp>
      <p:pic>
        <p:nvPicPr>
          <p:cNvPr id="5" name="Picture 4">
            <a:extLst>
              <a:ext uri="{FF2B5EF4-FFF2-40B4-BE49-F238E27FC236}">
                <a16:creationId xmlns:a16="http://schemas.microsoft.com/office/drawing/2014/main" id="{8CBEB511-67A4-4D30-A170-5C33C7FD1431}"/>
              </a:ext>
            </a:extLst>
          </p:cNvPr>
          <p:cNvPicPr>
            <a:picLocks noChangeAspect="1"/>
          </p:cNvPicPr>
          <p:nvPr/>
        </p:nvPicPr>
        <p:blipFill>
          <a:blip r:embed="rId2"/>
          <a:stretch>
            <a:fillRect/>
          </a:stretch>
        </p:blipFill>
        <p:spPr>
          <a:xfrm>
            <a:off x="1033063" y="575476"/>
            <a:ext cx="6086693" cy="2155832"/>
          </a:xfrm>
          <a:prstGeom prst="rect">
            <a:avLst/>
          </a:prstGeom>
        </p:spPr>
      </p:pic>
    </p:spTree>
    <p:extLst>
      <p:ext uri="{BB962C8B-B14F-4D97-AF65-F5344CB8AC3E}">
        <p14:creationId xmlns:p14="http://schemas.microsoft.com/office/powerpoint/2010/main" val="2074760393"/>
      </p:ext>
    </p:extLst>
  </p:cSld>
  <p:clrMapOvr>
    <a:masterClrMapping/>
  </p:clrMapOvr>
  <p:transition spd="med">
    <p:wipe dir="r"/>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4A364-C2E7-49F9-B5CC-663C189F5BEC}"/>
              </a:ext>
            </a:extLst>
          </p:cNvPr>
          <p:cNvSpPr>
            <a:spLocks noGrp="1"/>
          </p:cNvSpPr>
          <p:nvPr>
            <p:ph type="title"/>
          </p:nvPr>
        </p:nvSpPr>
        <p:spPr>
          <a:xfrm>
            <a:off x="0" y="0"/>
            <a:ext cx="6839726" cy="640080"/>
          </a:xfrm>
        </p:spPr>
        <p:txBody>
          <a:bodyPr/>
          <a:lstStyle/>
          <a:p>
            <a:r>
              <a:rPr lang="en-US" dirty="0"/>
              <a:t>Independent or Dependent </a:t>
            </a:r>
          </a:p>
        </p:txBody>
      </p:sp>
      <p:sp>
        <p:nvSpPr>
          <p:cNvPr id="3" name="Content Placeholder 2">
            <a:extLst>
              <a:ext uri="{FF2B5EF4-FFF2-40B4-BE49-F238E27FC236}">
                <a16:creationId xmlns:a16="http://schemas.microsoft.com/office/drawing/2014/main" id="{32BE9735-4EC7-4FA5-9C8E-FB6A20384A25}"/>
              </a:ext>
            </a:extLst>
          </p:cNvPr>
          <p:cNvSpPr>
            <a:spLocks noGrp="1"/>
          </p:cNvSpPr>
          <p:nvPr>
            <p:ph sz="half" idx="13"/>
          </p:nvPr>
        </p:nvSpPr>
        <p:spPr>
          <a:xfrm>
            <a:off x="0" y="640079"/>
            <a:ext cx="9144000" cy="3771377"/>
          </a:xfrm>
        </p:spPr>
        <p:txBody>
          <a:bodyPr>
            <a:normAutofit/>
          </a:bodyPr>
          <a:lstStyle/>
          <a:p>
            <a:pPr algn="l"/>
            <a:r>
              <a:rPr lang="en-US" sz="2000" b="0" i="0" dirty="0">
                <a:solidFill>
                  <a:srgbClr val="333333"/>
                </a:solidFill>
                <a:effectLst/>
                <a:latin typeface="Verdana" panose="020B0604030504040204" pitchFamily="34" charset="0"/>
              </a:rPr>
              <a:t>But it only works when all choices are </a:t>
            </a:r>
            <a:r>
              <a:rPr lang="en-US" sz="2000" b="1" i="0" dirty="0">
                <a:solidFill>
                  <a:srgbClr val="333333"/>
                </a:solidFill>
                <a:effectLst/>
                <a:latin typeface="Verdana" panose="020B0604030504040204" pitchFamily="34" charset="0"/>
              </a:rPr>
              <a:t>independent</a:t>
            </a:r>
            <a:r>
              <a:rPr lang="en-US" sz="2000" b="0" i="0" dirty="0">
                <a:solidFill>
                  <a:srgbClr val="333333"/>
                </a:solidFill>
                <a:effectLst/>
                <a:latin typeface="Verdana" panose="020B0604030504040204" pitchFamily="34" charset="0"/>
              </a:rPr>
              <a:t> of each other.</a:t>
            </a:r>
          </a:p>
          <a:p>
            <a:pPr algn="l"/>
            <a:r>
              <a:rPr lang="en-US" sz="2000" b="0" i="0" dirty="0">
                <a:solidFill>
                  <a:srgbClr val="333333"/>
                </a:solidFill>
                <a:effectLst/>
                <a:latin typeface="Verdana" panose="020B0604030504040204" pitchFamily="34" charset="0"/>
              </a:rPr>
              <a:t>If one choice affects another choice (i.e. </a:t>
            </a:r>
            <a:r>
              <a:rPr lang="en-US" sz="2000" b="1" i="0" dirty="0">
                <a:solidFill>
                  <a:srgbClr val="333333"/>
                </a:solidFill>
                <a:effectLst/>
                <a:latin typeface="Verdana" panose="020B0604030504040204" pitchFamily="34" charset="0"/>
              </a:rPr>
              <a:t>depends</a:t>
            </a:r>
            <a:r>
              <a:rPr lang="en-US" sz="2000" b="0" i="0" dirty="0">
                <a:solidFill>
                  <a:srgbClr val="333333"/>
                </a:solidFill>
                <a:effectLst/>
                <a:latin typeface="Verdana" panose="020B0604030504040204" pitchFamily="34" charset="0"/>
              </a:rPr>
              <a:t> on another choice), then a simple multiplication is not right.</a:t>
            </a:r>
          </a:p>
          <a:p>
            <a:pPr algn="l"/>
            <a:r>
              <a:rPr lang="en-US" sz="2000" dirty="0">
                <a:solidFill>
                  <a:srgbClr val="333333"/>
                </a:solidFill>
                <a:latin typeface="Verdana" panose="020B0604030504040204" pitchFamily="34" charset="0"/>
              </a:rPr>
              <a:t>Ex : you are buying a car, but the salesman says you can’t choose black for the hatchback.. </a:t>
            </a:r>
            <a:r>
              <a:rPr lang="en-US" sz="2000" b="1" i="1" dirty="0">
                <a:solidFill>
                  <a:srgbClr val="333333"/>
                </a:solidFill>
                <a:latin typeface="Verdana" panose="020B0604030504040204" pitchFamily="34" charset="0"/>
              </a:rPr>
              <a:t>Well then things change</a:t>
            </a:r>
            <a:endParaRPr lang="en-US" sz="2000" b="1" i="1" dirty="0">
              <a:solidFill>
                <a:srgbClr val="333333"/>
              </a:solidFill>
              <a:effectLst/>
              <a:latin typeface="Verdana" panose="020B0604030504040204" pitchFamily="34" charset="0"/>
            </a:endParaRPr>
          </a:p>
          <a:p>
            <a:endParaRPr lang="en-US" dirty="0"/>
          </a:p>
        </p:txBody>
      </p:sp>
    </p:spTree>
    <p:extLst>
      <p:ext uri="{BB962C8B-B14F-4D97-AF65-F5344CB8AC3E}">
        <p14:creationId xmlns:p14="http://schemas.microsoft.com/office/powerpoint/2010/main" val="2871754504"/>
      </p:ext>
    </p:extLst>
  </p:cSld>
  <p:clrMapOvr>
    <a:masterClrMapping/>
  </p:clrMapOvr>
  <p:transition spd="med">
    <p:wipe dir="r"/>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8C05D-BE8C-4546-B006-9B88F0538A05}"/>
              </a:ext>
            </a:extLst>
          </p:cNvPr>
          <p:cNvSpPr>
            <a:spLocks noGrp="1"/>
          </p:cNvSpPr>
          <p:nvPr>
            <p:ph type="title"/>
          </p:nvPr>
        </p:nvSpPr>
        <p:spPr>
          <a:xfrm>
            <a:off x="0" y="0"/>
            <a:ext cx="7929453" cy="640080"/>
          </a:xfrm>
        </p:spPr>
        <p:txBody>
          <a:bodyPr/>
          <a:lstStyle/>
          <a:p>
            <a:r>
              <a:rPr lang="en-US" dirty="0"/>
              <a:t>Independent or Dependent – Ex continued </a:t>
            </a:r>
          </a:p>
        </p:txBody>
      </p:sp>
      <p:pic>
        <p:nvPicPr>
          <p:cNvPr id="4" name="Content Placeholder 3">
            <a:extLst>
              <a:ext uri="{FF2B5EF4-FFF2-40B4-BE49-F238E27FC236}">
                <a16:creationId xmlns:a16="http://schemas.microsoft.com/office/drawing/2014/main" id="{8F32F106-4CD4-40E0-87E2-661C2067C569}"/>
              </a:ext>
            </a:extLst>
          </p:cNvPr>
          <p:cNvPicPr>
            <a:picLocks noGrp="1" noChangeAspect="1"/>
          </p:cNvPicPr>
          <p:nvPr>
            <p:ph sz="half" idx="13"/>
          </p:nvPr>
        </p:nvPicPr>
        <p:blipFill>
          <a:blip r:embed="rId2"/>
          <a:stretch>
            <a:fillRect/>
          </a:stretch>
        </p:blipFill>
        <p:spPr>
          <a:xfrm>
            <a:off x="1740470" y="572928"/>
            <a:ext cx="5923738" cy="2422742"/>
          </a:xfrm>
          <a:prstGeom prst="rect">
            <a:avLst/>
          </a:prstGeom>
        </p:spPr>
      </p:pic>
      <p:sp>
        <p:nvSpPr>
          <p:cNvPr id="5" name="TextBox 4">
            <a:extLst>
              <a:ext uri="{FF2B5EF4-FFF2-40B4-BE49-F238E27FC236}">
                <a16:creationId xmlns:a16="http://schemas.microsoft.com/office/drawing/2014/main" id="{80CAC565-AB32-4C61-99D3-866831E99BC3}"/>
              </a:ext>
            </a:extLst>
          </p:cNvPr>
          <p:cNvSpPr txBox="1"/>
          <p:nvPr/>
        </p:nvSpPr>
        <p:spPr>
          <a:xfrm>
            <a:off x="-83763" y="3266711"/>
            <a:ext cx="8013216" cy="830997"/>
          </a:xfrm>
          <a:prstGeom prst="rect">
            <a:avLst/>
          </a:prstGeom>
          <a:noFill/>
        </p:spPr>
        <p:txBody>
          <a:bodyPr wrap="square" rtlCol="0">
            <a:spAutoFit/>
          </a:bodyPr>
          <a:lstStyle/>
          <a:p>
            <a:pPr marL="171450" indent="-171450" algn="l">
              <a:buFont typeface="Arial" panose="020B0604020202020204" pitchFamily="34" charset="0"/>
              <a:buChar char="•"/>
            </a:pPr>
            <a:r>
              <a:rPr lang="en-US" sz="1600" b="0" i="0" dirty="0">
                <a:solidFill>
                  <a:srgbClr val="333333"/>
                </a:solidFill>
                <a:effectLst/>
                <a:latin typeface="Verdana" panose="020B0604030504040204" pitchFamily="34" charset="0"/>
              </a:rPr>
              <a:t>Because your choices are </a:t>
            </a:r>
            <a:r>
              <a:rPr lang="en-US" sz="1600" b="1" i="0" dirty="0">
                <a:solidFill>
                  <a:srgbClr val="333333"/>
                </a:solidFill>
                <a:effectLst/>
                <a:latin typeface="Verdana" panose="020B0604030504040204" pitchFamily="34" charset="0"/>
              </a:rPr>
              <a:t>not independent</a:t>
            </a:r>
            <a:r>
              <a:rPr lang="en-US" sz="1600" b="0" i="0" dirty="0">
                <a:solidFill>
                  <a:srgbClr val="333333"/>
                </a:solidFill>
                <a:effectLst/>
                <a:latin typeface="Verdana" panose="020B0604030504040204" pitchFamily="34" charset="0"/>
              </a:rPr>
              <a:t> of each other.</a:t>
            </a:r>
          </a:p>
          <a:p>
            <a:pPr marL="171450" indent="-171450" algn="l">
              <a:buFont typeface="Arial" panose="020B0604020202020204" pitchFamily="34" charset="0"/>
              <a:buChar char="•"/>
            </a:pPr>
            <a:endParaRPr lang="en-US" sz="1600" b="0" i="0" dirty="0">
              <a:solidFill>
                <a:srgbClr val="333333"/>
              </a:solidFill>
              <a:effectLst/>
              <a:latin typeface="Verdana" panose="020B0604030504040204" pitchFamily="34" charset="0"/>
            </a:endParaRPr>
          </a:p>
          <a:p>
            <a:pPr marL="171450" indent="-171450" algn="l">
              <a:buFont typeface="Arial" panose="020B0604020202020204" pitchFamily="34" charset="0"/>
              <a:buChar char="•"/>
            </a:pPr>
            <a:r>
              <a:rPr lang="en-US" sz="1600" b="0" i="0" dirty="0">
                <a:solidFill>
                  <a:srgbClr val="333333"/>
                </a:solidFill>
                <a:effectLst/>
                <a:latin typeface="Verdana" panose="020B0604030504040204" pitchFamily="34" charset="0"/>
              </a:rPr>
              <a:t>But you can still make your life easier with this calculation:</a:t>
            </a:r>
          </a:p>
        </p:txBody>
      </p:sp>
    </p:spTree>
    <p:extLst>
      <p:ext uri="{BB962C8B-B14F-4D97-AF65-F5344CB8AC3E}">
        <p14:creationId xmlns:p14="http://schemas.microsoft.com/office/powerpoint/2010/main" val="2852821484"/>
      </p:ext>
    </p:extLst>
  </p:cSld>
  <p:clrMapOvr>
    <a:masterClrMapping/>
  </p:clrMapOvr>
  <p:transition spd="med">
    <p:wipe dir="r"/>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94589F-FA7B-4274-8300-F7E79507DCCA}"/>
              </a:ext>
            </a:extLst>
          </p:cNvPr>
          <p:cNvSpPr>
            <a:spLocks noGrp="1"/>
          </p:cNvSpPr>
          <p:nvPr>
            <p:ph type="title"/>
          </p:nvPr>
        </p:nvSpPr>
        <p:spPr>
          <a:xfrm>
            <a:off x="0" y="0"/>
            <a:ext cx="7998431" cy="640080"/>
          </a:xfrm>
        </p:spPr>
        <p:txBody>
          <a:bodyPr/>
          <a:lstStyle/>
          <a:p>
            <a:r>
              <a:rPr lang="en-US" dirty="0"/>
              <a:t>Mutually Exclusive Events</a:t>
            </a:r>
          </a:p>
        </p:txBody>
      </p:sp>
      <p:sp>
        <p:nvSpPr>
          <p:cNvPr id="3" name="Content Placeholder 2">
            <a:extLst>
              <a:ext uri="{FF2B5EF4-FFF2-40B4-BE49-F238E27FC236}">
                <a16:creationId xmlns:a16="http://schemas.microsoft.com/office/drawing/2014/main" id="{5702E1F5-822D-4D74-A37A-D6C43EA0C961}"/>
              </a:ext>
            </a:extLst>
          </p:cNvPr>
          <p:cNvSpPr>
            <a:spLocks noGrp="1"/>
          </p:cNvSpPr>
          <p:nvPr>
            <p:ph sz="half" idx="13"/>
          </p:nvPr>
        </p:nvSpPr>
        <p:spPr>
          <a:xfrm>
            <a:off x="0" y="826451"/>
            <a:ext cx="8869680" cy="3200400"/>
          </a:xfrm>
        </p:spPr>
        <p:txBody>
          <a:bodyPr/>
          <a:lstStyle/>
          <a:p>
            <a:r>
              <a:rPr lang="en-US" b="1" i="0" dirty="0">
                <a:solidFill>
                  <a:srgbClr val="333333"/>
                </a:solidFill>
                <a:effectLst/>
                <a:latin typeface="Verdana" panose="020B0604030504040204" pitchFamily="34" charset="0"/>
              </a:rPr>
              <a:t>Mutually Exclusive</a:t>
            </a:r>
            <a:r>
              <a:rPr lang="en-US" b="0" i="0" dirty="0">
                <a:solidFill>
                  <a:srgbClr val="333333"/>
                </a:solidFill>
                <a:effectLst/>
                <a:latin typeface="Verdana" panose="020B0604030504040204" pitchFamily="34" charset="0"/>
              </a:rPr>
              <a:t>: can't happen at the same time.</a:t>
            </a:r>
          </a:p>
          <a:p>
            <a:r>
              <a:rPr lang="en-US" dirty="0">
                <a:solidFill>
                  <a:srgbClr val="333333"/>
                </a:solidFill>
                <a:latin typeface="Verdana" panose="020B0604030504040204" pitchFamily="34" charset="0"/>
              </a:rPr>
              <a:t>Ex : </a:t>
            </a:r>
            <a:endParaRPr lang="en-US" dirty="0"/>
          </a:p>
        </p:txBody>
      </p:sp>
    </p:spTree>
    <p:extLst>
      <p:ext uri="{BB962C8B-B14F-4D97-AF65-F5344CB8AC3E}">
        <p14:creationId xmlns:p14="http://schemas.microsoft.com/office/powerpoint/2010/main" val="755309856"/>
      </p:ext>
    </p:extLst>
  </p:cSld>
  <p:clrMapOvr>
    <a:masterClrMapping/>
  </p:clrMapOvr>
  <p:transition spd="med">
    <p:wipe dir="r"/>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CF189-4C36-48C7-AAFE-3A8346E1656B}"/>
              </a:ext>
            </a:extLst>
          </p:cNvPr>
          <p:cNvSpPr>
            <a:spLocks noGrp="1"/>
          </p:cNvSpPr>
          <p:nvPr>
            <p:ph type="title"/>
          </p:nvPr>
        </p:nvSpPr>
        <p:spPr>
          <a:xfrm>
            <a:off x="0" y="0"/>
            <a:ext cx="4295219" cy="640080"/>
          </a:xfrm>
        </p:spPr>
        <p:txBody>
          <a:bodyPr/>
          <a:lstStyle/>
          <a:p>
            <a:r>
              <a:rPr lang="en-US" dirty="0"/>
              <a:t>Mutually Exclusive Events</a:t>
            </a:r>
          </a:p>
        </p:txBody>
      </p:sp>
      <p:sp>
        <p:nvSpPr>
          <p:cNvPr id="3" name="Content Placeholder 2">
            <a:extLst>
              <a:ext uri="{FF2B5EF4-FFF2-40B4-BE49-F238E27FC236}">
                <a16:creationId xmlns:a16="http://schemas.microsoft.com/office/drawing/2014/main" id="{369F0675-EE2E-43C4-B836-74C1DD2FB138}"/>
              </a:ext>
            </a:extLst>
          </p:cNvPr>
          <p:cNvSpPr>
            <a:spLocks noGrp="1"/>
          </p:cNvSpPr>
          <p:nvPr>
            <p:ph sz="half" idx="13"/>
          </p:nvPr>
        </p:nvSpPr>
        <p:spPr>
          <a:xfrm>
            <a:off x="0" y="791549"/>
            <a:ext cx="8255427" cy="3200400"/>
          </a:xfrm>
        </p:spPr>
        <p:txBody>
          <a:bodyPr/>
          <a:lstStyle/>
          <a:p>
            <a:r>
              <a:rPr lang="en-US" dirty="0"/>
              <a:t>What is not Mutually exclusive ? </a:t>
            </a:r>
          </a:p>
          <a:p>
            <a:pPr lvl="1"/>
            <a:r>
              <a:rPr lang="en-US" b="0" i="0" dirty="0">
                <a:solidFill>
                  <a:srgbClr val="333333"/>
                </a:solidFill>
                <a:effectLst/>
                <a:latin typeface="Verdana" panose="020B0604030504040204" pitchFamily="34" charset="0"/>
              </a:rPr>
              <a:t>Turning left and scratching your head can happen at the same time</a:t>
            </a:r>
          </a:p>
          <a:p>
            <a:pPr lvl="1"/>
            <a:r>
              <a:rPr lang="en-US" b="0" i="0" dirty="0">
                <a:solidFill>
                  <a:srgbClr val="333333"/>
                </a:solidFill>
                <a:effectLst/>
                <a:latin typeface="Verdana" panose="020B0604030504040204" pitchFamily="34" charset="0"/>
              </a:rPr>
              <a:t>Kings and Hearts, because we can have a King of Hearts!</a:t>
            </a:r>
          </a:p>
          <a:p>
            <a:pPr lvl="1"/>
            <a:endParaRPr lang="en-US" dirty="0"/>
          </a:p>
        </p:txBody>
      </p:sp>
      <p:pic>
        <p:nvPicPr>
          <p:cNvPr id="5" name="Picture 4">
            <a:extLst>
              <a:ext uri="{FF2B5EF4-FFF2-40B4-BE49-F238E27FC236}">
                <a16:creationId xmlns:a16="http://schemas.microsoft.com/office/drawing/2014/main" id="{8A5CA808-E866-4F37-AFB1-7B95B345E15B}"/>
              </a:ext>
            </a:extLst>
          </p:cNvPr>
          <p:cNvPicPr>
            <a:picLocks noChangeAspect="1"/>
          </p:cNvPicPr>
          <p:nvPr/>
        </p:nvPicPr>
        <p:blipFill>
          <a:blip r:embed="rId2"/>
          <a:stretch>
            <a:fillRect/>
          </a:stretch>
        </p:blipFill>
        <p:spPr>
          <a:xfrm>
            <a:off x="1301144" y="1639970"/>
            <a:ext cx="4983007" cy="2645844"/>
          </a:xfrm>
          <a:prstGeom prst="rect">
            <a:avLst/>
          </a:prstGeom>
        </p:spPr>
      </p:pic>
    </p:spTree>
    <p:extLst>
      <p:ext uri="{BB962C8B-B14F-4D97-AF65-F5344CB8AC3E}">
        <p14:creationId xmlns:p14="http://schemas.microsoft.com/office/powerpoint/2010/main" val="383622476"/>
      </p:ext>
    </p:extLst>
  </p:cSld>
  <p:clrMapOvr>
    <a:masterClrMapping/>
  </p:clrMapOvr>
  <p:transition spd="med">
    <p:wipe dir="r"/>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5768DA-60F5-4EC8-9D65-49B195895AA4}"/>
              </a:ext>
            </a:extLst>
          </p:cNvPr>
          <p:cNvSpPr/>
          <p:nvPr/>
        </p:nvSpPr>
        <p:spPr>
          <a:xfrm>
            <a:off x="1563554" y="1486773"/>
            <a:ext cx="5940110" cy="963261"/>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2" name="Title 1">
            <a:extLst>
              <a:ext uri="{FF2B5EF4-FFF2-40B4-BE49-F238E27FC236}">
                <a16:creationId xmlns:a16="http://schemas.microsoft.com/office/drawing/2014/main" id="{4E0D191B-0B57-4455-A047-0BBF63CA3140}"/>
              </a:ext>
            </a:extLst>
          </p:cNvPr>
          <p:cNvSpPr>
            <a:spLocks noGrp="1"/>
          </p:cNvSpPr>
          <p:nvPr>
            <p:ph type="title"/>
          </p:nvPr>
        </p:nvSpPr>
        <p:spPr>
          <a:xfrm>
            <a:off x="0" y="0"/>
            <a:ext cx="4295219" cy="640080"/>
          </a:xfrm>
        </p:spPr>
        <p:txBody>
          <a:bodyPr/>
          <a:lstStyle/>
          <a:p>
            <a:r>
              <a:rPr lang="en-US" dirty="0"/>
              <a:t>Mutually Exclusive Events</a:t>
            </a:r>
          </a:p>
        </p:txBody>
      </p:sp>
      <p:sp>
        <p:nvSpPr>
          <p:cNvPr id="3" name="Content Placeholder 2">
            <a:extLst>
              <a:ext uri="{FF2B5EF4-FFF2-40B4-BE49-F238E27FC236}">
                <a16:creationId xmlns:a16="http://schemas.microsoft.com/office/drawing/2014/main" id="{2958DAA0-CB47-4F7F-962D-D941FFEDF517}"/>
              </a:ext>
            </a:extLst>
          </p:cNvPr>
          <p:cNvSpPr>
            <a:spLocks noGrp="1"/>
          </p:cNvSpPr>
          <p:nvPr>
            <p:ph sz="half" idx="13"/>
          </p:nvPr>
        </p:nvSpPr>
        <p:spPr>
          <a:xfrm>
            <a:off x="0" y="742688"/>
            <a:ext cx="8892715" cy="3200400"/>
          </a:xfrm>
        </p:spPr>
        <p:txBody>
          <a:bodyPr/>
          <a:lstStyle/>
          <a:p>
            <a:r>
              <a:rPr lang="en-US" b="0" i="0" dirty="0">
                <a:solidFill>
                  <a:srgbClr val="333333"/>
                </a:solidFill>
                <a:effectLst/>
                <a:latin typeface="Verdana" panose="020B0604030504040204" pitchFamily="34" charset="0"/>
              </a:rPr>
              <a:t>When two events (call them "A" and "B") are Mutually Exclusive it is </a:t>
            </a:r>
            <a:r>
              <a:rPr lang="en-US" b="1" i="0" dirty="0">
                <a:solidFill>
                  <a:srgbClr val="333333"/>
                </a:solidFill>
                <a:effectLst/>
                <a:latin typeface="Verdana" panose="020B0604030504040204" pitchFamily="34" charset="0"/>
              </a:rPr>
              <a:t>impossible</a:t>
            </a:r>
            <a:r>
              <a:rPr lang="en-US" b="0" i="0" dirty="0">
                <a:solidFill>
                  <a:srgbClr val="333333"/>
                </a:solidFill>
                <a:effectLst/>
                <a:latin typeface="Verdana" panose="020B0604030504040204" pitchFamily="34" charset="0"/>
              </a:rPr>
              <a:t> for them to happen together:</a:t>
            </a:r>
          </a:p>
          <a:p>
            <a:endParaRPr lang="en-US" b="0" i="0" dirty="0">
              <a:solidFill>
                <a:srgbClr val="333333"/>
              </a:solidFill>
              <a:effectLst/>
              <a:latin typeface="Verdana" panose="020B0604030504040204" pitchFamily="34" charset="0"/>
            </a:endParaRPr>
          </a:p>
          <a:p>
            <a:pPr marL="0" indent="0" algn="ctr">
              <a:buNone/>
            </a:pPr>
            <a:r>
              <a:rPr lang="en-US" b="1" i="0" dirty="0">
                <a:solidFill>
                  <a:schemeClr val="tx2"/>
                </a:solidFill>
                <a:effectLst/>
                <a:latin typeface="Verdana" panose="020B0604030504040204" pitchFamily="34" charset="0"/>
              </a:rPr>
              <a:t>P(A and B) = 0</a:t>
            </a:r>
            <a:endParaRPr lang="en-US" b="0" i="0" dirty="0">
              <a:solidFill>
                <a:schemeClr val="tx2"/>
              </a:solidFill>
              <a:effectLst/>
              <a:latin typeface="Verdana" panose="020B0604030504040204" pitchFamily="34" charset="0"/>
            </a:endParaRPr>
          </a:p>
          <a:p>
            <a:pPr marL="0" indent="0" algn="ctr">
              <a:buNone/>
            </a:pPr>
            <a:r>
              <a:rPr lang="en-US" b="0" i="1" dirty="0">
                <a:solidFill>
                  <a:schemeClr val="tx2"/>
                </a:solidFill>
                <a:effectLst/>
                <a:latin typeface="Verdana" panose="020B0604030504040204" pitchFamily="34" charset="0"/>
              </a:rPr>
              <a:t>"The probability of A and B together equals 0 (impossible)"</a:t>
            </a:r>
            <a:endParaRPr lang="en-US" b="0" i="0" dirty="0">
              <a:solidFill>
                <a:schemeClr val="tx2"/>
              </a:solidFill>
              <a:effectLst/>
              <a:latin typeface="Verdana" panose="020B0604030504040204" pitchFamily="34" charset="0"/>
            </a:endParaRPr>
          </a:p>
          <a:p>
            <a:endParaRPr lang="en-US" dirty="0">
              <a:solidFill>
                <a:srgbClr val="333333"/>
              </a:solidFill>
              <a:latin typeface="Verdana" panose="020B0604030504040204" pitchFamily="34" charset="0"/>
            </a:endParaRPr>
          </a:p>
          <a:p>
            <a:pPr marL="0" indent="0">
              <a:buNone/>
            </a:pPr>
            <a:endParaRPr lang="en-US" dirty="0"/>
          </a:p>
        </p:txBody>
      </p:sp>
      <p:sp>
        <p:nvSpPr>
          <p:cNvPr id="5" name="TextBox 4">
            <a:extLst>
              <a:ext uri="{FF2B5EF4-FFF2-40B4-BE49-F238E27FC236}">
                <a16:creationId xmlns:a16="http://schemas.microsoft.com/office/drawing/2014/main" id="{8097A869-7708-4C6B-968B-2EDC5E08F3C9}"/>
              </a:ext>
            </a:extLst>
          </p:cNvPr>
          <p:cNvSpPr txBox="1"/>
          <p:nvPr/>
        </p:nvSpPr>
        <p:spPr>
          <a:xfrm>
            <a:off x="251285" y="2611785"/>
            <a:ext cx="8439004" cy="1169551"/>
          </a:xfrm>
          <a:prstGeom prst="rect">
            <a:avLst/>
          </a:prstGeom>
          <a:noFill/>
        </p:spPr>
        <p:txBody>
          <a:bodyPr wrap="square" rtlCol="0">
            <a:spAutoFit/>
          </a:bodyPr>
          <a:lstStyle/>
          <a:p>
            <a:pPr algn="l"/>
            <a:r>
              <a:rPr lang="en-US" sz="1400" b="1" dirty="0">
                <a:solidFill>
                  <a:srgbClr val="333333"/>
                </a:solidFill>
                <a:latin typeface="Verdana" panose="020B0604030504040204" pitchFamily="34" charset="0"/>
                <a:cs typeface="Arial" panose="020B0604020202020204" pitchFamily="34" charset="0"/>
              </a:rPr>
              <a:t>Example: King AND Queen</a:t>
            </a:r>
          </a:p>
          <a:p>
            <a:pPr algn="l"/>
            <a:r>
              <a:rPr lang="en-US" sz="1400" dirty="0">
                <a:solidFill>
                  <a:srgbClr val="333333"/>
                </a:solidFill>
                <a:latin typeface="Verdana" panose="020B0604030504040204" pitchFamily="34" charset="0"/>
                <a:cs typeface="Arial" panose="020B0604020202020204" pitchFamily="34" charset="0"/>
              </a:rPr>
              <a:t>A card cannot be a King AND a Queen at the same time!</a:t>
            </a:r>
          </a:p>
          <a:p>
            <a:pPr algn="l"/>
            <a:endParaRPr lang="en-US" sz="1400" dirty="0">
              <a:solidFill>
                <a:srgbClr val="333333"/>
              </a:solidFill>
              <a:latin typeface="Verdana" panose="020B0604030504040204" pitchFamily="34" charset="0"/>
              <a:cs typeface="Arial" panose="020B0604020202020204" pitchFamily="34" charset="0"/>
            </a:endParaRPr>
          </a:p>
          <a:p>
            <a:pPr lvl="1">
              <a:buFont typeface="Arial" panose="020B0604020202020204" pitchFamily="34" charset="0"/>
              <a:buChar char="•"/>
            </a:pPr>
            <a:r>
              <a:rPr lang="en-US" sz="1400" dirty="0">
                <a:solidFill>
                  <a:srgbClr val="333333"/>
                </a:solidFill>
                <a:latin typeface="Verdana" panose="020B0604030504040204" pitchFamily="34" charset="0"/>
                <a:cs typeface="Arial" panose="020B0604020202020204" pitchFamily="34" charset="0"/>
              </a:rPr>
              <a:t>The probability of a King and a Queen is 0 (Impossible)</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1511582162"/>
      </p:ext>
    </p:extLst>
  </p:cSld>
  <p:clrMapOvr>
    <a:masterClrMapping/>
  </p:clrMapOvr>
  <p:transition spd="med">
    <p:wipe dir="r"/>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9C344B-E63D-404F-831D-AAFAD851B968}"/>
              </a:ext>
            </a:extLst>
          </p:cNvPr>
          <p:cNvSpPr>
            <a:spLocks noGrp="1"/>
          </p:cNvSpPr>
          <p:nvPr>
            <p:ph type="title"/>
          </p:nvPr>
        </p:nvSpPr>
        <p:spPr>
          <a:xfrm>
            <a:off x="0" y="0"/>
            <a:ext cx="6944428" cy="640080"/>
          </a:xfrm>
        </p:spPr>
        <p:txBody>
          <a:bodyPr/>
          <a:lstStyle/>
          <a:p>
            <a:r>
              <a:rPr lang="en-US" dirty="0"/>
              <a:t>Mutually Exclusive Events</a:t>
            </a:r>
          </a:p>
        </p:txBody>
      </p:sp>
      <p:sp>
        <p:nvSpPr>
          <p:cNvPr id="4" name="TextBox 3">
            <a:extLst>
              <a:ext uri="{FF2B5EF4-FFF2-40B4-BE49-F238E27FC236}">
                <a16:creationId xmlns:a16="http://schemas.microsoft.com/office/drawing/2014/main" id="{DA48BC19-656E-4D18-88D1-31209889C88E}"/>
              </a:ext>
            </a:extLst>
          </p:cNvPr>
          <p:cNvSpPr txBox="1"/>
          <p:nvPr/>
        </p:nvSpPr>
        <p:spPr>
          <a:xfrm>
            <a:off x="83761" y="810906"/>
            <a:ext cx="8439004" cy="738664"/>
          </a:xfrm>
          <a:prstGeom prst="rect">
            <a:avLst/>
          </a:prstGeom>
          <a:noFill/>
        </p:spPr>
        <p:txBody>
          <a:bodyPr wrap="square" rtlCol="0">
            <a:spAutoFit/>
          </a:bodyPr>
          <a:lstStyle/>
          <a:p>
            <a:pPr algn="l"/>
            <a:r>
              <a:rPr lang="en-US" sz="1400" b="1" dirty="0">
                <a:solidFill>
                  <a:srgbClr val="333333"/>
                </a:solidFill>
                <a:latin typeface="Verdana" panose="020B0604030504040204" pitchFamily="34" charset="0"/>
                <a:cs typeface="Arial" panose="020B0604020202020204" pitchFamily="34" charset="0"/>
              </a:rPr>
              <a:t>Example: King OR Queen</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Find what's the probability of getting a king or Queen ? </a:t>
            </a:r>
          </a:p>
        </p:txBody>
      </p:sp>
    </p:spTree>
    <p:extLst>
      <p:ext uri="{BB962C8B-B14F-4D97-AF65-F5344CB8AC3E}">
        <p14:creationId xmlns:p14="http://schemas.microsoft.com/office/powerpoint/2010/main" val="2084172098"/>
      </p:ext>
    </p:extLst>
  </p:cSld>
  <p:clrMapOvr>
    <a:masterClrMapping/>
  </p:clrMapOvr>
  <p:transition spd="med">
    <p:wipe dir="r"/>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183DEF-09FC-48BE-B29F-3608B56A38D7}"/>
              </a:ext>
            </a:extLst>
          </p:cNvPr>
          <p:cNvSpPr>
            <a:spLocks noGrp="1"/>
          </p:cNvSpPr>
          <p:nvPr>
            <p:ph type="title"/>
          </p:nvPr>
        </p:nvSpPr>
        <p:spPr>
          <a:xfrm>
            <a:off x="0" y="0"/>
            <a:ext cx="4295219" cy="640080"/>
          </a:xfrm>
        </p:spPr>
        <p:txBody>
          <a:bodyPr/>
          <a:lstStyle/>
          <a:p>
            <a:r>
              <a:rPr lang="en-US" dirty="0"/>
              <a:t>Mutually exclusive events</a:t>
            </a:r>
          </a:p>
        </p:txBody>
      </p:sp>
      <p:sp>
        <p:nvSpPr>
          <p:cNvPr id="3" name="Content Placeholder 2">
            <a:extLst>
              <a:ext uri="{FF2B5EF4-FFF2-40B4-BE49-F238E27FC236}">
                <a16:creationId xmlns:a16="http://schemas.microsoft.com/office/drawing/2014/main" id="{9782BCFC-7E33-441B-BF58-D27E3E2886DC}"/>
              </a:ext>
            </a:extLst>
          </p:cNvPr>
          <p:cNvSpPr>
            <a:spLocks noGrp="1"/>
          </p:cNvSpPr>
          <p:nvPr>
            <p:ph sz="half" idx="13"/>
          </p:nvPr>
        </p:nvSpPr>
        <p:spPr>
          <a:xfrm>
            <a:off x="24412" y="700807"/>
            <a:ext cx="8541613" cy="3200400"/>
          </a:xfrm>
        </p:spPr>
        <p:txBody>
          <a:bodyPr>
            <a:normAutofit/>
          </a:bodyPr>
          <a:lstStyle/>
          <a:p>
            <a:pPr marL="0" indent="0">
              <a:buNone/>
            </a:pPr>
            <a:r>
              <a:rPr lang="en-US" sz="1800" b="1" dirty="0"/>
              <a:t>When events are not Mutually exclusive – be careful in calculation !!</a:t>
            </a:r>
          </a:p>
        </p:txBody>
      </p:sp>
      <p:pic>
        <p:nvPicPr>
          <p:cNvPr id="5" name="Picture 4">
            <a:extLst>
              <a:ext uri="{FF2B5EF4-FFF2-40B4-BE49-F238E27FC236}">
                <a16:creationId xmlns:a16="http://schemas.microsoft.com/office/drawing/2014/main" id="{46583470-E112-4013-8A44-9FFF9E00480B}"/>
              </a:ext>
            </a:extLst>
          </p:cNvPr>
          <p:cNvPicPr>
            <a:picLocks noChangeAspect="1"/>
          </p:cNvPicPr>
          <p:nvPr/>
        </p:nvPicPr>
        <p:blipFill>
          <a:blip r:embed="rId2"/>
          <a:stretch>
            <a:fillRect/>
          </a:stretch>
        </p:blipFill>
        <p:spPr>
          <a:xfrm>
            <a:off x="2044167" y="1109226"/>
            <a:ext cx="2011302" cy="1612960"/>
          </a:xfrm>
          <a:prstGeom prst="rect">
            <a:avLst/>
          </a:prstGeom>
        </p:spPr>
      </p:pic>
      <p:sp>
        <p:nvSpPr>
          <p:cNvPr id="6" name="TextBox 5">
            <a:extLst>
              <a:ext uri="{FF2B5EF4-FFF2-40B4-BE49-F238E27FC236}">
                <a16:creationId xmlns:a16="http://schemas.microsoft.com/office/drawing/2014/main" id="{6A2B0CE2-96F0-4A88-9B6E-E65CB299A76B}"/>
              </a:ext>
            </a:extLst>
          </p:cNvPr>
          <p:cNvSpPr txBox="1"/>
          <p:nvPr/>
        </p:nvSpPr>
        <p:spPr>
          <a:xfrm>
            <a:off x="160544" y="1354150"/>
            <a:ext cx="1626375"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hat is the probability of getting a </a:t>
            </a:r>
            <a:r>
              <a:rPr lang="en-US" sz="1400" b="1" dirty="0">
                <a:solidFill>
                  <a:schemeClr val="bg2"/>
                </a:solidFill>
                <a:latin typeface="+mn-lt"/>
              </a:rPr>
              <a:t>KING</a:t>
            </a:r>
            <a:r>
              <a:rPr lang="en-US" sz="1400" dirty="0">
                <a:solidFill>
                  <a:schemeClr val="bg2"/>
                </a:solidFill>
                <a:latin typeface="+mn-lt"/>
              </a:rPr>
              <a:t> or </a:t>
            </a:r>
            <a:r>
              <a:rPr lang="en-US" sz="1400" b="1" dirty="0">
                <a:solidFill>
                  <a:schemeClr val="bg2"/>
                </a:solidFill>
                <a:latin typeface="+mn-lt"/>
              </a:rPr>
              <a:t>Heart</a:t>
            </a:r>
            <a:r>
              <a:rPr lang="en-US" sz="1400" dirty="0">
                <a:solidFill>
                  <a:schemeClr val="bg2"/>
                </a:solidFill>
                <a:latin typeface="+mn-lt"/>
              </a:rPr>
              <a:t> ?</a:t>
            </a:r>
          </a:p>
        </p:txBody>
      </p:sp>
      <p:sp>
        <p:nvSpPr>
          <p:cNvPr id="7" name="TextBox 6">
            <a:extLst>
              <a:ext uri="{FF2B5EF4-FFF2-40B4-BE49-F238E27FC236}">
                <a16:creationId xmlns:a16="http://schemas.microsoft.com/office/drawing/2014/main" id="{9B5D54AC-3A31-4E91-934F-134C027A601E}"/>
              </a:ext>
            </a:extLst>
          </p:cNvPr>
          <p:cNvSpPr txBox="1"/>
          <p:nvPr/>
        </p:nvSpPr>
        <p:spPr>
          <a:xfrm>
            <a:off x="4523139" y="1354150"/>
            <a:ext cx="3811164" cy="1600438"/>
          </a:xfrm>
          <a:prstGeom prst="rect">
            <a:avLst/>
          </a:prstGeom>
          <a:noFill/>
        </p:spPr>
        <p:txBody>
          <a:bodyPr wrap="square" rtlCol="0">
            <a:spAutoFit/>
          </a:bodyPr>
          <a:lstStyle/>
          <a:p>
            <a:pPr algn="l"/>
            <a:r>
              <a:rPr lang="en-US" sz="1400" dirty="0">
                <a:solidFill>
                  <a:schemeClr val="bg2"/>
                </a:solidFill>
                <a:latin typeface="+mn-lt"/>
              </a:rPr>
              <a:t>But Hearts or Kings is:</a:t>
            </a:r>
          </a:p>
          <a:p>
            <a:pPr algn="l"/>
            <a:endParaRPr lang="en-US" sz="1400" dirty="0">
              <a:solidFill>
                <a:schemeClr val="bg2"/>
              </a:solidFill>
              <a:latin typeface="+mn-lt"/>
            </a:endParaRPr>
          </a:p>
          <a:p>
            <a:pPr algn="l">
              <a:buFont typeface="Arial" panose="020B0604020202020204" pitchFamily="34" charset="0"/>
              <a:buChar char="•"/>
            </a:pPr>
            <a:r>
              <a:rPr lang="en-US" sz="1400" dirty="0">
                <a:solidFill>
                  <a:schemeClr val="bg2"/>
                </a:solidFill>
                <a:latin typeface="+mn-lt"/>
              </a:rPr>
              <a:t>all the Hearts (13 of them)</a:t>
            </a:r>
          </a:p>
          <a:p>
            <a:pPr algn="l">
              <a:buFont typeface="Arial" panose="020B0604020202020204" pitchFamily="34" charset="0"/>
              <a:buChar char="•"/>
            </a:pPr>
            <a:r>
              <a:rPr lang="en-US" sz="1400" dirty="0">
                <a:solidFill>
                  <a:schemeClr val="bg2"/>
                </a:solidFill>
                <a:latin typeface="+mn-lt"/>
              </a:rPr>
              <a:t>all the Kings (4 of them)</a:t>
            </a:r>
          </a:p>
          <a:p>
            <a:pPr algn="l"/>
            <a:endParaRPr lang="en-US" sz="1400" b="1" dirty="0">
              <a:solidFill>
                <a:schemeClr val="bg2"/>
              </a:solidFill>
              <a:latin typeface="+mn-lt"/>
            </a:endParaRPr>
          </a:p>
          <a:p>
            <a:pPr algn="l"/>
            <a:r>
              <a:rPr lang="en-US" sz="1400" b="1" dirty="0">
                <a:solidFill>
                  <a:srgbClr val="FF0000"/>
                </a:solidFill>
                <a:latin typeface="+mn-lt"/>
              </a:rPr>
              <a:t>But that counts the King of Hearts twice!</a:t>
            </a:r>
          </a:p>
          <a:p>
            <a:pPr>
              <a:spcBef>
                <a:spcPts val="0"/>
              </a:spcBef>
              <a:spcAft>
                <a:spcPts val="0"/>
              </a:spcAft>
              <a:buClr>
                <a:schemeClr val="bg1"/>
              </a:buClr>
            </a:pPr>
            <a:endParaRPr lang="en-US" sz="1400" dirty="0" err="1">
              <a:solidFill>
                <a:schemeClr val="bg2"/>
              </a:solidFill>
              <a:latin typeface="+mn-lt"/>
            </a:endParaRPr>
          </a:p>
        </p:txBody>
      </p:sp>
      <p:pic>
        <p:nvPicPr>
          <p:cNvPr id="10" name="Picture 9">
            <a:extLst>
              <a:ext uri="{FF2B5EF4-FFF2-40B4-BE49-F238E27FC236}">
                <a16:creationId xmlns:a16="http://schemas.microsoft.com/office/drawing/2014/main" id="{2227465D-37BE-4E4D-B9A3-EF881800E713}"/>
              </a:ext>
            </a:extLst>
          </p:cNvPr>
          <p:cNvPicPr>
            <a:picLocks noChangeAspect="1"/>
          </p:cNvPicPr>
          <p:nvPr/>
        </p:nvPicPr>
        <p:blipFill>
          <a:blip r:embed="rId3"/>
          <a:stretch>
            <a:fillRect/>
          </a:stretch>
        </p:blipFill>
        <p:spPr>
          <a:xfrm>
            <a:off x="1556574" y="3375529"/>
            <a:ext cx="6303080" cy="1754328"/>
          </a:xfrm>
          <a:prstGeom prst="rect">
            <a:avLst/>
          </a:prstGeom>
        </p:spPr>
      </p:pic>
      <p:sp>
        <p:nvSpPr>
          <p:cNvPr id="11" name="TextBox 10">
            <a:extLst>
              <a:ext uri="{FF2B5EF4-FFF2-40B4-BE49-F238E27FC236}">
                <a16:creationId xmlns:a16="http://schemas.microsoft.com/office/drawing/2014/main" id="{A0696F8E-B303-413C-B330-19C3FDC60711}"/>
              </a:ext>
            </a:extLst>
          </p:cNvPr>
          <p:cNvSpPr txBox="1"/>
          <p:nvPr/>
        </p:nvSpPr>
        <p:spPr>
          <a:xfrm>
            <a:off x="160544" y="2835244"/>
            <a:ext cx="2966564"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o, the correct answer is ? </a:t>
            </a:r>
          </a:p>
        </p:txBody>
      </p:sp>
    </p:spTree>
    <p:extLst>
      <p:ext uri="{BB962C8B-B14F-4D97-AF65-F5344CB8AC3E}">
        <p14:creationId xmlns:p14="http://schemas.microsoft.com/office/powerpoint/2010/main" val="4160957609"/>
      </p:ext>
    </p:extLst>
  </p:cSld>
  <p:clrMapOvr>
    <a:masterClrMapping/>
  </p:clrMapOvr>
  <p:transition spd="med">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FA937C-9F74-4776-9FBD-887D88497E3E}"/>
              </a:ext>
            </a:extLst>
          </p:cNvPr>
          <p:cNvSpPr>
            <a:spLocks noGrp="1"/>
          </p:cNvSpPr>
          <p:nvPr>
            <p:ph type="title"/>
          </p:nvPr>
        </p:nvSpPr>
        <p:spPr/>
        <p:txBody>
          <a:bodyPr/>
          <a:lstStyle/>
          <a:p>
            <a:r>
              <a:rPr lang="en-US" dirty="0"/>
              <a:t>Worksheet</a:t>
            </a:r>
          </a:p>
        </p:txBody>
      </p:sp>
    </p:spTree>
    <p:extLst>
      <p:ext uri="{BB962C8B-B14F-4D97-AF65-F5344CB8AC3E}">
        <p14:creationId xmlns:p14="http://schemas.microsoft.com/office/powerpoint/2010/main" val="2707576164"/>
      </p:ext>
    </p:extLst>
  </p:cSld>
  <p:clrMapOvr>
    <a:masterClrMapping/>
  </p:clrMapOvr>
  <p:transition spd="med">
    <p:wipe dir="r"/>
  </p:transition>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2BC964-5A13-49A2-AC32-BC58DBBB541B}"/>
              </a:ext>
            </a:extLst>
          </p:cNvPr>
          <p:cNvSpPr>
            <a:spLocks noGrp="1"/>
          </p:cNvSpPr>
          <p:nvPr>
            <p:ph type="title"/>
          </p:nvPr>
        </p:nvSpPr>
        <p:spPr>
          <a:xfrm>
            <a:off x="0" y="22860"/>
            <a:ext cx="8780208" cy="640080"/>
          </a:xfrm>
        </p:spPr>
        <p:txBody>
          <a:bodyPr/>
          <a:lstStyle/>
          <a:p>
            <a:r>
              <a:rPr lang="en-US" sz="2800" b="1" dirty="0"/>
              <a:t>When events are not Mutually exclusive – be careful in calculation !!</a:t>
            </a:r>
            <a:br>
              <a:rPr lang="en-US" sz="2800" b="1" dirty="0"/>
            </a:br>
            <a:endParaRPr lang="en-US" dirty="0"/>
          </a:p>
        </p:txBody>
      </p:sp>
      <p:sp>
        <p:nvSpPr>
          <p:cNvPr id="3" name="Content Placeholder 2">
            <a:extLst>
              <a:ext uri="{FF2B5EF4-FFF2-40B4-BE49-F238E27FC236}">
                <a16:creationId xmlns:a16="http://schemas.microsoft.com/office/drawing/2014/main" id="{FA234F7A-145E-467A-AEB8-D9C930FC3B5E}"/>
              </a:ext>
            </a:extLst>
          </p:cNvPr>
          <p:cNvSpPr>
            <a:spLocks noGrp="1"/>
          </p:cNvSpPr>
          <p:nvPr>
            <p:ph sz="half" idx="13"/>
          </p:nvPr>
        </p:nvSpPr>
        <p:spPr>
          <a:xfrm>
            <a:off x="71895" y="1042835"/>
            <a:ext cx="8402010" cy="3200400"/>
          </a:xfrm>
        </p:spPr>
        <p:txBody>
          <a:bodyPr/>
          <a:lstStyle/>
          <a:p>
            <a:r>
              <a:rPr lang="en-US" b="1" i="0" dirty="0">
                <a:solidFill>
                  <a:srgbClr val="296BC2"/>
                </a:solidFill>
                <a:effectLst/>
                <a:latin typeface="Verdana" panose="020B0604030504040204" pitchFamily="34" charset="0"/>
              </a:rPr>
              <a:t>P(A or B) = P(A) + P(B) − P(A and B)</a:t>
            </a:r>
          </a:p>
          <a:p>
            <a:r>
              <a:rPr lang="en-US" b="0" i="1" dirty="0">
                <a:solidFill>
                  <a:srgbClr val="333333"/>
                </a:solidFill>
                <a:effectLst/>
                <a:latin typeface="Verdana" panose="020B0604030504040204" pitchFamily="34" charset="0"/>
              </a:rPr>
              <a:t>"The probability of A </a:t>
            </a:r>
            <a:r>
              <a:rPr lang="en-US" b="1" i="1" dirty="0">
                <a:solidFill>
                  <a:srgbClr val="333333"/>
                </a:solidFill>
                <a:effectLst/>
                <a:latin typeface="Verdana" panose="020B0604030504040204" pitchFamily="34" charset="0"/>
              </a:rPr>
              <a:t>or</a:t>
            </a:r>
            <a:r>
              <a:rPr lang="en-US" b="0" i="1" dirty="0">
                <a:solidFill>
                  <a:srgbClr val="333333"/>
                </a:solidFill>
                <a:effectLst/>
                <a:latin typeface="Verdana" panose="020B0604030504040204" pitchFamily="34" charset="0"/>
              </a:rPr>
              <a:t> B equals the probability of A </a:t>
            </a:r>
            <a:r>
              <a:rPr lang="en-US" b="1" i="1" dirty="0">
                <a:solidFill>
                  <a:srgbClr val="333333"/>
                </a:solidFill>
                <a:effectLst/>
                <a:latin typeface="Verdana" panose="020B0604030504040204" pitchFamily="34" charset="0"/>
              </a:rPr>
              <a:t>plus</a:t>
            </a:r>
            <a:r>
              <a:rPr lang="en-US" b="0" i="1" dirty="0">
                <a:solidFill>
                  <a:srgbClr val="333333"/>
                </a:solidFill>
                <a:effectLst/>
                <a:latin typeface="Verdana" panose="020B0604030504040204" pitchFamily="34" charset="0"/>
              </a:rPr>
              <a:t> the probability of B</a:t>
            </a:r>
            <a:br>
              <a:rPr lang="en-US" b="0" i="1" dirty="0">
                <a:solidFill>
                  <a:srgbClr val="333333"/>
                </a:solidFill>
                <a:effectLst/>
                <a:latin typeface="Verdana" panose="020B0604030504040204" pitchFamily="34" charset="0"/>
              </a:rPr>
            </a:br>
            <a:r>
              <a:rPr lang="en-US" b="1" i="1" dirty="0">
                <a:solidFill>
                  <a:srgbClr val="333333"/>
                </a:solidFill>
                <a:effectLst/>
                <a:latin typeface="Verdana" panose="020B0604030504040204" pitchFamily="34" charset="0"/>
              </a:rPr>
              <a:t>minus</a:t>
            </a:r>
            <a:r>
              <a:rPr lang="en-US" b="0" i="1" dirty="0">
                <a:solidFill>
                  <a:srgbClr val="333333"/>
                </a:solidFill>
                <a:effectLst/>
                <a:latin typeface="Verdana" panose="020B0604030504040204" pitchFamily="34" charset="0"/>
              </a:rPr>
              <a:t> the probability of A </a:t>
            </a:r>
            <a:r>
              <a:rPr lang="en-US" b="1" i="1" dirty="0">
                <a:solidFill>
                  <a:srgbClr val="333333"/>
                </a:solidFill>
                <a:effectLst/>
                <a:latin typeface="Verdana" panose="020B0604030504040204" pitchFamily="34" charset="0"/>
              </a:rPr>
              <a:t>and</a:t>
            </a:r>
            <a:r>
              <a:rPr lang="en-US" b="0" i="1" dirty="0">
                <a:solidFill>
                  <a:srgbClr val="333333"/>
                </a:solidFill>
                <a:effectLst/>
                <a:latin typeface="Verdana" panose="020B0604030504040204" pitchFamily="34" charset="0"/>
              </a:rPr>
              <a:t> B“</a:t>
            </a:r>
          </a:p>
          <a:p>
            <a:r>
              <a:rPr lang="en-US" i="1" dirty="0">
                <a:solidFill>
                  <a:srgbClr val="333333"/>
                </a:solidFill>
                <a:latin typeface="Verdana" panose="020B0604030504040204" pitchFamily="34" charset="0"/>
              </a:rPr>
              <a:t>Ex : 16 people study French, 21 study Spanish and there are 30 altogether. Work out the probabilities!</a:t>
            </a:r>
          </a:p>
          <a:p>
            <a:r>
              <a:rPr lang="en-US" b="0" i="0" dirty="0">
                <a:solidFill>
                  <a:srgbClr val="333333"/>
                </a:solidFill>
                <a:effectLst/>
                <a:latin typeface="Verdana" panose="020B0604030504040204" pitchFamily="34" charset="0"/>
              </a:rPr>
              <a:t>This is definitely a case of </a:t>
            </a:r>
            <a:r>
              <a:rPr lang="en-US" b="1" i="0" dirty="0">
                <a:solidFill>
                  <a:srgbClr val="333333"/>
                </a:solidFill>
                <a:effectLst/>
                <a:latin typeface="Verdana" panose="020B0604030504040204" pitchFamily="34" charset="0"/>
              </a:rPr>
              <a:t>not</a:t>
            </a:r>
            <a:r>
              <a:rPr lang="en-US" b="0" i="0" dirty="0">
                <a:solidFill>
                  <a:srgbClr val="333333"/>
                </a:solidFill>
                <a:effectLst/>
                <a:latin typeface="Verdana" panose="020B0604030504040204" pitchFamily="34" charset="0"/>
              </a:rPr>
              <a:t> Mutually Exclusive (you can study French AND Spanish).</a:t>
            </a:r>
            <a:endParaRPr lang="en-US" b="0" i="1" dirty="0">
              <a:solidFill>
                <a:srgbClr val="333333"/>
              </a:solidFill>
              <a:effectLst/>
              <a:latin typeface="Verdana" panose="020B0604030504040204" pitchFamily="34" charset="0"/>
            </a:endParaRPr>
          </a:p>
          <a:p>
            <a:pPr algn="l"/>
            <a:r>
              <a:rPr lang="en-US" b="0" i="0" dirty="0">
                <a:solidFill>
                  <a:srgbClr val="333333"/>
                </a:solidFill>
                <a:effectLst/>
                <a:latin typeface="Verdana" panose="020B0604030504040204" pitchFamily="34" charset="0"/>
              </a:rPr>
              <a:t>Let's say </a:t>
            </a:r>
            <a:r>
              <a:rPr lang="en-US" b="1" i="0" dirty="0">
                <a:solidFill>
                  <a:srgbClr val="333333"/>
                </a:solidFill>
                <a:effectLst/>
                <a:latin typeface="Verdana" panose="020B0604030504040204" pitchFamily="34" charset="0"/>
              </a:rPr>
              <a:t>b</a:t>
            </a:r>
            <a:r>
              <a:rPr lang="en-US" b="0" i="0" dirty="0">
                <a:solidFill>
                  <a:srgbClr val="333333"/>
                </a:solidFill>
                <a:effectLst/>
                <a:latin typeface="Verdana" panose="020B0604030504040204" pitchFamily="34" charset="0"/>
              </a:rPr>
              <a:t> is how many study both languages:</a:t>
            </a:r>
          </a:p>
          <a:p>
            <a:pPr lvl="1">
              <a:buFont typeface="Arial" panose="020B0604020202020204" pitchFamily="34" charset="0"/>
              <a:buChar char="•"/>
            </a:pPr>
            <a:r>
              <a:rPr lang="en-US" b="0" i="0" dirty="0">
                <a:solidFill>
                  <a:srgbClr val="333333"/>
                </a:solidFill>
                <a:effectLst/>
                <a:latin typeface="Verdana" panose="020B0604030504040204" pitchFamily="34" charset="0"/>
              </a:rPr>
              <a:t>people studying French Only must be 16-b</a:t>
            </a:r>
          </a:p>
          <a:p>
            <a:pPr lvl="1">
              <a:buFont typeface="Arial" panose="020B0604020202020204" pitchFamily="34" charset="0"/>
              <a:buChar char="•"/>
            </a:pPr>
            <a:r>
              <a:rPr lang="en-US" b="0" i="0" dirty="0">
                <a:solidFill>
                  <a:srgbClr val="333333"/>
                </a:solidFill>
                <a:effectLst/>
                <a:latin typeface="Verdana" panose="020B0604030504040204" pitchFamily="34" charset="0"/>
              </a:rPr>
              <a:t>people studying Spanish Only must be 21-b</a:t>
            </a:r>
          </a:p>
          <a:p>
            <a:r>
              <a:rPr lang="en-US" b="1" i="0" dirty="0">
                <a:solidFill>
                  <a:srgbClr val="296BC2"/>
                </a:solidFill>
                <a:effectLst/>
                <a:latin typeface="Verdana" panose="020B0604030504040204" pitchFamily="34" charset="0"/>
              </a:rPr>
              <a:t>And we get : </a:t>
            </a:r>
          </a:p>
          <a:p>
            <a:endParaRPr lang="en-US" dirty="0"/>
          </a:p>
        </p:txBody>
      </p:sp>
      <p:pic>
        <p:nvPicPr>
          <p:cNvPr id="5" name="Picture 4">
            <a:extLst>
              <a:ext uri="{FF2B5EF4-FFF2-40B4-BE49-F238E27FC236}">
                <a16:creationId xmlns:a16="http://schemas.microsoft.com/office/drawing/2014/main" id="{09BDB48C-2C80-4EBF-A09F-0ED942636CAE}"/>
              </a:ext>
            </a:extLst>
          </p:cNvPr>
          <p:cNvPicPr>
            <a:picLocks noChangeAspect="1"/>
          </p:cNvPicPr>
          <p:nvPr/>
        </p:nvPicPr>
        <p:blipFill>
          <a:blip r:embed="rId2"/>
          <a:stretch>
            <a:fillRect/>
          </a:stretch>
        </p:blipFill>
        <p:spPr>
          <a:xfrm>
            <a:off x="4118072" y="3152775"/>
            <a:ext cx="4286250" cy="1990725"/>
          </a:xfrm>
          <a:prstGeom prst="rect">
            <a:avLst/>
          </a:prstGeom>
        </p:spPr>
      </p:pic>
    </p:spTree>
    <p:extLst>
      <p:ext uri="{BB962C8B-B14F-4D97-AF65-F5344CB8AC3E}">
        <p14:creationId xmlns:p14="http://schemas.microsoft.com/office/powerpoint/2010/main" val="530449741"/>
      </p:ext>
    </p:extLst>
  </p:cSld>
  <p:clrMapOvr>
    <a:masterClrMapping/>
  </p:clrMapOvr>
  <p:transition spd="med">
    <p:wipe dir="r"/>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CFC882-A288-45FD-9593-6B2F8D5668BA}"/>
              </a:ext>
            </a:extLst>
          </p:cNvPr>
          <p:cNvSpPr>
            <a:spLocks noGrp="1"/>
          </p:cNvSpPr>
          <p:nvPr>
            <p:ph type="title"/>
          </p:nvPr>
        </p:nvSpPr>
        <p:spPr>
          <a:xfrm>
            <a:off x="0" y="0"/>
            <a:ext cx="8870950" cy="640080"/>
          </a:xfrm>
        </p:spPr>
        <p:txBody>
          <a:bodyPr/>
          <a:lstStyle/>
          <a:p>
            <a:r>
              <a:rPr lang="en-US" sz="2800" b="1" dirty="0"/>
              <a:t>When events are not Mutually exclusive – be careful in calculation !!</a:t>
            </a:r>
            <a:endParaRPr lang="en-US" dirty="0"/>
          </a:p>
        </p:txBody>
      </p:sp>
      <p:pic>
        <p:nvPicPr>
          <p:cNvPr id="5" name="Content Placeholder 4">
            <a:extLst>
              <a:ext uri="{FF2B5EF4-FFF2-40B4-BE49-F238E27FC236}">
                <a16:creationId xmlns:a16="http://schemas.microsoft.com/office/drawing/2014/main" id="{9518B9F0-73A4-45CF-AB04-F2591F776DA0}"/>
              </a:ext>
            </a:extLst>
          </p:cNvPr>
          <p:cNvPicPr>
            <a:picLocks noGrp="1" noChangeAspect="1"/>
          </p:cNvPicPr>
          <p:nvPr>
            <p:ph sz="half" idx="13"/>
          </p:nvPr>
        </p:nvPicPr>
        <p:blipFill>
          <a:blip r:embed="rId2"/>
          <a:stretch>
            <a:fillRect/>
          </a:stretch>
        </p:blipFill>
        <p:spPr>
          <a:xfrm>
            <a:off x="222202" y="1680156"/>
            <a:ext cx="4283075" cy="1673201"/>
          </a:xfrm>
        </p:spPr>
      </p:pic>
      <p:pic>
        <p:nvPicPr>
          <p:cNvPr id="6" name="Picture 5">
            <a:extLst>
              <a:ext uri="{FF2B5EF4-FFF2-40B4-BE49-F238E27FC236}">
                <a16:creationId xmlns:a16="http://schemas.microsoft.com/office/drawing/2014/main" id="{09BDB48C-2C80-4EBF-A09F-0ED942636CAE}"/>
              </a:ext>
            </a:extLst>
          </p:cNvPr>
          <p:cNvPicPr>
            <a:picLocks noChangeAspect="1"/>
          </p:cNvPicPr>
          <p:nvPr/>
        </p:nvPicPr>
        <p:blipFill>
          <a:blip r:embed="rId3"/>
          <a:stretch>
            <a:fillRect/>
          </a:stretch>
        </p:blipFill>
        <p:spPr>
          <a:xfrm>
            <a:off x="5319210" y="898548"/>
            <a:ext cx="3602588" cy="1673202"/>
          </a:xfrm>
          <a:prstGeom prst="rect">
            <a:avLst/>
          </a:prstGeom>
        </p:spPr>
      </p:pic>
      <p:pic>
        <p:nvPicPr>
          <p:cNvPr id="8" name="Picture 7">
            <a:extLst>
              <a:ext uri="{FF2B5EF4-FFF2-40B4-BE49-F238E27FC236}">
                <a16:creationId xmlns:a16="http://schemas.microsoft.com/office/drawing/2014/main" id="{642F7A70-E2DC-4B17-9983-FAE6C2260F81}"/>
              </a:ext>
            </a:extLst>
          </p:cNvPr>
          <p:cNvPicPr>
            <a:picLocks noChangeAspect="1"/>
          </p:cNvPicPr>
          <p:nvPr/>
        </p:nvPicPr>
        <p:blipFill>
          <a:blip r:embed="rId4"/>
          <a:stretch>
            <a:fillRect/>
          </a:stretch>
        </p:blipFill>
        <p:spPr>
          <a:xfrm>
            <a:off x="5319210" y="2830218"/>
            <a:ext cx="3327279" cy="2293699"/>
          </a:xfrm>
          <a:prstGeom prst="rect">
            <a:avLst/>
          </a:prstGeom>
        </p:spPr>
      </p:pic>
    </p:spTree>
    <p:extLst>
      <p:ext uri="{BB962C8B-B14F-4D97-AF65-F5344CB8AC3E}">
        <p14:creationId xmlns:p14="http://schemas.microsoft.com/office/powerpoint/2010/main" val="1439727634"/>
      </p:ext>
    </p:extLst>
  </p:cSld>
  <p:clrMapOvr>
    <a:masterClrMapping/>
  </p:clrMapOvr>
  <p:transition spd="med">
    <p:wipe dir="r"/>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58696-9149-47EB-8E43-B196679F66E4}"/>
              </a:ext>
            </a:extLst>
          </p:cNvPr>
          <p:cNvSpPr>
            <a:spLocks noGrp="1"/>
          </p:cNvSpPr>
          <p:nvPr>
            <p:ph type="title"/>
          </p:nvPr>
        </p:nvSpPr>
        <p:spPr>
          <a:xfrm>
            <a:off x="0" y="0"/>
            <a:ext cx="8403280" cy="640080"/>
          </a:xfrm>
        </p:spPr>
        <p:txBody>
          <a:bodyPr/>
          <a:lstStyle/>
          <a:p>
            <a:r>
              <a:rPr lang="en-US" dirty="0"/>
              <a:t>Conditional Probability </a:t>
            </a:r>
          </a:p>
        </p:txBody>
      </p:sp>
      <p:sp>
        <p:nvSpPr>
          <p:cNvPr id="3" name="Content Placeholder 2">
            <a:extLst>
              <a:ext uri="{FF2B5EF4-FFF2-40B4-BE49-F238E27FC236}">
                <a16:creationId xmlns:a16="http://schemas.microsoft.com/office/drawing/2014/main" id="{26AD090B-12C7-4967-A976-4F12D11DC926}"/>
              </a:ext>
            </a:extLst>
          </p:cNvPr>
          <p:cNvSpPr>
            <a:spLocks noGrp="1"/>
          </p:cNvSpPr>
          <p:nvPr>
            <p:ph sz="half" idx="13"/>
          </p:nvPr>
        </p:nvSpPr>
        <p:spPr>
          <a:xfrm>
            <a:off x="50955" y="755165"/>
            <a:ext cx="8403279" cy="3200400"/>
          </a:xfrm>
        </p:spPr>
        <p:txBody>
          <a:bodyPr>
            <a:normAutofit/>
          </a:bodyPr>
          <a:lstStyle/>
          <a:p>
            <a:pPr marL="0" indent="0">
              <a:buNone/>
            </a:pPr>
            <a:r>
              <a:rPr lang="en-US" dirty="0"/>
              <a:t>Conditional probability is defined as the likelihood of an event or outcome occurring, based on the occurrence of a previous event or outcome. </a:t>
            </a:r>
          </a:p>
          <a:p>
            <a:pPr marL="0" indent="0">
              <a:buNone/>
            </a:pPr>
            <a:r>
              <a:rPr lang="en-US" dirty="0"/>
              <a:t>Conditional probability is calculated by multiplying the probability of the preceding event by the updated probability of the succeeding, or conditional, event.</a:t>
            </a:r>
          </a:p>
          <a:p>
            <a:pPr marL="0" indent="0">
              <a:buNone/>
            </a:pPr>
            <a:r>
              <a:rPr lang="en-US" b="1" i="1" dirty="0"/>
              <a:t>For example 1:</a:t>
            </a:r>
          </a:p>
          <a:p>
            <a:r>
              <a:rPr lang="en-US" dirty="0"/>
              <a:t>Event A is that an individual applying for college will be accepted. There is an 80% chance that this individual will be accepted to college</a:t>
            </a:r>
          </a:p>
          <a:p>
            <a:r>
              <a:rPr lang="en-US" dirty="0"/>
              <a:t>Event B is that this individual will be given dormitory housing. Dormitory housing will only be provided for 60% of all of the accepted students</a:t>
            </a:r>
          </a:p>
          <a:p>
            <a:r>
              <a:rPr lang="en-US" dirty="0"/>
              <a:t>P (Accepted and dormitory housing) = P (Dormitory Housing | Accepted) P (Accepted) = (0.60)*(0.80) = 0.48</a:t>
            </a:r>
          </a:p>
        </p:txBody>
      </p:sp>
      <mc:AlternateContent xmlns:mc="http://schemas.openxmlformats.org/markup-compatibility/2006">
        <mc:Choice xmlns:p14="http://schemas.microsoft.com/office/powerpoint/2010/main" Requires="p14">
          <p:contentPart p14:bwMode="auto" r:id="rId2">
            <p14:nvContentPartPr>
              <p14:cNvPr id="6" name="Ink 5">
                <a:extLst>
                  <a:ext uri="{FF2B5EF4-FFF2-40B4-BE49-F238E27FC236}">
                    <a16:creationId xmlns:a16="http://schemas.microsoft.com/office/drawing/2014/main" id="{F4B08EE3-AB6D-4D16-B6F9-219D8770DCE6}"/>
                  </a:ext>
                </a:extLst>
              </p14:cNvPr>
              <p14:cNvContentPartPr/>
              <p14:nvPr/>
            </p14:nvContentPartPr>
            <p14:xfrm>
              <a:off x="14400" y="52560"/>
              <a:ext cx="9063360" cy="4867560"/>
            </p14:xfrm>
          </p:contentPart>
        </mc:Choice>
        <mc:Fallback>
          <p:pic>
            <p:nvPicPr>
              <p:cNvPr id="6" name="Ink 5">
                <a:extLst>
                  <a:ext uri="{FF2B5EF4-FFF2-40B4-BE49-F238E27FC236}">
                    <a16:creationId xmlns:a16="http://schemas.microsoft.com/office/drawing/2014/main" id="{F4B08EE3-AB6D-4D16-B6F9-219D8770DCE6}"/>
                  </a:ext>
                </a:extLst>
              </p:cNvPr>
              <p:cNvPicPr/>
              <p:nvPr/>
            </p:nvPicPr>
            <p:blipFill>
              <a:blip r:embed="rId3"/>
              <a:stretch>
                <a:fillRect/>
              </a:stretch>
            </p:blipFill>
            <p:spPr>
              <a:xfrm>
                <a:off x="5040" y="43200"/>
                <a:ext cx="9082080" cy="4886280"/>
              </a:xfrm>
              <a:prstGeom prst="rect">
                <a:avLst/>
              </a:prstGeom>
            </p:spPr>
          </p:pic>
        </mc:Fallback>
      </mc:AlternateContent>
    </p:spTree>
    <p:extLst>
      <p:ext uri="{BB962C8B-B14F-4D97-AF65-F5344CB8AC3E}">
        <p14:creationId xmlns:p14="http://schemas.microsoft.com/office/powerpoint/2010/main" val="4208994390"/>
      </p:ext>
    </p:extLst>
  </p:cSld>
  <p:clrMapOvr>
    <a:masterClrMapping/>
  </p:clrMapOvr>
  <p:transition spd="med">
    <p:wipe dir="r"/>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2F9964-4109-42D4-96B6-0A1C7BEE0B40}"/>
              </a:ext>
            </a:extLst>
          </p:cNvPr>
          <p:cNvSpPr>
            <a:spLocks noGrp="1"/>
          </p:cNvSpPr>
          <p:nvPr>
            <p:ph type="title"/>
          </p:nvPr>
        </p:nvSpPr>
        <p:spPr>
          <a:xfrm>
            <a:off x="0" y="0"/>
            <a:ext cx="8480061" cy="640080"/>
          </a:xfrm>
        </p:spPr>
        <p:txBody>
          <a:bodyPr/>
          <a:lstStyle/>
          <a:p>
            <a:r>
              <a:rPr lang="en-US" dirty="0"/>
              <a:t>Conditional Probability – Example 2  </a:t>
            </a:r>
          </a:p>
        </p:txBody>
      </p:sp>
      <p:sp>
        <p:nvSpPr>
          <p:cNvPr id="3" name="Content Placeholder 2">
            <a:extLst>
              <a:ext uri="{FF2B5EF4-FFF2-40B4-BE49-F238E27FC236}">
                <a16:creationId xmlns:a16="http://schemas.microsoft.com/office/drawing/2014/main" id="{7DEBAB6C-F80A-4991-ADF3-C0346E2F5407}"/>
              </a:ext>
            </a:extLst>
          </p:cNvPr>
          <p:cNvSpPr>
            <a:spLocks noGrp="1"/>
          </p:cNvSpPr>
          <p:nvPr>
            <p:ph sz="half" idx="13"/>
          </p:nvPr>
        </p:nvSpPr>
        <p:spPr>
          <a:xfrm>
            <a:off x="169617" y="651510"/>
            <a:ext cx="7920379" cy="3840480"/>
          </a:xfrm>
        </p:spPr>
        <p:txBody>
          <a:bodyPr/>
          <a:lstStyle/>
          <a:p>
            <a:pPr algn="l"/>
            <a:r>
              <a:rPr lang="en-US" b="0" i="0" dirty="0">
                <a:solidFill>
                  <a:srgbClr val="333333"/>
                </a:solidFill>
                <a:effectLst/>
                <a:latin typeface="Verdana" panose="020B0604030504040204" pitchFamily="34" charset="0"/>
              </a:rPr>
              <a:t>Example: Drawing 2 Kings from a Deck</a:t>
            </a:r>
          </a:p>
          <a:p>
            <a:pPr algn="l"/>
            <a:r>
              <a:rPr lang="en-US" b="1" i="0" dirty="0">
                <a:solidFill>
                  <a:srgbClr val="333333"/>
                </a:solidFill>
                <a:effectLst/>
                <a:latin typeface="Verdana" panose="020B0604030504040204" pitchFamily="34" charset="0"/>
              </a:rPr>
              <a:t>Event A</a:t>
            </a:r>
            <a:r>
              <a:rPr lang="en-US" b="0" i="0" dirty="0">
                <a:solidFill>
                  <a:srgbClr val="333333"/>
                </a:solidFill>
                <a:effectLst/>
                <a:latin typeface="Verdana" panose="020B0604030504040204" pitchFamily="34" charset="0"/>
              </a:rPr>
              <a:t> is drawing a King first, and </a:t>
            </a:r>
            <a:r>
              <a:rPr lang="en-US" b="1" i="0" dirty="0">
                <a:solidFill>
                  <a:srgbClr val="333333"/>
                </a:solidFill>
                <a:effectLst/>
                <a:latin typeface="Verdana" panose="020B0604030504040204" pitchFamily="34" charset="0"/>
              </a:rPr>
              <a:t>Event B</a:t>
            </a:r>
            <a:r>
              <a:rPr lang="en-US" b="0" i="0" dirty="0">
                <a:solidFill>
                  <a:srgbClr val="333333"/>
                </a:solidFill>
                <a:effectLst/>
                <a:latin typeface="Verdana" panose="020B0604030504040204" pitchFamily="34" charset="0"/>
              </a:rPr>
              <a:t> is drawing a King second.</a:t>
            </a:r>
          </a:p>
          <a:p>
            <a:pPr algn="l"/>
            <a:r>
              <a:rPr lang="en-US" b="0" i="0" dirty="0">
                <a:solidFill>
                  <a:srgbClr val="333333"/>
                </a:solidFill>
                <a:effectLst/>
                <a:latin typeface="Verdana" panose="020B0604030504040204" pitchFamily="34" charset="0"/>
              </a:rPr>
              <a:t>For the first card the chance of drawing a King is 4 out of 52 (there are 4 Kings in a deck of 52 cards):</a:t>
            </a:r>
          </a:p>
          <a:p>
            <a:r>
              <a:rPr lang="en-US" dirty="0"/>
              <a:t>P(A)</a:t>
            </a:r>
          </a:p>
          <a:p>
            <a:endParaRPr lang="en-US" dirty="0"/>
          </a:p>
          <a:p>
            <a:r>
              <a:rPr lang="en-US" dirty="0"/>
              <a:t>P(B|A) </a:t>
            </a:r>
          </a:p>
          <a:p>
            <a:endParaRPr lang="en-US" dirty="0"/>
          </a:p>
          <a:p>
            <a:r>
              <a:rPr lang="en-US" dirty="0"/>
              <a:t>So P(A and B) = P(A) x P(B|A) = </a:t>
            </a:r>
          </a:p>
          <a:p>
            <a:endParaRPr lang="en-US" dirty="0"/>
          </a:p>
          <a:p>
            <a:r>
              <a:rPr lang="en-US" dirty="0"/>
              <a:t>So the chance of getting 2 kings is 1 in 221 or about 0.5%</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344EC0F9-14E6-47D2-8EAA-F92017707D80}"/>
                  </a:ext>
                </a:extLst>
              </p14:cNvPr>
              <p14:cNvContentPartPr/>
              <p14:nvPr/>
            </p14:nvContentPartPr>
            <p14:xfrm>
              <a:off x="252360" y="185760"/>
              <a:ext cx="8344440" cy="4291200"/>
            </p14:xfrm>
          </p:contentPart>
        </mc:Choice>
        <mc:Fallback>
          <p:pic>
            <p:nvPicPr>
              <p:cNvPr id="4" name="Ink 3">
                <a:extLst>
                  <a:ext uri="{FF2B5EF4-FFF2-40B4-BE49-F238E27FC236}">
                    <a16:creationId xmlns:a16="http://schemas.microsoft.com/office/drawing/2014/main" id="{344EC0F9-14E6-47D2-8EAA-F92017707D80}"/>
                  </a:ext>
                </a:extLst>
              </p:cNvPr>
              <p:cNvPicPr/>
              <p:nvPr/>
            </p:nvPicPr>
            <p:blipFill>
              <a:blip r:embed="rId3"/>
              <a:stretch>
                <a:fillRect/>
              </a:stretch>
            </p:blipFill>
            <p:spPr>
              <a:xfrm>
                <a:off x="243000" y="176400"/>
                <a:ext cx="8363160" cy="4309920"/>
              </a:xfrm>
              <a:prstGeom prst="rect">
                <a:avLst/>
              </a:prstGeom>
            </p:spPr>
          </p:pic>
        </mc:Fallback>
      </mc:AlternateContent>
    </p:spTree>
    <p:extLst>
      <p:ext uri="{BB962C8B-B14F-4D97-AF65-F5344CB8AC3E}">
        <p14:creationId xmlns:p14="http://schemas.microsoft.com/office/powerpoint/2010/main" val="1225009534"/>
      </p:ext>
    </p:extLst>
  </p:cSld>
  <p:clrMapOvr>
    <a:masterClrMapping/>
  </p:clrMapOvr>
  <p:transition spd="med">
    <p:wipe dir="r"/>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11E3D1-25CE-4C5A-B60B-A6104E3A7DE8}"/>
              </a:ext>
            </a:extLst>
          </p:cNvPr>
          <p:cNvSpPr>
            <a:spLocks noGrp="1"/>
          </p:cNvSpPr>
          <p:nvPr>
            <p:ph type="title"/>
          </p:nvPr>
        </p:nvSpPr>
        <p:spPr>
          <a:xfrm>
            <a:off x="0" y="0"/>
            <a:ext cx="6986309" cy="640080"/>
          </a:xfrm>
        </p:spPr>
        <p:txBody>
          <a:bodyPr/>
          <a:lstStyle/>
          <a:p>
            <a:r>
              <a:rPr lang="en-US" dirty="0"/>
              <a:t>Conditional Probability</a:t>
            </a:r>
          </a:p>
        </p:txBody>
      </p:sp>
      <p:sp>
        <p:nvSpPr>
          <p:cNvPr id="3" name="Content Placeholder 2">
            <a:extLst>
              <a:ext uri="{FF2B5EF4-FFF2-40B4-BE49-F238E27FC236}">
                <a16:creationId xmlns:a16="http://schemas.microsoft.com/office/drawing/2014/main" id="{842FE6C6-F76D-482F-B871-FE650489DF41}"/>
              </a:ext>
            </a:extLst>
          </p:cNvPr>
          <p:cNvSpPr>
            <a:spLocks noGrp="1"/>
          </p:cNvSpPr>
          <p:nvPr>
            <p:ph sz="half" idx="13"/>
          </p:nvPr>
        </p:nvSpPr>
        <p:spPr>
          <a:xfrm>
            <a:off x="141697" y="554224"/>
            <a:ext cx="8213546" cy="2565904"/>
          </a:xfrm>
        </p:spPr>
        <p:txBody>
          <a:bodyPr/>
          <a:lstStyle/>
          <a:p>
            <a:r>
              <a:rPr lang="en-US" dirty="0"/>
              <a:t>Using Algebra, we can also "change the subject" of the formula, like this:</a:t>
            </a:r>
          </a:p>
          <a:p>
            <a:pPr marL="0" indent="0">
              <a:buNone/>
            </a:pPr>
            <a:endParaRPr lang="en-US" dirty="0"/>
          </a:p>
          <a:p>
            <a:r>
              <a:rPr lang="en-US" dirty="0"/>
              <a:t>Start with:	 	P(A and B) = P(A) x P(B|A)</a:t>
            </a:r>
          </a:p>
          <a:p>
            <a:r>
              <a:rPr lang="en-US" dirty="0"/>
              <a:t>Swap sides:	 	P(A) x P(B|A) = P(A and B)</a:t>
            </a:r>
          </a:p>
          <a:p>
            <a:r>
              <a:rPr lang="en-US" dirty="0"/>
              <a:t>Divide by P(A):	 	P(B|A) = P(A and B) / P(A)</a:t>
            </a:r>
          </a:p>
          <a:p>
            <a:r>
              <a:rPr lang="en-US" dirty="0"/>
              <a:t>And we have another useful formula:</a:t>
            </a:r>
          </a:p>
        </p:txBody>
      </p:sp>
      <p:pic>
        <p:nvPicPr>
          <p:cNvPr id="9" name="Picture 8">
            <a:extLst>
              <a:ext uri="{FF2B5EF4-FFF2-40B4-BE49-F238E27FC236}">
                <a16:creationId xmlns:a16="http://schemas.microsoft.com/office/drawing/2014/main" id="{EC2A5FF6-041D-40AF-B60C-369C1F090A28}"/>
              </a:ext>
            </a:extLst>
          </p:cNvPr>
          <p:cNvPicPr>
            <a:picLocks noChangeAspect="1"/>
          </p:cNvPicPr>
          <p:nvPr/>
        </p:nvPicPr>
        <p:blipFill>
          <a:blip r:embed="rId2"/>
          <a:stretch>
            <a:fillRect/>
          </a:stretch>
        </p:blipFill>
        <p:spPr>
          <a:xfrm>
            <a:off x="2112150" y="2992994"/>
            <a:ext cx="4514850" cy="1209675"/>
          </a:xfrm>
          <a:prstGeom prst="rect">
            <a:avLst/>
          </a:prstGeom>
        </p:spPr>
      </p:pic>
      <mc:AlternateContent xmlns:mc="http://schemas.openxmlformats.org/markup-compatibility/2006">
        <mc:Choice xmlns:p14="http://schemas.microsoft.com/office/powerpoint/2010/main" Requires="p14">
          <p:contentPart p14:bwMode="auto" r:id="rId3">
            <p14:nvContentPartPr>
              <p14:cNvPr id="10" name="Ink 9">
                <a:extLst>
                  <a:ext uri="{FF2B5EF4-FFF2-40B4-BE49-F238E27FC236}">
                    <a16:creationId xmlns:a16="http://schemas.microsoft.com/office/drawing/2014/main" id="{1F0E3C5A-AE0E-4082-B987-9C69A8385811}"/>
                  </a:ext>
                </a:extLst>
              </p14:cNvPr>
              <p14:cNvContentPartPr/>
              <p14:nvPr/>
            </p14:nvContentPartPr>
            <p14:xfrm>
              <a:off x="1595520" y="847800"/>
              <a:ext cx="7472520" cy="3519720"/>
            </p14:xfrm>
          </p:contentPart>
        </mc:Choice>
        <mc:Fallback>
          <p:pic>
            <p:nvPicPr>
              <p:cNvPr id="10" name="Ink 9">
                <a:extLst>
                  <a:ext uri="{FF2B5EF4-FFF2-40B4-BE49-F238E27FC236}">
                    <a16:creationId xmlns:a16="http://schemas.microsoft.com/office/drawing/2014/main" id="{1F0E3C5A-AE0E-4082-B987-9C69A8385811}"/>
                  </a:ext>
                </a:extLst>
              </p:cNvPr>
              <p:cNvPicPr/>
              <p:nvPr/>
            </p:nvPicPr>
            <p:blipFill>
              <a:blip r:embed="rId4"/>
              <a:stretch>
                <a:fillRect/>
              </a:stretch>
            </p:blipFill>
            <p:spPr>
              <a:xfrm>
                <a:off x="1586160" y="838440"/>
                <a:ext cx="7491240" cy="3538440"/>
              </a:xfrm>
              <a:prstGeom prst="rect">
                <a:avLst/>
              </a:prstGeom>
            </p:spPr>
          </p:pic>
        </mc:Fallback>
      </mc:AlternateContent>
    </p:spTree>
    <p:extLst>
      <p:ext uri="{BB962C8B-B14F-4D97-AF65-F5344CB8AC3E}">
        <p14:creationId xmlns:p14="http://schemas.microsoft.com/office/powerpoint/2010/main" val="3950949611"/>
      </p:ext>
    </p:extLst>
  </p:cSld>
  <p:clrMapOvr>
    <a:masterClrMapping/>
  </p:clrMapOvr>
  <p:transition spd="med">
    <p:wipe dir="r"/>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F179B-85F5-4BD9-9E6D-1DFAEDA053DA}"/>
              </a:ext>
            </a:extLst>
          </p:cNvPr>
          <p:cNvSpPr>
            <a:spLocks noGrp="1"/>
          </p:cNvSpPr>
          <p:nvPr>
            <p:ph type="title"/>
          </p:nvPr>
        </p:nvSpPr>
        <p:spPr>
          <a:xfrm>
            <a:off x="0" y="22860"/>
            <a:ext cx="4295219" cy="640080"/>
          </a:xfrm>
        </p:spPr>
        <p:txBody>
          <a:bodyPr/>
          <a:lstStyle/>
          <a:p>
            <a:r>
              <a:rPr lang="en-US" dirty="0"/>
              <a:t>Conditional Probability</a:t>
            </a:r>
          </a:p>
        </p:txBody>
      </p:sp>
      <p:sp>
        <p:nvSpPr>
          <p:cNvPr id="3" name="Content Placeholder 2">
            <a:extLst>
              <a:ext uri="{FF2B5EF4-FFF2-40B4-BE49-F238E27FC236}">
                <a16:creationId xmlns:a16="http://schemas.microsoft.com/office/drawing/2014/main" id="{608194AB-29D1-44FC-B8C1-7D368129B071}"/>
              </a:ext>
            </a:extLst>
          </p:cNvPr>
          <p:cNvSpPr>
            <a:spLocks noGrp="1"/>
          </p:cNvSpPr>
          <p:nvPr>
            <p:ph sz="half" idx="13"/>
          </p:nvPr>
        </p:nvSpPr>
        <p:spPr>
          <a:xfrm>
            <a:off x="204517" y="889272"/>
            <a:ext cx="8534633" cy="3200400"/>
          </a:xfrm>
        </p:spPr>
        <p:txBody>
          <a:bodyPr/>
          <a:lstStyle/>
          <a:p>
            <a:pPr algn="l"/>
            <a:r>
              <a:rPr lang="en-US" b="0" i="0" dirty="0">
                <a:solidFill>
                  <a:srgbClr val="333333"/>
                </a:solidFill>
                <a:effectLst/>
                <a:latin typeface="Verdana" panose="020B0604030504040204" pitchFamily="34" charset="0"/>
              </a:rPr>
              <a:t>Example: Ice Cream</a:t>
            </a:r>
          </a:p>
          <a:p>
            <a:pPr algn="l"/>
            <a:r>
              <a:rPr lang="en-US" b="0" i="0" dirty="0">
                <a:solidFill>
                  <a:srgbClr val="333333"/>
                </a:solidFill>
                <a:effectLst/>
                <a:latin typeface="Verdana" panose="020B0604030504040204" pitchFamily="34" charset="0"/>
              </a:rPr>
              <a:t>70% of your friends like Chocolate, and 35% like Chocolate AND like Strawberry.</a:t>
            </a:r>
          </a:p>
          <a:p>
            <a:pPr algn="l"/>
            <a:r>
              <a:rPr lang="en-US" b="0" i="0" dirty="0">
                <a:solidFill>
                  <a:srgbClr val="333333"/>
                </a:solidFill>
                <a:effectLst/>
                <a:latin typeface="Verdana" panose="020B0604030504040204" pitchFamily="34" charset="0"/>
              </a:rPr>
              <a:t>What percent of those who like Chocolate also like Strawberry?</a:t>
            </a:r>
          </a:p>
          <a:p>
            <a:pPr algn="l"/>
            <a:r>
              <a:rPr lang="en-US" b="0" i="0" dirty="0">
                <a:effectLst/>
                <a:latin typeface="Verdana" panose="020B0604030504040204" pitchFamily="34" charset="0"/>
              </a:rPr>
              <a:t>P(</a:t>
            </a:r>
            <a:r>
              <a:rPr lang="en-US" b="0" i="0" dirty="0" err="1">
                <a:effectLst/>
                <a:latin typeface="Verdana" panose="020B0604030504040204" pitchFamily="34" charset="0"/>
              </a:rPr>
              <a:t>Strawberry|Chocolate</a:t>
            </a:r>
            <a:r>
              <a:rPr lang="en-US" b="0" i="0" dirty="0">
                <a:effectLst/>
                <a:latin typeface="Verdana" panose="020B0604030504040204" pitchFamily="34" charset="0"/>
              </a:rPr>
              <a:t>) = P(Chocolate and Strawberry) / P(Chocolate)</a:t>
            </a:r>
          </a:p>
          <a:p>
            <a:pPr algn="l"/>
            <a:endParaRPr lang="en-US" b="0" i="0" dirty="0">
              <a:solidFill>
                <a:srgbClr val="333333"/>
              </a:solidFill>
              <a:effectLst/>
              <a:latin typeface="Verdana" panose="020B0604030504040204" pitchFamily="34" charset="0"/>
            </a:endParaRPr>
          </a:p>
          <a:p>
            <a:pPr algn="l"/>
            <a:endParaRPr lang="en-US" dirty="0">
              <a:solidFill>
                <a:srgbClr val="333333"/>
              </a:solidFill>
              <a:latin typeface="Verdana" panose="020B0604030504040204" pitchFamily="34" charset="0"/>
            </a:endParaRPr>
          </a:p>
          <a:p>
            <a:endParaRPr lang="en-US" dirty="0"/>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4FDABD79-6ACF-46BB-8AF6-7DCB8E0CF688}"/>
                  </a:ext>
                </a:extLst>
              </p14:cNvPr>
              <p14:cNvContentPartPr/>
              <p14:nvPr/>
            </p14:nvContentPartPr>
            <p14:xfrm>
              <a:off x="433440" y="1104840"/>
              <a:ext cx="8463240" cy="2586600"/>
            </p14:xfrm>
          </p:contentPart>
        </mc:Choice>
        <mc:Fallback>
          <p:pic>
            <p:nvPicPr>
              <p:cNvPr id="4" name="Ink 3">
                <a:extLst>
                  <a:ext uri="{FF2B5EF4-FFF2-40B4-BE49-F238E27FC236}">
                    <a16:creationId xmlns:a16="http://schemas.microsoft.com/office/drawing/2014/main" id="{4FDABD79-6ACF-46BB-8AF6-7DCB8E0CF688}"/>
                  </a:ext>
                </a:extLst>
              </p:cNvPr>
              <p:cNvPicPr/>
              <p:nvPr/>
            </p:nvPicPr>
            <p:blipFill>
              <a:blip r:embed="rId3"/>
              <a:stretch>
                <a:fillRect/>
              </a:stretch>
            </p:blipFill>
            <p:spPr>
              <a:xfrm>
                <a:off x="424080" y="1095480"/>
                <a:ext cx="8481960" cy="2605320"/>
              </a:xfrm>
              <a:prstGeom prst="rect">
                <a:avLst/>
              </a:prstGeom>
            </p:spPr>
          </p:pic>
        </mc:Fallback>
      </mc:AlternateContent>
    </p:spTree>
    <p:extLst>
      <p:ext uri="{BB962C8B-B14F-4D97-AF65-F5344CB8AC3E}">
        <p14:creationId xmlns:p14="http://schemas.microsoft.com/office/powerpoint/2010/main" val="982626990"/>
      </p:ext>
    </p:extLst>
  </p:cSld>
  <p:clrMapOvr>
    <a:masterClrMapping/>
  </p:clrMapOvr>
  <p:transition spd="med">
    <p:wipe dir="r"/>
  </p:transition>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EF96E-90B7-46D2-AD75-2CC0774C8934}"/>
              </a:ext>
            </a:extLst>
          </p:cNvPr>
          <p:cNvSpPr>
            <a:spLocks noGrp="1"/>
          </p:cNvSpPr>
          <p:nvPr>
            <p:ph type="title"/>
          </p:nvPr>
        </p:nvSpPr>
        <p:spPr>
          <a:xfrm>
            <a:off x="0" y="22860"/>
            <a:ext cx="7175597" cy="640080"/>
          </a:xfrm>
        </p:spPr>
        <p:txBody>
          <a:bodyPr/>
          <a:lstStyle/>
          <a:p>
            <a:r>
              <a:rPr lang="en-US" dirty="0"/>
              <a:t>Confusion Matrix</a:t>
            </a:r>
          </a:p>
        </p:txBody>
      </p:sp>
      <p:pic>
        <p:nvPicPr>
          <p:cNvPr id="5" name="Content Placeholder 4">
            <a:extLst>
              <a:ext uri="{FF2B5EF4-FFF2-40B4-BE49-F238E27FC236}">
                <a16:creationId xmlns:a16="http://schemas.microsoft.com/office/drawing/2014/main" id="{9920DD8A-BA59-42B7-893A-BAF94EE63290}"/>
              </a:ext>
            </a:extLst>
          </p:cNvPr>
          <p:cNvPicPr>
            <a:picLocks noGrp="1" noChangeAspect="1"/>
          </p:cNvPicPr>
          <p:nvPr>
            <p:ph sz="half" idx="13"/>
          </p:nvPr>
        </p:nvPicPr>
        <p:blipFill>
          <a:blip r:embed="rId2"/>
          <a:stretch>
            <a:fillRect/>
          </a:stretch>
        </p:blipFill>
        <p:spPr>
          <a:xfrm>
            <a:off x="0" y="648872"/>
            <a:ext cx="3741464" cy="1922878"/>
          </a:xfrm>
        </p:spPr>
      </p:pic>
      <p:sp>
        <p:nvSpPr>
          <p:cNvPr id="6" name="TextBox 5">
            <a:extLst>
              <a:ext uri="{FF2B5EF4-FFF2-40B4-BE49-F238E27FC236}">
                <a16:creationId xmlns:a16="http://schemas.microsoft.com/office/drawing/2014/main" id="{2D500167-F1FB-4EED-92FC-77B5F19207F7}"/>
              </a:ext>
            </a:extLst>
          </p:cNvPr>
          <p:cNvSpPr txBox="1"/>
          <p:nvPr/>
        </p:nvSpPr>
        <p:spPr>
          <a:xfrm>
            <a:off x="3915864" y="662940"/>
            <a:ext cx="5109523" cy="861774"/>
          </a:xfrm>
          <a:prstGeom prst="rect">
            <a:avLst/>
          </a:prstGeom>
          <a:noFill/>
        </p:spPr>
        <p:txBody>
          <a:bodyPr wrap="square" rtlCol="0">
            <a:spAutoFit/>
          </a:bodyPr>
          <a:lstStyle/>
          <a:p>
            <a:pPr marL="171450" indent="-171450">
              <a:spcBef>
                <a:spcPts val="0"/>
              </a:spcBef>
              <a:spcAft>
                <a:spcPts val="0"/>
              </a:spcAft>
              <a:buClr>
                <a:schemeClr val="bg1"/>
              </a:buClr>
              <a:buFont typeface="Arial" panose="020B0604020202020204" pitchFamily="34" charset="0"/>
              <a:buChar char="•"/>
            </a:pPr>
            <a:r>
              <a:rPr lang="en-US" sz="1200" b="0" i="0" dirty="0">
                <a:solidFill>
                  <a:srgbClr val="444444"/>
                </a:solidFill>
                <a:effectLst/>
                <a:latin typeface="Open Sans" panose="020B0606030504020204" pitchFamily="34" charset="0"/>
              </a:rPr>
              <a:t>A confusion matrix is a table that is often used to </a:t>
            </a:r>
            <a:r>
              <a:rPr lang="en-US" sz="1200" b="1" i="0" dirty="0">
                <a:solidFill>
                  <a:srgbClr val="444444"/>
                </a:solidFill>
                <a:effectLst/>
                <a:latin typeface="Open Sans" panose="020B0606030504020204" pitchFamily="34" charset="0"/>
              </a:rPr>
              <a:t>describe the performance of a classification model</a:t>
            </a:r>
            <a:r>
              <a:rPr lang="en-US" sz="1200" b="0" i="0" dirty="0">
                <a:solidFill>
                  <a:srgbClr val="444444"/>
                </a:solidFill>
                <a:effectLst/>
                <a:latin typeface="Open Sans" panose="020B0606030504020204" pitchFamily="34" charset="0"/>
              </a:rPr>
              <a:t> (or "classifier") on a set of test data for which the true values are known.</a:t>
            </a:r>
          </a:p>
          <a:p>
            <a:pPr marL="171450" indent="-1714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p:txBody>
      </p:sp>
      <p:sp>
        <p:nvSpPr>
          <p:cNvPr id="7" name="TextBox 6">
            <a:extLst>
              <a:ext uri="{FF2B5EF4-FFF2-40B4-BE49-F238E27FC236}">
                <a16:creationId xmlns:a16="http://schemas.microsoft.com/office/drawing/2014/main" id="{D6E5CE8C-21A6-4A4C-BE62-D7D0F505810D}"/>
              </a:ext>
            </a:extLst>
          </p:cNvPr>
          <p:cNvSpPr txBox="1"/>
          <p:nvPr/>
        </p:nvSpPr>
        <p:spPr>
          <a:xfrm>
            <a:off x="3975196" y="1668256"/>
            <a:ext cx="4990861" cy="2893100"/>
          </a:xfrm>
          <a:prstGeom prst="rect">
            <a:avLst/>
          </a:prstGeom>
          <a:noFill/>
        </p:spPr>
        <p:txBody>
          <a:bodyPr wrap="square" rtlCol="0">
            <a:spAutoFit/>
          </a:bodyPr>
          <a:lstStyle/>
          <a:p>
            <a:pPr algn="l"/>
            <a:r>
              <a:rPr lang="en-US" sz="1200" b="0" i="0" dirty="0">
                <a:solidFill>
                  <a:srgbClr val="444444"/>
                </a:solidFill>
                <a:effectLst/>
                <a:latin typeface="Open Sans" panose="020B0606030504020204" pitchFamily="34" charset="0"/>
              </a:rPr>
              <a:t>Let's now define the most basic terms, which are whole numbers (not rates):</a:t>
            </a:r>
          </a:p>
          <a:p>
            <a:pPr algn="l"/>
            <a:endParaRPr lang="en-US" sz="1200" b="0" i="0" dirty="0">
              <a:solidFill>
                <a:srgbClr val="444444"/>
              </a:solidFill>
              <a:effectLst/>
              <a:latin typeface="Open Sans" panose="020B0606030504020204" pitchFamily="34" charset="0"/>
            </a:endParaRPr>
          </a:p>
          <a:p>
            <a:pPr algn="l">
              <a:buFont typeface="Arial" panose="020B0604020202020204" pitchFamily="34" charset="0"/>
              <a:buChar char="•"/>
            </a:pPr>
            <a:r>
              <a:rPr lang="en-US" sz="1200" b="1" i="0" dirty="0">
                <a:solidFill>
                  <a:srgbClr val="444444"/>
                </a:solidFill>
                <a:effectLst/>
                <a:latin typeface="Open Sans" panose="020B0606030504020204" pitchFamily="34" charset="0"/>
              </a:rPr>
              <a:t>true positives (TP):</a:t>
            </a:r>
            <a:r>
              <a:rPr lang="en-US" sz="1200" b="0" i="0" dirty="0">
                <a:solidFill>
                  <a:srgbClr val="444444"/>
                </a:solidFill>
                <a:effectLst/>
                <a:latin typeface="Open Sans" panose="020B0606030504020204" pitchFamily="34" charset="0"/>
              </a:rPr>
              <a:t> These are cases in which we predicted yes (they have the disease), and they do have the disease.</a:t>
            </a:r>
          </a:p>
          <a:p>
            <a:pPr algn="l"/>
            <a:endParaRPr lang="en-US" sz="1200" b="0" i="0" dirty="0">
              <a:solidFill>
                <a:srgbClr val="444444"/>
              </a:solidFill>
              <a:effectLst/>
              <a:latin typeface="Open Sans" panose="020B0606030504020204" pitchFamily="34" charset="0"/>
            </a:endParaRPr>
          </a:p>
          <a:p>
            <a:pPr algn="l">
              <a:buFont typeface="Arial" panose="020B0604020202020204" pitchFamily="34" charset="0"/>
              <a:buChar char="•"/>
            </a:pPr>
            <a:r>
              <a:rPr lang="en-US" sz="1200" b="1" i="0" dirty="0">
                <a:solidFill>
                  <a:srgbClr val="444444"/>
                </a:solidFill>
                <a:effectLst/>
                <a:latin typeface="Open Sans" panose="020B0606030504020204" pitchFamily="34" charset="0"/>
              </a:rPr>
              <a:t>true negatives (TN):</a:t>
            </a:r>
            <a:r>
              <a:rPr lang="en-US" sz="1200" b="0" i="0" dirty="0">
                <a:solidFill>
                  <a:srgbClr val="444444"/>
                </a:solidFill>
                <a:effectLst/>
                <a:latin typeface="Open Sans" panose="020B0606030504020204" pitchFamily="34" charset="0"/>
              </a:rPr>
              <a:t> We predicted no, and they don't have the disease.</a:t>
            </a:r>
          </a:p>
          <a:p>
            <a:pPr algn="l"/>
            <a:endParaRPr lang="en-US" sz="1200" b="0" i="0" dirty="0">
              <a:solidFill>
                <a:srgbClr val="444444"/>
              </a:solidFill>
              <a:effectLst/>
              <a:latin typeface="Open Sans" panose="020B0606030504020204" pitchFamily="34" charset="0"/>
            </a:endParaRPr>
          </a:p>
          <a:p>
            <a:pPr algn="l">
              <a:buFont typeface="Arial" panose="020B0604020202020204" pitchFamily="34" charset="0"/>
              <a:buChar char="•"/>
            </a:pPr>
            <a:r>
              <a:rPr lang="en-US" sz="1200" b="1" i="0" dirty="0">
                <a:solidFill>
                  <a:srgbClr val="444444"/>
                </a:solidFill>
                <a:effectLst/>
                <a:latin typeface="Open Sans" panose="020B0606030504020204" pitchFamily="34" charset="0"/>
              </a:rPr>
              <a:t>false positives (FP):</a:t>
            </a:r>
            <a:r>
              <a:rPr lang="en-US" sz="1200" b="0" i="0" dirty="0">
                <a:solidFill>
                  <a:srgbClr val="444444"/>
                </a:solidFill>
                <a:effectLst/>
                <a:latin typeface="Open Sans" panose="020B0606030504020204" pitchFamily="34" charset="0"/>
              </a:rPr>
              <a:t> We predicted yes, but they don't actually have the disease. (Also known as a "Type I error.")</a:t>
            </a:r>
          </a:p>
          <a:p>
            <a:pPr algn="l"/>
            <a:endParaRPr lang="en-US" sz="1200" b="0" i="0" dirty="0">
              <a:solidFill>
                <a:srgbClr val="444444"/>
              </a:solidFill>
              <a:effectLst/>
              <a:latin typeface="Open Sans" panose="020B0606030504020204" pitchFamily="34" charset="0"/>
            </a:endParaRPr>
          </a:p>
          <a:p>
            <a:pPr algn="l">
              <a:buFont typeface="Arial" panose="020B0604020202020204" pitchFamily="34" charset="0"/>
              <a:buChar char="•"/>
            </a:pPr>
            <a:r>
              <a:rPr lang="en-US" sz="1200" b="1" i="0" dirty="0">
                <a:solidFill>
                  <a:srgbClr val="444444"/>
                </a:solidFill>
                <a:effectLst/>
                <a:latin typeface="Open Sans" panose="020B0606030504020204" pitchFamily="34" charset="0"/>
              </a:rPr>
              <a:t>false negatives (FN):</a:t>
            </a:r>
            <a:r>
              <a:rPr lang="en-US" sz="1200" b="0" i="0" dirty="0">
                <a:solidFill>
                  <a:srgbClr val="444444"/>
                </a:solidFill>
                <a:effectLst/>
                <a:latin typeface="Open Sans" panose="020B0606030504020204" pitchFamily="34" charset="0"/>
              </a:rPr>
              <a:t> We predicted no, but they actually do have the disease. (Also known as a "Type II error.")</a:t>
            </a:r>
          </a:p>
          <a:p>
            <a:pPr>
              <a:spcBef>
                <a:spcPts val="0"/>
              </a:spcBef>
              <a:spcAft>
                <a:spcPts val="0"/>
              </a:spcAft>
              <a:buClr>
                <a:schemeClr val="bg1"/>
              </a:buClr>
            </a:pPr>
            <a:endParaRPr lang="en-US" sz="1400" dirty="0" err="1">
              <a:solidFill>
                <a:schemeClr val="bg2"/>
              </a:solidFill>
              <a:latin typeface="+mn-lt"/>
            </a:endParaRPr>
          </a:p>
        </p:txBody>
      </p:sp>
      <p:pic>
        <p:nvPicPr>
          <p:cNvPr id="9" name="Picture 8">
            <a:extLst>
              <a:ext uri="{FF2B5EF4-FFF2-40B4-BE49-F238E27FC236}">
                <a16:creationId xmlns:a16="http://schemas.microsoft.com/office/drawing/2014/main" id="{EC78D233-E406-4593-8D1F-864240CA86A8}"/>
              </a:ext>
            </a:extLst>
          </p:cNvPr>
          <p:cNvPicPr>
            <a:picLocks noChangeAspect="1"/>
          </p:cNvPicPr>
          <p:nvPr/>
        </p:nvPicPr>
        <p:blipFill>
          <a:blip r:embed="rId3"/>
          <a:stretch>
            <a:fillRect/>
          </a:stretch>
        </p:blipFill>
        <p:spPr>
          <a:xfrm>
            <a:off x="177942" y="2571749"/>
            <a:ext cx="3486637" cy="1774711"/>
          </a:xfrm>
          <a:prstGeom prst="rect">
            <a:avLst/>
          </a:prstGeom>
        </p:spPr>
      </p:pic>
      <mc:AlternateContent xmlns:mc="http://schemas.openxmlformats.org/markup-compatibility/2006">
        <mc:Choice xmlns:p14="http://schemas.microsoft.com/office/powerpoint/2010/main" Requires="p14">
          <p:contentPart p14:bwMode="auto" r:id="rId4">
            <p14:nvContentPartPr>
              <p14:cNvPr id="3" name="Ink 2">
                <a:extLst>
                  <a:ext uri="{FF2B5EF4-FFF2-40B4-BE49-F238E27FC236}">
                    <a16:creationId xmlns:a16="http://schemas.microsoft.com/office/drawing/2014/main" id="{ADC0C745-7C61-46DA-A64E-7F45312B6CAA}"/>
                  </a:ext>
                </a:extLst>
              </p14:cNvPr>
              <p14:cNvContentPartPr/>
              <p14:nvPr/>
            </p14:nvContentPartPr>
            <p14:xfrm>
              <a:off x="785880" y="1071720"/>
              <a:ext cx="6077160" cy="3314880"/>
            </p14:xfrm>
          </p:contentPart>
        </mc:Choice>
        <mc:Fallback>
          <p:pic>
            <p:nvPicPr>
              <p:cNvPr id="3" name="Ink 2">
                <a:extLst>
                  <a:ext uri="{FF2B5EF4-FFF2-40B4-BE49-F238E27FC236}">
                    <a16:creationId xmlns:a16="http://schemas.microsoft.com/office/drawing/2014/main" id="{ADC0C745-7C61-46DA-A64E-7F45312B6CAA}"/>
                  </a:ext>
                </a:extLst>
              </p:cNvPr>
              <p:cNvPicPr/>
              <p:nvPr/>
            </p:nvPicPr>
            <p:blipFill>
              <a:blip r:embed="rId5"/>
              <a:stretch>
                <a:fillRect/>
              </a:stretch>
            </p:blipFill>
            <p:spPr>
              <a:xfrm>
                <a:off x="776520" y="1062360"/>
                <a:ext cx="6095880" cy="3333600"/>
              </a:xfrm>
              <a:prstGeom prst="rect">
                <a:avLst/>
              </a:prstGeom>
            </p:spPr>
          </p:pic>
        </mc:Fallback>
      </mc:AlternateContent>
    </p:spTree>
    <p:extLst>
      <p:ext uri="{BB962C8B-B14F-4D97-AF65-F5344CB8AC3E}">
        <p14:creationId xmlns:p14="http://schemas.microsoft.com/office/powerpoint/2010/main" val="291017324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260434-E852-455D-ACA9-15F50D092100}"/>
              </a:ext>
            </a:extLst>
          </p:cNvPr>
          <p:cNvSpPr>
            <a:spLocks noGrp="1"/>
          </p:cNvSpPr>
          <p:nvPr>
            <p:ph type="title"/>
          </p:nvPr>
        </p:nvSpPr>
        <p:spPr>
          <a:xfrm>
            <a:off x="0" y="0"/>
            <a:ext cx="4295219" cy="640080"/>
          </a:xfrm>
        </p:spPr>
        <p:txBody>
          <a:bodyPr/>
          <a:lstStyle/>
          <a:p>
            <a:r>
              <a:rPr lang="en-US" dirty="0"/>
              <a:t>Confusion Matrix</a:t>
            </a:r>
          </a:p>
        </p:txBody>
      </p:sp>
      <p:sp>
        <p:nvSpPr>
          <p:cNvPr id="3" name="Content Placeholder 2">
            <a:extLst>
              <a:ext uri="{FF2B5EF4-FFF2-40B4-BE49-F238E27FC236}">
                <a16:creationId xmlns:a16="http://schemas.microsoft.com/office/drawing/2014/main" id="{BAFDD8EE-05F2-465F-9896-1600B846F7B9}"/>
              </a:ext>
            </a:extLst>
          </p:cNvPr>
          <p:cNvSpPr>
            <a:spLocks noGrp="1"/>
          </p:cNvSpPr>
          <p:nvPr>
            <p:ph sz="half" idx="13"/>
          </p:nvPr>
        </p:nvSpPr>
        <p:spPr>
          <a:xfrm>
            <a:off x="97722" y="742688"/>
            <a:ext cx="8662369" cy="3200400"/>
          </a:xfrm>
        </p:spPr>
        <p:txBody>
          <a:bodyPr>
            <a:normAutofit fontScale="92500" lnSpcReduction="10000"/>
          </a:bodyPr>
          <a:lstStyle/>
          <a:p>
            <a:pPr marL="0" indent="0">
              <a:buNone/>
            </a:pPr>
            <a:r>
              <a:rPr lang="en-US" sz="1800" b="1" dirty="0"/>
              <a:t>Some examples of “False Positives”</a:t>
            </a:r>
          </a:p>
          <a:p>
            <a:pPr algn="l" fontAlgn="base">
              <a:buFont typeface="Arial" panose="020B0604020202020204" pitchFamily="34" charset="0"/>
              <a:buChar char="•"/>
            </a:pPr>
            <a:r>
              <a:rPr lang="en-US" sz="2400" b="0" i="0" dirty="0">
                <a:solidFill>
                  <a:srgbClr val="777777"/>
                </a:solidFill>
                <a:effectLst/>
                <a:latin typeface="inherit"/>
              </a:rPr>
              <a:t>A pregnancy test is positive, when in fact you aren’t pregnant.</a:t>
            </a:r>
          </a:p>
          <a:p>
            <a:pPr algn="l" fontAlgn="base">
              <a:buFont typeface="Arial" panose="020B0604020202020204" pitchFamily="34" charset="0"/>
              <a:buChar char="•"/>
            </a:pPr>
            <a:r>
              <a:rPr lang="en-US" sz="2400" b="0" i="0" dirty="0">
                <a:solidFill>
                  <a:srgbClr val="777777"/>
                </a:solidFill>
                <a:effectLst/>
                <a:latin typeface="inherit"/>
              </a:rPr>
              <a:t>A cancer screening test comes back positive, but you don’t have the disease.</a:t>
            </a:r>
          </a:p>
          <a:p>
            <a:pPr algn="l" fontAlgn="base">
              <a:buFont typeface="Arial" panose="020B0604020202020204" pitchFamily="34" charset="0"/>
              <a:buChar char="•"/>
            </a:pPr>
            <a:r>
              <a:rPr lang="en-US" sz="2400" b="0" i="0" dirty="0">
                <a:solidFill>
                  <a:srgbClr val="777777"/>
                </a:solidFill>
                <a:effectLst/>
                <a:latin typeface="inherit"/>
              </a:rPr>
              <a:t>A prenatal test comes back positive for Down’s Syndrome, when your fetus does not have the disorder.</a:t>
            </a:r>
          </a:p>
          <a:p>
            <a:pPr algn="l" fontAlgn="base">
              <a:buFont typeface="Arial" panose="020B0604020202020204" pitchFamily="34" charset="0"/>
              <a:buChar char="•"/>
            </a:pPr>
            <a:r>
              <a:rPr lang="en-US" sz="2400" b="0" i="0" dirty="0">
                <a:solidFill>
                  <a:srgbClr val="777777"/>
                </a:solidFill>
                <a:effectLst/>
                <a:latin typeface="inherit"/>
              </a:rPr>
              <a:t>Virus software on your computer incorrectly identifies a harmless program as a malicious one.</a:t>
            </a:r>
          </a:p>
          <a:p>
            <a:endParaRPr lang="en-US" dirty="0"/>
          </a:p>
          <a:p>
            <a:endParaRPr lang="en-US" dirty="0"/>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9CADE00B-9094-4448-91E4-FE0F07777090}"/>
                  </a:ext>
                </a:extLst>
              </p14:cNvPr>
              <p14:cNvContentPartPr/>
              <p14:nvPr/>
            </p14:nvContentPartPr>
            <p14:xfrm>
              <a:off x="2243160" y="938160"/>
              <a:ext cx="6206040" cy="2786400"/>
            </p14:xfrm>
          </p:contentPart>
        </mc:Choice>
        <mc:Fallback>
          <p:pic>
            <p:nvPicPr>
              <p:cNvPr id="4" name="Ink 3">
                <a:extLst>
                  <a:ext uri="{FF2B5EF4-FFF2-40B4-BE49-F238E27FC236}">
                    <a16:creationId xmlns:a16="http://schemas.microsoft.com/office/drawing/2014/main" id="{9CADE00B-9094-4448-91E4-FE0F07777090}"/>
                  </a:ext>
                </a:extLst>
              </p:cNvPr>
              <p:cNvPicPr/>
              <p:nvPr/>
            </p:nvPicPr>
            <p:blipFill>
              <a:blip r:embed="rId3"/>
              <a:stretch>
                <a:fillRect/>
              </a:stretch>
            </p:blipFill>
            <p:spPr>
              <a:xfrm>
                <a:off x="2233800" y="928800"/>
                <a:ext cx="6224760" cy="2805120"/>
              </a:xfrm>
              <a:prstGeom prst="rect">
                <a:avLst/>
              </a:prstGeom>
            </p:spPr>
          </p:pic>
        </mc:Fallback>
      </mc:AlternateContent>
    </p:spTree>
    <p:extLst>
      <p:ext uri="{BB962C8B-B14F-4D97-AF65-F5344CB8AC3E}">
        <p14:creationId xmlns:p14="http://schemas.microsoft.com/office/powerpoint/2010/main" val="3860074758"/>
      </p:ext>
    </p:extLst>
  </p:cSld>
  <p:clrMapOvr>
    <a:masterClrMapping/>
  </p:clrMapOvr>
  <p:transition spd="med">
    <p:wipe dir="r"/>
  </p:transition>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260434-E852-455D-ACA9-15F50D092100}"/>
              </a:ext>
            </a:extLst>
          </p:cNvPr>
          <p:cNvSpPr>
            <a:spLocks noGrp="1"/>
          </p:cNvSpPr>
          <p:nvPr>
            <p:ph type="title"/>
          </p:nvPr>
        </p:nvSpPr>
        <p:spPr>
          <a:xfrm>
            <a:off x="0" y="0"/>
            <a:ext cx="4295219" cy="640080"/>
          </a:xfrm>
        </p:spPr>
        <p:txBody>
          <a:bodyPr/>
          <a:lstStyle/>
          <a:p>
            <a:r>
              <a:rPr lang="en-US" dirty="0"/>
              <a:t>Confusion Matrix</a:t>
            </a:r>
          </a:p>
        </p:txBody>
      </p:sp>
      <p:sp>
        <p:nvSpPr>
          <p:cNvPr id="3" name="Content Placeholder 2">
            <a:extLst>
              <a:ext uri="{FF2B5EF4-FFF2-40B4-BE49-F238E27FC236}">
                <a16:creationId xmlns:a16="http://schemas.microsoft.com/office/drawing/2014/main" id="{BAFDD8EE-05F2-465F-9896-1600B846F7B9}"/>
              </a:ext>
            </a:extLst>
          </p:cNvPr>
          <p:cNvSpPr>
            <a:spLocks noGrp="1"/>
          </p:cNvSpPr>
          <p:nvPr>
            <p:ph sz="half" idx="13"/>
          </p:nvPr>
        </p:nvSpPr>
        <p:spPr>
          <a:xfrm>
            <a:off x="97722" y="742688"/>
            <a:ext cx="8662369" cy="3822332"/>
          </a:xfrm>
        </p:spPr>
        <p:txBody>
          <a:bodyPr>
            <a:normAutofit/>
          </a:bodyPr>
          <a:lstStyle/>
          <a:p>
            <a:pPr marL="0" indent="0">
              <a:buNone/>
            </a:pPr>
            <a:r>
              <a:rPr lang="en-US" sz="1800" b="1" dirty="0"/>
              <a:t>Some examples of “False Negatives”</a:t>
            </a:r>
          </a:p>
          <a:p>
            <a:pPr algn="l" fontAlgn="base">
              <a:buFont typeface="Arial" panose="020B0604020202020204" pitchFamily="34" charset="0"/>
              <a:buChar char="•"/>
            </a:pPr>
            <a:r>
              <a:rPr lang="en-US" sz="2000" b="0" i="0" dirty="0">
                <a:solidFill>
                  <a:srgbClr val="777777"/>
                </a:solidFill>
                <a:effectLst/>
                <a:latin typeface="inherit"/>
              </a:rPr>
              <a:t>In </a:t>
            </a:r>
            <a:r>
              <a:rPr lang="en-US" sz="2000" b="1" i="0" dirty="0">
                <a:solidFill>
                  <a:srgbClr val="777777"/>
                </a:solidFill>
                <a:effectLst/>
                <a:latin typeface="inherit"/>
              </a:rPr>
              <a:t>software testing</a:t>
            </a:r>
            <a:r>
              <a:rPr lang="en-US" sz="2000" b="0" i="0" dirty="0">
                <a:solidFill>
                  <a:srgbClr val="777777"/>
                </a:solidFill>
                <a:effectLst/>
                <a:latin typeface="inherit"/>
              </a:rPr>
              <a:t>, a false negative would mean that a test designed to catch something (i.e. a virus) has failed.</a:t>
            </a:r>
          </a:p>
          <a:p>
            <a:pPr algn="l" fontAlgn="base">
              <a:buFont typeface="Arial" panose="020B0604020202020204" pitchFamily="34" charset="0"/>
              <a:buChar char="•"/>
            </a:pPr>
            <a:r>
              <a:rPr lang="en-US" sz="2000" b="0" i="0" dirty="0">
                <a:solidFill>
                  <a:srgbClr val="777777"/>
                </a:solidFill>
                <a:effectLst/>
                <a:latin typeface="inherit"/>
              </a:rPr>
              <a:t>In the </a:t>
            </a:r>
            <a:r>
              <a:rPr lang="en-US" sz="2000" b="1" i="0" dirty="0">
                <a:solidFill>
                  <a:srgbClr val="777777"/>
                </a:solidFill>
                <a:effectLst/>
                <a:latin typeface="inherit"/>
              </a:rPr>
              <a:t>Justice System</a:t>
            </a:r>
            <a:r>
              <a:rPr lang="en-US" sz="2000" b="0" i="0" dirty="0">
                <a:solidFill>
                  <a:srgbClr val="777777"/>
                </a:solidFill>
                <a:effectLst/>
                <a:latin typeface="inherit"/>
              </a:rPr>
              <a:t>, a false negative occurs when a guilty suspect is found “Not Guilty” and allowed to walk free.</a:t>
            </a:r>
          </a:p>
          <a:p>
            <a:pPr marL="0" indent="0">
              <a:buNone/>
            </a:pPr>
            <a:endParaRPr lang="en-US" dirty="0"/>
          </a:p>
          <a:p>
            <a:endParaRPr lang="en-US" dirty="0"/>
          </a:p>
        </p:txBody>
      </p:sp>
    </p:spTree>
    <p:extLst>
      <p:ext uri="{BB962C8B-B14F-4D97-AF65-F5344CB8AC3E}">
        <p14:creationId xmlns:p14="http://schemas.microsoft.com/office/powerpoint/2010/main" val="2405493443"/>
      </p:ext>
    </p:extLst>
  </p:cSld>
  <p:clrMapOvr>
    <a:masterClrMapping/>
  </p:clrMapOvr>
  <p:transition spd="med">
    <p:wipe dir="r"/>
  </p:transition>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E7488E-8B76-4070-9124-EB3B7EE8E2C7}"/>
              </a:ext>
            </a:extLst>
          </p:cNvPr>
          <p:cNvSpPr>
            <a:spLocks noGrp="1"/>
          </p:cNvSpPr>
          <p:nvPr>
            <p:ph type="title"/>
          </p:nvPr>
        </p:nvSpPr>
        <p:spPr>
          <a:xfrm>
            <a:off x="1" y="113029"/>
            <a:ext cx="8914791" cy="640080"/>
          </a:xfrm>
        </p:spPr>
        <p:txBody>
          <a:bodyPr/>
          <a:lstStyle/>
          <a:p>
            <a:r>
              <a:rPr lang="en-US" dirty="0"/>
              <a:t>Example : Allergy or Not ? </a:t>
            </a:r>
          </a:p>
        </p:txBody>
      </p:sp>
      <p:pic>
        <p:nvPicPr>
          <p:cNvPr id="5" name="Content Placeholder 4" descr="A cat lying on a blanket&#10;&#10;Description automatically generated with medium confidence">
            <a:extLst>
              <a:ext uri="{FF2B5EF4-FFF2-40B4-BE49-F238E27FC236}">
                <a16:creationId xmlns:a16="http://schemas.microsoft.com/office/drawing/2014/main" id="{E162F585-2F27-4E01-AB27-7C8FA2C2A2EA}"/>
              </a:ext>
            </a:extLst>
          </p:cNvPr>
          <p:cNvPicPr>
            <a:picLocks noGrp="1" noChangeAspect="1"/>
          </p:cNvPicPr>
          <p:nvPr>
            <p:ph sz="half" idx="13"/>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338456" y="851339"/>
            <a:ext cx="2576336" cy="2058116"/>
          </a:xfrm>
        </p:spPr>
      </p:pic>
      <p:sp>
        <p:nvSpPr>
          <p:cNvPr id="7" name="TextBox 6">
            <a:extLst>
              <a:ext uri="{FF2B5EF4-FFF2-40B4-BE49-F238E27FC236}">
                <a16:creationId xmlns:a16="http://schemas.microsoft.com/office/drawing/2014/main" id="{134A7D84-DB8B-4044-84C0-9D7670045B52}"/>
              </a:ext>
            </a:extLst>
          </p:cNvPr>
          <p:cNvSpPr txBox="1"/>
          <p:nvPr/>
        </p:nvSpPr>
        <p:spPr>
          <a:xfrm>
            <a:off x="305339" y="976599"/>
            <a:ext cx="5326085" cy="1661993"/>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Hunter says she is itchy. There is a test for Allergy to Cats, but this test is not always right:</a:t>
            </a:r>
          </a:p>
          <a:p>
            <a:pPr algn="l"/>
            <a:endParaRPr lang="en-US" sz="1100" b="0" i="0" dirty="0">
              <a:solidFill>
                <a:srgbClr val="333333"/>
              </a:solidFill>
              <a:effectLst/>
              <a:latin typeface="Verdana" panose="020B0604030504040204" pitchFamily="34" charset="0"/>
            </a:endParaRPr>
          </a:p>
          <a:p>
            <a:pPr marL="171450" indent="-171450" algn="l">
              <a:buFont typeface="Arial" panose="020B0604020202020204" pitchFamily="34" charset="0"/>
              <a:buChar char="•"/>
            </a:pPr>
            <a:r>
              <a:rPr lang="en-US" sz="1100" b="0" i="0" dirty="0">
                <a:solidFill>
                  <a:srgbClr val="333333"/>
                </a:solidFill>
                <a:effectLst/>
                <a:latin typeface="Verdana" panose="020B0604030504040204" pitchFamily="34" charset="0"/>
              </a:rPr>
              <a:t>For people that </a:t>
            </a:r>
            <a:r>
              <a:rPr lang="en-US" sz="1100" b="1" i="0" dirty="0">
                <a:solidFill>
                  <a:srgbClr val="333333"/>
                </a:solidFill>
                <a:effectLst/>
                <a:latin typeface="Verdana" panose="020B0604030504040204" pitchFamily="34" charset="0"/>
              </a:rPr>
              <a:t>really do</a:t>
            </a:r>
            <a:r>
              <a:rPr lang="en-US" sz="1100" b="0" i="0" dirty="0">
                <a:solidFill>
                  <a:srgbClr val="333333"/>
                </a:solidFill>
                <a:effectLst/>
                <a:latin typeface="Verdana" panose="020B0604030504040204" pitchFamily="34" charset="0"/>
              </a:rPr>
              <a:t> have the allergy, the test says "Yes" </a:t>
            </a:r>
            <a:r>
              <a:rPr lang="en-US" sz="1100" b="1" i="0" dirty="0">
                <a:solidFill>
                  <a:srgbClr val="333333"/>
                </a:solidFill>
                <a:effectLst/>
                <a:latin typeface="Verdana" panose="020B0604030504040204" pitchFamily="34" charset="0"/>
              </a:rPr>
              <a:t>80%</a:t>
            </a:r>
            <a:r>
              <a:rPr lang="en-US" sz="1100" b="0" i="0" dirty="0">
                <a:solidFill>
                  <a:srgbClr val="333333"/>
                </a:solidFill>
                <a:effectLst/>
                <a:latin typeface="Verdana" panose="020B0604030504040204" pitchFamily="34" charset="0"/>
              </a:rPr>
              <a:t> of the time</a:t>
            </a:r>
          </a:p>
          <a:p>
            <a:pPr marL="171450" indent="-171450" algn="l">
              <a:buFont typeface="Arial" panose="020B0604020202020204" pitchFamily="34" charset="0"/>
              <a:buChar char="•"/>
            </a:pPr>
            <a:endParaRPr lang="en-US" sz="1100" b="0" i="0" dirty="0">
              <a:solidFill>
                <a:srgbClr val="333333"/>
              </a:solidFill>
              <a:effectLst/>
              <a:latin typeface="Verdana" panose="020B0604030504040204" pitchFamily="34" charset="0"/>
            </a:endParaRPr>
          </a:p>
          <a:p>
            <a:pPr marL="171450" indent="-171450" algn="l">
              <a:buFont typeface="Arial" panose="020B0604020202020204" pitchFamily="34" charset="0"/>
              <a:buChar char="•"/>
            </a:pPr>
            <a:r>
              <a:rPr lang="en-US" sz="1100" b="0" i="0" dirty="0">
                <a:solidFill>
                  <a:srgbClr val="333333"/>
                </a:solidFill>
                <a:effectLst/>
                <a:latin typeface="Verdana" panose="020B0604030504040204" pitchFamily="34" charset="0"/>
              </a:rPr>
              <a:t>For people that </a:t>
            </a:r>
            <a:r>
              <a:rPr lang="en-US" sz="1100" b="1" i="0" dirty="0">
                <a:solidFill>
                  <a:srgbClr val="333333"/>
                </a:solidFill>
                <a:effectLst/>
                <a:latin typeface="Verdana" panose="020B0604030504040204" pitchFamily="34" charset="0"/>
              </a:rPr>
              <a:t>do not</a:t>
            </a:r>
            <a:r>
              <a:rPr lang="en-US" sz="1100" b="0" i="0" dirty="0">
                <a:solidFill>
                  <a:srgbClr val="333333"/>
                </a:solidFill>
                <a:effectLst/>
                <a:latin typeface="Verdana" panose="020B0604030504040204" pitchFamily="34" charset="0"/>
              </a:rPr>
              <a:t> have the allergy, the test says "Yes" </a:t>
            </a:r>
            <a:r>
              <a:rPr lang="en-US" sz="1100" b="1" i="0" dirty="0">
                <a:solidFill>
                  <a:srgbClr val="333333"/>
                </a:solidFill>
                <a:effectLst/>
                <a:latin typeface="Verdana" panose="020B0604030504040204" pitchFamily="34" charset="0"/>
              </a:rPr>
              <a:t>10%</a:t>
            </a:r>
            <a:r>
              <a:rPr lang="en-US" sz="1100" b="0" i="0" dirty="0">
                <a:solidFill>
                  <a:srgbClr val="333333"/>
                </a:solidFill>
                <a:effectLst/>
                <a:latin typeface="Verdana" panose="020B0604030504040204" pitchFamily="34" charset="0"/>
              </a:rPr>
              <a:t> of the time ("false positive")</a:t>
            </a:r>
          </a:p>
          <a:p>
            <a:pPr>
              <a:spcBef>
                <a:spcPts val="0"/>
              </a:spcBef>
              <a:spcAft>
                <a:spcPts val="0"/>
              </a:spcAft>
              <a:buClr>
                <a:schemeClr val="bg1"/>
              </a:buClr>
            </a:pPr>
            <a:endParaRPr lang="en-US" sz="1400" dirty="0" err="1">
              <a:solidFill>
                <a:schemeClr val="bg2"/>
              </a:solidFill>
              <a:latin typeface="+mn-lt"/>
            </a:endParaRPr>
          </a:p>
        </p:txBody>
      </p:sp>
      <p:pic>
        <p:nvPicPr>
          <p:cNvPr id="9" name="Picture 8">
            <a:extLst>
              <a:ext uri="{FF2B5EF4-FFF2-40B4-BE49-F238E27FC236}">
                <a16:creationId xmlns:a16="http://schemas.microsoft.com/office/drawing/2014/main" id="{5A985D4C-E60E-4201-8BBE-8E238B61E08B}"/>
              </a:ext>
            </a:extLst>
          </p:cNvPr>
          <p:cNvPicPr>
            <a:picLocks noChangeAspect="1"/>
          </p:cNvPicPr>
          <p:nvPr/>
        </p:nvPicPr>
        <p:blipFill>
          <a:blip r:embed="rId4"/>
          <a:stretch>
            <a:fillRect/>
          </a:stretch>
        </p:blipFill>
        <p:spPr>
          <a:xfrm>
            <a:off x="260524" y="2975111"/>
            <a:ext cx="5639236" cy="1324311"/>
          </a:xfrm>
          <a:prstGeom prst="rect">
            <a:avLst/>
          </a:prstGeom>
        </p:spPr>
      </p:pic>
      <p:sp>
        <p:nvSpPr>
          <p:cNvPr id="10" name="TextBox 9">
            <a:extLst>
              <a:ext uri="{FF2B5EF4-FFF2-40B4-BE49-F238E27FC236}">
                <a16:creationId xmlns:a16="http://schemas.microsoft.com/office/drawing/2014/main" id="{FBEFB2C8-1750-4B8C-8485-879C100EC5F9}"/>
              </a:ext>
            </a:extLst>
          </p:cNvPr>
          <p:cNvSpPr txBox="1"/>
          <p:nvPr/>
        </p:nvSpPr>
        <p:spPr>
          <a:xfrm>
            <a:off x="106183" y="2778650"/>
            <a:ext cx="2862198" cy="261610"/>
          </a:xfrm>
          <a:prstGeom prst="rect">
            <a:avLst/>
          </a:prstGeom>
          <a:noFill/>
        </p:spPr>
        <p:txBody>
          <a:bodyPr wrap="square" rtlCol="0">
            <a:spAutoFit/>
          </a:bodyPr>
          <a:lstStyle/>
          <a:p>
            <a:pPr>
              <a:spcBef>
                <a:spcPts val="0"/>
              </a:spcBef>
              <a:spcAft>
                <a:spcPts val="0"/>
              </a:spcAft>
              <a:buClr>
                <a:schemeClr val="bg1"/>
              </a:buClr>
            </a:pPr>
            <a:r>
              <a:rPr lang="en-US" sz="1100" b="1" i="1" dirty="0">
                <a:solidFill>
                  <a:srgbClr val="333333"/>
                </a:solidFill>
                <a:latin typeface="Verdana" panose="020B0604030504040204" pitchFamily="34" charset="0"/>
              </a:rPr>
              <a:t>Here is the table : </a:t>
            </a:r>
          </a:p>
        </p:txBody>
      </p:sp>
      <mc:AlternateContent xmlns:mc="http://schemas.openxmlformats.org/markup-compatibility/2006">
        <mc:Choice xmlns:p14="http://schemas.microsoft.com/office/powerpoint/2010/main" Requires="p14">
          <p:contentPart p14:bwMode="auto" r:id="rId5">
            <p14:nvContentPartPr>
              <p14:cNvPr id="3" name="Ink 2">
                <a:extLst>
                  <a:ext uri="{FF2B5EF4-FFF2-40B4-BE49-F238E27FC236}">
                    <a16:creationId xmlns:a16="http://schemas.microsoft.com/office/drawing/2014/main" id="{A50E4757-57C0-4945-9BAC-FA6BE1BA4FC0}"/>
                  </a:ext>
                </a:extLst>
              </p14:cNvPr>
              <p14:cNvContentPartPr/>
              <p14:nvPr/>
            </p14:nvContentPartPr>
            <p14:xfrm>
              <a:off x="528480" y="104760"/>
              <a:ext cx="8144280" cy="4239000"/>
            </p14:xfrm>
          </p:contentPart>
        </mc:Choice>
        <mc:Fallback>
          <p:pic>
            <p:nvPicPr>
              <p:cNvPr id="3" name="Ink 2">
                <a:extLst>
                  <a:ext uri="{FF2B5EF4-FFF2-40B4-BE49-F238E27FC236}">
                    <a16:creationId xmlns:a16="http://schemas.microsoft.com/office/drawing/2014/main" id="{A50E4757-57C0-4945-9BAC-FA6BE1BA4FC0}"/>
                  </a:ext>
                </a:extLst>
              </p:cNvPr>
              <p:cNvPicPr/>
              <p:nvPr/>
            </p:nvPicPr>
            <p:blipFill>
              <a:blip r:embed="rId6"/>
              <a:stretch>
                <a:fillRect/>
              </a:stretch>
            </p:blipFill>
            <p:spPr>
              <a:xfrm>
                <a:off x="519120" y="95400"/>
                <a:ext cx="8163000" cy="4257720"/>
              </a:xfrm>
              <a:prstGeom prst="rect">
                <a:avLst/>
              </a:prstGeom>
            </p:spPr>
          </p:pic>
        </mc:Fallback>
      </mc:AlternateContent>
    </p:spTree>
    <p:extLst>
      <p:ext uri="{BB962C8B-B14F-4D97-AF65-F5344CB8AC3E}">
        <p14:creationId xmlns:p14="http://schemas.microsoft.com/office/powerpoint/2010/main" val="3596897327"/>
      </p:ext>
    </p:extLst>
  </p:cSld>
  <p:clrMapOvr>
    <a:masterClrMapping/>
  </p:clrMapOvr>
  <p:transition spd="med">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FD079F-47A3-45E3-A49E-72DE938F0F45}"/>
              </a:ext>
            </a:extLst>
          </p:cNvPr>
          <p:cNvSpPr>
            <a:spLocks noGrp="1"/>
          </p:cNvSpPr>
          <p:nvPr>
            <p:ph sz="half" idx="1"/>
          </p:nvPr>
        </p:nvSpPr>
        <p:spPr>
          <a:xfrm>
            <a:off x="174111" y="703961"/>
            <a:ext cx="8694316" cy="3774093"/>
          </a:xfrm>
        </p:spPr>
        <p:txBody>
          <a:bodyPr>
            <a:normAutofit/>
          </a:bodyPr>
          <a:lstStyle/>
          <a:p>
            <a:pPr marL="0" indent="0">
              <a:buNone/>
            </a:pPr>
            <a:r>
              <a:rPr lang="en-US" sz="4400" dirty="0">
                <a:solidFill>
                  <a:schemeClr val="bg2">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A</a:t>
            </a:r>
            <a:r>
              <a:rPr lang="en-US" sz="44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fter understanding Population and Sample it opens the gate to understand what is </a:t>
            </a:r>
            <a:r>
              <a:rPr lang="en-US" sz="4400" b="1" i="1" dirty="0">
                <a:solidFill>
                  <a:schemeClr val="accent1"/>
                </a:solidFill>
                <a:latin typeface="Calibri" panose="020F0502020204030204" pitchFamily="34" charset="0"/>
                <a:ea typeface="DengXian" panose="02010600030101010101" pitchFamily="2" charset="-122"/>
                <a:cs typeface="Times New Roman" panose="02020603050405020304" pitchFamily="18" charset="0"/>
              </a:rPr>
              <a:t>I</a:t>
            </a:r>
            <a:r>
              <a:rPr lang="en-US" sz="4400" b="1" i="1" dirty="0">
                <a:solidFill>
                  <a:schemeClr val="accent1"/>
                </a:solidFill>
                <a:effectLst/>
                <a:latin typeface="Calibri" panose="020F0502020204030204" pitchFamily="34" charset="0"/>
                <a:ea typeface="DengXian" panose="02010600030101010101" pitchFamily="2" charset="-122"/>
                <a:cs typeface="Times New Roman" panose="02020603050405020304" pitchFamily="18" charset="0"/>
              </a:rPr>
              <a:t>nferential</a:t>
            </a:r>
            <a:r>
              <a:rPr lang="en-US" sz="44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 and </a:t>
            </a:r>
            <a:r>
              <a:rPr lang="en-US" sz="4400" b="1" i="1" dirty="0">
                <a:solidFill>
                  <a:schemeClr val="accent1"/>
                </a:solidFill>
                <a:latin typeface="Calibri" panose="020F0502020204030204" pitchFamily="34" charset="0"/>
                <a:ea typeface="DengXian" panose="02010600030101010101" pitchFamily="2" charset="-122"/>
                <a:cs typeface="Times New Roman" panose="02020603050405020304" pitchFamily="18" charset="0"/>
              </a:rPr>
              <a:t>D</a:t>
            </a:r>
            <a:r>
              <a:rPr lang="en-US" sz="4400" b="1" i="1" dirty="0">
                <a:solidFill>
                  <a:schemeClr val="accent1"/>
                </a:solidFill>
                <a:effectLst/>
                <a:latin typeface="Calibri" panose="020F0502020204030204" pitchFamily="34" charset="0"/>
                <a:ea typeface="DengXian" panose="02010600030101010101" pitchFamily="2" charset="-122"/>
                <a:cs typeface="Times New Roman" panose="02020603050405020304" pitchFamily="18" charset="0"/>
              </a:rPr>
              <a:t>escriptive</a:t>
            </a:r>
            <a:r>
              <a:rPr lang="en-US" sz="44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 statistics. </a:t>
            </a:r>
          </a:p>
          <a:p>
            <a:endParaRPr lang="en-US" dirty="0"/>
          </a:p>
        </p:txBody>
      </p:sp>
    </p:spTree>
    <p:extLst>
      <p:ext uri="{BB962C8B-B14F-4D97-AF65-F5344CB8AC3E}">
        <p14:creationId xmlns:p14="http://schemas.microsoft.com/office/powerpoint/2010/main" val="2499727815"/>
      </p:ext>
    </p:extLst>
  </p:cSld>
  <p:clrMapOvr>
    <a:masterClrMapping/>
  </p:clrMapOvr>
  <p:transition spd="med">
    <p:wipe dir="r"/>
  </p:transition>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F04040-41EE-4244-A027-A4BBE5A176EB}"/>
              </a:ext>
            </a:extLst>
          </p:cNvPr>
          <p:cNvSpPr>
            <a:spLocks noGrp="1"/>
          </p:cNvSpPr>
          <p:nvPr>
            <p:ph type="title"/>
          </p:nvPr>
        </p:nvSpPr>
        <p:spPr>
          <a:xfrm>
            <a:off x="0" y="256784"/>
            <a:ext cx="4295219" cy="640080"/>
          </a:xfrm>
        </p:spPr>
        <p:txBody>
          <a:bodyPr/>
          <a:lstStyle/>
          <a:p>
            <a:r>
              <a:rPr lang="en-US" dirty="0"/>
              <a:t>Question :  </a:t>
            </a:r>
          </a:p>
        </p:txBody>
      </p:sp>
      <p:sp>
        <p:nvSpPr>
          <p:cNvPr id="3" name="Content Placeholder 2">
            <a:extLst>
              <a:ext uri="{FF2B5EF4-FFF2-40B4-BE49-F238E27FC236}">
                <a16:creationId xmlns:a16="http://schemas.microsoft.com/office/drawing/2014/main" id="{CAF3CC83-1E6B-4293-B4C2-AC02D7CDEE08}"/>
              </a:ext>
            </a:extLst>
          </p:cNvPr>
          <p:cNvSpPr>
            <a:spLocks noGrp="1"/>
          </p:cNvSpPr>
          <p:nvPr>
            <p:ph sz="half" idx="13"/>
          </p:nvPr>
        </p:nvSpPr>
        <p:spPr>
          <a:xfrm>
            <a:off x="62630" y="797908"/>
            <a:ext cx="8807049" cy="3200400"/>
          </a:xfrm>
        </p:spPr>
        <p:txBody>
          <a:bodyPr/>
          <a:lstStyle/>
          <a:p>
            <a:endParaRPr lang="en-US" b="0" i="0" dirty="0">
              <a:solidFill>
                <a:schemeClr val="bg2">
                  <a:lumMod val="50000"/>
                  <a:lumOff val="50000"/>
                </a:schemeClr>
              </a:solidFill>
              <a:effectLst/>
              <a:latin typeface="Verdana" panose="020B0604030504040204" pitchFamily="34" charset="0"/>
            </a:endParaRPr>
          </a:p>
          <a:p>
            <a:pPr marL="0" indent="0">
              <a:buNone/>
            </a:pPr>
            <a:r>
              <a:rPr lang="en-US" sz="2000" b="0" i="0" dirty="0">
                <a:solidFill>
                  <a:schemeClr val="bg2">
                    <a:lumMod val="50000"/>
                    <a:lumOff val="50000"/>
                  </a:schemeClr>
                </a:solidFill>
                <a:effectLst/>
                <a:latin typeface="Verdana" panose="020B0604030504040204" pitchFamily="34" charset="0"/>
              </a:rPr>
              <a:t>If 1% of the population have the allergy, and </a:t>
            </a:r>
            <a:r>
              <a:rPr lang="en-US" sz="2000" b="1" i="0" dirty="0">
                <a:solidFill>
                  <a:schemeClr val="bg2">
                    <a:lumMod val="50000"/>
                    <a:lumOff val="50000"/>
                  </a:schemeClr>
                </a:solidFill>
                <a:effectLst/>
                <a:latin typeface="Verdana" panose="020B0604030504040204" pitchFamily="34" charset="0"/>
              </a:rPr>
              <a:t>Hunter's test says "Yes"</a:t>
            </a:r>
            <a:r>
              <a:rPr lang="en-US" sz="2000" b="0" i="0" dirty="0">
                <a:solidFill>
                  <a:schemeClr val="bg2">
                    <a:lumMod val="50000"/>
                    <a:lumOff val="50000"/>
                  </a:schemeClr>
                </a:solidFill>
                <a:effectLst/>
                <a:latin typeface="Verdana" panose="020B0604030504040204" pitchFamily="34" charset="0"/>
              </a:rPr>
              <a:t>, what are the chances that Hunter really has the allergy?</a:t>
            </a:r>
          </a:p>
          <a:p>
            <a:pPr marL="0" indent="0">
              <a:buNone/>
            </a:pPr>
            <a:endParaRPr lang="en-US" b="0" i="0" dirty="0">
              <a:solidFill>
                <a:schemeClr val="bg2">
                  <a:lumMod val="50000"/>
                  <a:lumOff val="50000"/>
                </a:schemeClr>
              </a:solidFill>
              <a:effectLst/>
              <a:latin typeface="Verdana" panose="020B0604030504040204" pitchFamily="34" charset="0"/>
            </a:endParaRPr>
          </a:p>
          <a:p>
            <a:r>
              <a:rPr lang="en-US" dirty="0">
                <a:solidFill>
                  <a:schemeClr val="bg2">
                    <a:lumMod val="50000"/>
                    <a:lumOff val="50000"/>
                  </a:schemeClr>
                </a:solidFill>
              </a:rPr>
              <a:t>There are three different ways to solve this:</a:t>
            </a:r>
          </a:p>
          <a:p>
            <a:pPr marL="0" indent="0">
              <a:buNone/>
            </a:pPr>
            <a:endParaRPr lang="en-US" dirty="0">
              <a:solidFill>
                <a:schemeClr val="bg2">
                  <a:lumMod val="50000"/>
                  <a:lumOff val="50000"/>
                </a:schemeClr>
              </a:solidFill>
            </a:endParaRPr>
          </a:p>
          <a:p>
            <a:pPr lvl="1"/>
            <a:r>
              <a:rPr lang="en-US" dirty="0">
                <a:solidFill>
                  <a:schemeClr val="bg2">
                    <a:lumMod val="50000"/>
                    <a:lumOff val="50000"/>
                  </a:schemeClr>
                </a:solidFill>
              </a:rPr>
              <a:t>"Imagine a 1000",</a:t>
            </a:r>
          </a:p>
          <a:p>
            <a:pPr marL="342900" lvl="1" indent="0">
              <a:buNone/>
            </a:pPr>
            <a:endParaRPr lang="en-US" dirty="0">
              <a:solidFill>
                <a:schemeClr val="bg2">
                  <a:lumMod val="50000"/>
                  <a:lumOff val="50000"/>
                </a:schemeClr>
              </a:solidFill>
            </a:endParaRPr>
          </a:p>
          <a:p>
            <a:pPr lvl="1"/>
            <a:r>
              <a:rPr lang="en-US" dirty="0">
                <a:solidFill>
                  <a:schemeClr val="bg2">
                    <a:lumMod val="50000"/>
                    <a:lumOff val="50000"/>
                  </a:schemeClr>
                </a:solidFill>
              </a:rPr>
              <a:t>"Tree Diagrams" </a:t>
            </a:r>
          </a:p>
          <a:p>
            <a:pPr marL="342900" lvl="1" indent="0">
              <a:buNone/>
            </a:pPr>
            <a:endParaRPr lang="en-US" dirty="0">
              <a:solidFill>
                <a:schemeClr val="bg2">
                  <a:lumMod val="50000"/>
                  <a:lumOff val="50000"/>
                </a:schemeClr>
              </a:solidFill>
            </a:endParaRPr>
          </a:p>
          <a:p>
            <a:pPr lvl="1"/>
            <a:r>
              <a:rPr lang="en-US" dirty="0">
                <a:solidFill>
                  <a:schemeClr val="bg2">
                    <a:lumMod val="50000"/>
                    <a:lumOff val="50000"/>
                  </a:schemeClr>
                </a:solidFill>
              </a:rPr>
              <a:t>"Bayes' Theorem",</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0AE52FAF-B179-4018-953B-C30941BD75DC}"/>
                  </a:ext>
                </a:extLst>
              </p14:cNvPr>
              <p14:cNvContentPartPr/>
              <p14:nvPr/>
            </p14:nvContentPartPr>
            <p14:xfrm>
              <a:off x="266760" y="1452600"/>
              <a:ext cx="8596440" cy="2724480"/>
            </p14:xfrm>
          </p:contentPart>
        </mc:Choice>
        <mc:Fallback>
          <p:pic>
            <p:nvPicPr>
              <p:cNvPr id="4" name="Ink 3">
                <a:extLst>
                  <a:ext uri="{FF2B5EF4-FFF2-40B4-BE49-F238E27FC236}">
                    <a16:creationId xmlns:a16="http://schemas.microsoft.com/office/drawing/2014/main" id="{0AE52FAF-B179-4018-953B-C30941BD75DC}"/>
                  </a:ext>
                </a:extLst>
              </p:cNvPr>
              <p:cNvPicPr/>
              <p:nvPr/>
            </p:nvPicPr>
            <p:blipFill>
              <a:blip r:embed="rId3"/>
              <a:stretch>
                <a:fillRect/>
              </a:stretch>
            </p:blipFill>
            <p:spPr>
              <a:xfrm>
                <a:off x="257400" y="1443240"/>
                <a:ext cx="8615160" cy="2743200"/>
              </a:xfrm>
              <a:prstGeom prst="rect">
                <a:avLst/>
              </a:prstGeom>
            </p:spPr>
          </p:pic>
        </mc:Fallback>
      </mc:AlternateContent>
    </p:spTree>
    <p:extLst>
      <p:ext uri="{BB962C8B-B14F-4D97-AF65-F5344CB8AC3E}">
        <p14:creationId xmlns:p14="http://schemas.microsoft.com/office/powerpoint/2010/main" val="1190503812"/>
      </p:ext>
    </p:extLst>
  </p:cSld>
  <p:clrMapOvr>
    <a:masterClrMapping/>
  </p:clrMapOvr>
  <p:transition spd="med">
    <p:wipe dir="r"/>
  </p:transition>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015AEE-CB56-4AEE-87EC-192943000399}"/>
              </a:ext>
            </a:extLst>
          </p:cNvPr>
          <p:cNvSpPr>
            <a:spLocks noGrp="1"/>
          </p:cNvSpPr>
          <p:nvPr>
            <p:ph type="title"/>
          </p:nvPr>
        </p:nvSpPr>
        <p:spPr>
          <a:xfrm>
            <a:off x="0" y="0"/>
            <a:ext cx="7718555" cy="640080"/>
          </a:xfrm>
        </p:spPr>
        <p:txBody>
          <a:bodyPr/>
          <a:lstStyle/>
          <a:p>
            <a:r>
              <a:rPr lang="en-US" dirty="0"/>
              <a:t>Solution 1 : Imagine a thousand people</a:t>
            </a:r>
          </a:p>
        </p:txBody>
      </p:sp>
      <p:pic>
        <p:nvPicPr>
          <p:cNvPr id="5" name="Content Placeholder 4">
            <a:extLst>
              <a:ext uri="{FF2B5EF4-FFF2-40B4-BE49-F238E27FC236}">
                <a16:creationId xmlns:a16="http://schemas.microsoft.com/office/drawing/2014/main" id="{B8929DDE-659B-458B-B433-3A6D3FF33843}"/>
              </a:ext>
            </a:extLst>
          </p:cNvPr>
          <p:cNvPicPr>
            <a:picLocks noGrp="1" noChangeAspect="1"/>
          </p:cNvPicPr>
          <p:nvPr>
            <p:ph sz="half" idx="13"/>
          </p:nvPr>
        </p:nvPicPr>
        <p:blipFill>
          <a:blip r:embed="rId2"/>
          <a:stretch>
            <a:fillRect/>
          </a:stretch>
        </p:blipFill>
        <p:spPr>
          <a:xfrm>
            <a:off x="819019" y="635518"/>
            <a:ext cx="6502443" cy="1269288"/>
          </a:xfrm>
        </p:spPr>
      </p:pic>
      <p:sp>
        <p:nvSpPr>
          <p:cNvPr id="6" name="TextBox 5">
            <a:extLst>
              <a:ext uri="{FF2B5EF4-FFF2-40B4-BE49-F238E27FC236}">
                <a16:creationId xmlns:a16="http://schemas.microsoft.com/office/drawing/2014/main" id="{4C09B935-BFE9-4B1E-AABB-2C5E8905F073}"/>
              </a:ext>
            </a:extLst>
          </p:cNvPr>
          <p:cNvSpPr txBox="1"/>
          <p:nvPr/>
        </p:nvSpPr>
        <p:spPr>
          <a:xfrm>
            <a:off x="966779" y="2338157"/>
            <a:ext cx="7718555" cy="2169825"/>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So, 107 people get a "Yes" but only 8 of those really have the allergy:</a:t>
            </a:r>
          </a:p>
          <a:p>
            <a:pPr algn="l"/>
            <a:endParaRPr lang="en-US" sz="1100" b="0" i="0" dirty="0">
              <a:solidFill>
                <a:srgbClr val="333333"/>
              </a:solidFill>
              <a:effectLst/>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lgn="ctr"/>
            <a:r>
              <a:rPr lang="en-US" sz="1100" b="0" i="0" dirty="0">
                <a:effectLst/>
                <a:latin typeface="Verdana" panose="020B0604030504040204" pitchFamily="34" charset="0"/>
              </a:rPr>
              <a:t>8 / 107 = about 7%</a:t>
            </a:r>
          </a:p>
          <a:p>
            <a:pPr algn="ctr"/>
            <a:endParaRPr lang="en-US" sz="1100" b="0" i="0" dirty="0">
              <a:effectLst/>
              <a:latin typeface="Verdana" panose="020B0604030504040204" pitchFamily="34" charset="0"/>
            </a:endParaRPr>
          </a:p>
          <a:p>
            <a:pPr algn="ctr"/>
            <a:endParaRPr lang="en-US" sz="1100" b="0" i="0" dirty="0">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So, even though Hunter's test said "Yes", it is still only </a:t>
            </a:r>
            <a:r>
              <a:rPr lang="en-US" sz="1100" b="1" i="0" dirty="0">
                <a:solidFill>
                  <a:srgbClr val="333333"/>
                </a:solidFill>
                <a:effectLst/>
                <a:latin typeface="Verdana" panose="020B0604030504040204" pitchFamily="34" charset="0"/>
              </a:rPr>
              <a:t>7% likely</a:t>
            </a:r>
            <a:r>
              <a:rPr lang="en-US" sz="1100" b="0" i="0" dirty="0">
                <a:solidFill>
                  <a:srgbClr val="333333"/>
                </a:solidFill>
                <a:effectLst/>
                <a:latin typeface="Verdana" panose="020B0604030504040204" pitchFamily="34" charset="0"/>
              </a:rPr>
              <a:t> that Hunter has a Cat Allergy.</a:t>
            </a:r>
          </a:p>
          <a:p>
            <a:pPr algn="l"/>
            <a:endParaRPr lang="en-US" sz="1100" dirty="0">
              <a:solidFill>
                <a:srgbClr val="333333"/>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Why so small? Well, the allergy is so rare that those who actually have it are greatly </a:t>
            </a:r>
            <a:r>
              <a:rPr lang="en-US" sz="1100" b="1" i="0" dirty="0">
                <a:solidFill>
                  <a:srgbClr val="333333"/>
                </a:solidFill>
                <a:effectLst/>
                <a:latin typeface="Verdana" panose="020B0604030504040204" pitchFamily="34" charset="0"/>
              </a:rPr>
              <a:t>outnumbered</a:t>
            </a:r>
            <a:r>
              <a:rPr lang="en-US" sz="1100" b="0" i="0" dirty="0">
                <a:solidFill>
                  <a:srgbClr val="333333"/>
                </a:solidFill>
                <a:effectLst/>
                <a:latin typeface="Verdana" panose="020B0604030504040204" pitchFamily="34" charset="0"/>
              </a:rPr>
              <a:t> by those with a false positive.</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5B77FD57-630B-40FC-805D-76D86B8D98C0}"/>
                  </a:ext>
                </a:extLst>
              </p14:cNvPr>
              <p14:cNvContentPartPr/>
              <p14:nvPr/>
            </p14:nvContentPartPr>
            <p14:xfrm>
              <a:off x="314280" y="409680"/>
              <a:ext cx="8701560" cy="3938760"/>
            </p14:xfrm>
          </p:contentPart>
        </mc:Choice>
        <mc:Fallback>
          <p:pic>
            <p:nvPicPr>
              <p:cNvPr id="3" name="Ink 2">
                <a:extLst>
                  <a:ext uri="{FF2B5EF4-FFF2-40B4-BE49-F238E27FC236}">
                    <a16:creationId xmlns:a16="http://schemas.microsoft.com/office/drawing/2014/main" id="{5B77FD57-630B-40FC-805D-76D86B8D98C0}"/>
                  </a:ext>
                </a:extLst>
              </p:cNvPr>
              <p:cNvPicPr/>
              <p:nvPr/>
            </p:nvPicPr>
            <p:blipFill>
              <a:blip r:embed="rId4"/>
              <a:stretch>
                <a:fillRect/>
              </a:stretch>
            </p:blipFill>
            <p:spPr>
              <a:xfrm>
                <a:off x="304920" y="400320"/>
                <a:ext cx="8720280" cy="3957480"/>
              </a:xfrm>
              <a:prstGeom prst="rect">
                <a:avLst/>
              </a:prstGeom>
            </p:spPr>
          </p:pic>
        </mc:Fallback>
      </mc:AlternateContent>
    </p:spTree>
    <p:extLst>
      <p:ext uri="{BB962C8B-B14F-4D97-AF65-F5344CB8AC3E}">
        <p14:creationId xmlns:p14="http://schemas.microsoft.com/office/powerpoint/2010/main" val="832576474"/>
      </p:ext>
    </p:extLst>
  </p:cSld>
  <p:clrMapOvr>
    <a:masterClrMapping/>
  </p:clrMapOvr>
  <p:transition spd="med">
    <p:wipe dir="r"/>
  </p:transition>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9B4989-CA75-4E36-B717-BC31C8DEBCF6}"/>
              </a:ext>
            </a:extLst>
          </p:cNvPr>
          <p:cNvSpPr>
            <a:spLocks noGrp="1"/>
          </p:cNvSpPr>
          <p:nvPr>
            <p:ph type="title"/>
          </p:nvPr>
        </p:nvSpPr>
        <p:spPr>
          <a:xfrm>
            <a:off x="0" y="22860"/>
            <a:ext cx="4295219" cy="640080"/>
          </a:xfrm>
        </p:spPr>
        <p:txBody>
          <a:bodyPr/>
          <a:lstStyle/>
          <a:p>
            <a:r>
              <a:rPr lang="en-US" dirty="0"/>
              <a:t>Solution 2 : Tree Diagram </a:t>
            </a:r>
          </a:p>
        </p:txBody>
      </p:sp>
      <p:pic>
        <p:nvPicPr>
          <p:cNvPr id="5" name="Content Placeholder 4">
            <a:extLst>
              <a:ext uri="{FF2B5EF4-FFF2-40B4-BE49-F238E27FC236}">
                <a16:creationId xmlns:a16="http://schemas.microsoft.com/office/drawing/2014/main" id="{EE0EC353-F20B-4BA1-8A7B-1D29B7E36C38}"/>
              </a:ext>
            </a:extLst>
          </p:cNvPr>
          <p:cNvPicPr>
            <a:picLocks noGrp="1" noChangeAspect="1"/>
          </p:cNvPicPr>
          <p:nvPr>
            <p:ph sz="half" idx="13"/>
          </p:nvPr>
        </p:nvPicPr>
        <p:blipFill>
          <a:blip r:embed="rId2"/>
          <a:stretch>
            <a:fillRect/>
          </a:stretch>
        </p:blipFill>
        <p:spPr>
          <a:xfrm>
            <a:off x="1214090" y="581520"/>
            <a:ext cx="5681488" cy="1898381"/>
          </a:xfrm>
        </p:spPr>
      </p:pic>
      <p:sp>
        <p:nvSpPr>
          <p:cNvPr id="6" name="TextBox 5">
            <a:extLst>
              <a:ext uri="{FF2B5EF4-FFF2-40B4-BE49-F238E27FC236}">
                <a16:creationId xmlns:a16="http://schemas.microsoft.com/office/drawing/2014/main" id="{6B9D5C1D-650F-4FA4-9532-929A463528B3}"/>
              </a:ext>
            </a:extLst>
          </p:cNvPr>
          <p:cNvSpPr txBox="1"/>
          <p:nvPr/>
        </p:nvSpPr>
        <p:spPr>
          <a:xfrm>
            <a:off x="325677" y="2523995"/>
            <a:ext cx="6851737" cy="2169825"/>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First, let's check that all the percentages add up:</a:t>
            </a:r>
          </a:p>
          <a:p>
            <a:pPr algn="l"/>
            <a:endParaRPr lang="en-US" sz="1100" dirty="0">
              <a:solidFill>
                <a:srgbClr val="333333"/>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lgn="ctr"/>
            <a:r>
              <a:rPr lang="en-US" sz="1100" b="0" i="0" dirty="0">
                <a:solidFill>
                  <a:srgbClr val="333333"/>
                </a:solidFill>
                <a:effectLst/>
                <a:latin typeface="Verdana" panose="020B0604030504040204" pitchFamily="34" charset="0"/>
              </a:rPr>
              <a:t>0.8% + 0.2% + 9.9% + 89.1% = </a:t>
            </a:r>
            <a:r>
              <a:rPr lang="en-US" sz="1100" b="1" i="0" dirty="0">
                <a:solidFill>
                  <a:srgbClr val="333333"/>
                </a:solidFill>
                <a:effectLst/>
                <a:latin typeface="Verdana" panose="020B0604030504040204" pitchFamily="34" charset="0"/>
              </a:rPr>
              <a:t>100%</a:t>
            </a:r>
            <a:r>
              <a:rPr lang="en-US" sz="1100" b="0" i="0" dirty="0">
                <a:solidFill>
                  <a:srgbClr val="333333"/>
                </a:solidFill>
                <a:effectLst/>
                <a:latin typeface="Verdana" panose="020B0604030504040204" pitchFamily="34" charset="0"/>
              </a:rPr>
              <a:t> (good!)</a:t>
            </a:r>
          </a:p>
          <a:p>
            <a:pPr algn="ctr"/>
            <a:endParaRPr lang="en-US" sz="1100" dirty="0">
              <a:solidFill>
                <a:srgbClr val="333333"/>
              </a:solidFill>
              <a:latin typeface="Verdana" panose="020B0604030504040204" pitchFamily="34" charset="0"/>
            </a:endParaRPr>
          </a:p>
          <a:p>
            <a:pPr algn="ctr"/>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And the two "Yes" answers add up to 0.8% + 9.9% = </a:t>
            </a:r>
            <a:r>
              <a:rPr lang="en-US" sz="1100" b="1" i="0" dirty="0">
                <a:solidFill>
                  <a:srgbClr val="333333"/>
                </a:solidFill>
                <a:effectLst/>
                <a:latin typeface="Verdana" panose="020B0604030504040204" pitchFamily="34" charset="0"/>
              </a:rPr>
              <a:t>10.7%</a:t>
            </a:r>
            <a:r>
              <a:rPr lang="en-US" sz="1100" b="0" i="0" dirty="0">
                <a:solidFill>
                  <a:srgbClr val="333333"/>
                </a:solidFill>
                <a:effectLst/>
                <a:latin typeface="Verdana" panose="020B0604030504040204" pitchFamily="34" charset="0"/>
              </a:rPr>
              <a:t>, but only 0.8% are correct.</a:t>
            </a:r>
          </a:p>
          <a:p>
            <a:pPr algn="l"/>
            <a:endParaRPr lang="en-US" sz="1100" dirty="0">
              <a:solidFill>
                <a:srgbClr val="333333"/>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lgn="ctr"/>
            <a:r>
              <a:rPr lang="en-US" sz="1100" b="0" i="0" dirty="0">
                <a:solidFill>
                  <a:srgbClr val="333333"/>
                </a:solidFill>
                <a:effectLst/>
                <a:latin typeface="Verdana" panose="020B0604030504040204" pitchFamily="34" charset="0"/>
              </a:rPr>
              <a:t>0.8/10.7 = </a:t>
            </a:r>
            <a:r>
              <a:rPr lang="en-US" sz="1100" b="1" i="0" dirty="0">
                <a:solidFill>
                  <a:srgbClr val="333333"/>
                </a:solidFill>
                <a:effectLst/>
                <a:latin typeface="Verdana" panose="020B0604030504040204" pitchFamily="34" charset="0"/>
              </a:rPr>
              <a:t>7%</a:t>
            </a:r>
            <a:r>
              <a:rPr lang="en-US" sz="1100" b="0" i="0" dirty="0">
                <a:solidFill>
                  <a:srgbClr val="333333"/>
                </a:solidFill>
                <a:effectLst/>
                <a:latin typeface="Verdana" panose="020B0604030504040204" pitchFamily="34" charset="0"/>
              </a:rPr>
              <a:t> (same answer as above)</a:t>
            </a:r>
          </a:p>
          <a:p>
            <a:pPr algn="ctr"/>
            <a:r>
              <a:rPr lang="en-US" sz="1100" b="0" i="0" dirty="0">
                <a:solidFill>
                  <a:srgbClr val="333333"/>
                </a:solidFill>
                <a:effectLst/>
                <a:latin typeface="Verdana" panose="020B0604030504040204" pitchFamily="34" charset="0"/>
              </a:rPr>
              <a:t> </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04A8AFEC-621D-4C78-9D0D-D7D4160E1105}"/>
                  </a:ext>
                </a:extLst>
              </p14:cNvPr>
              <p14:cNvContentPartPr/>
              <p14:nvPr/>
            </p14:nvContentPartPr>
            <p14:xfrm>
              <a:off x="614520" y="438120"/>
              <a:ext cx="8015400" cy="4072320"/>
            </p14:xfrm>
          </p:contentPart>
        </mc:Choice>
        <mc:Fallback>
          <p:pic>
            <p:nvPicPr>
              <p:cNvPr id="3" name="Ink 2">
                <a:extLst>
                  <a:ext uri="{FF2B5EF4-FFF2-40B4-BE49-F238E27FC236}">
                    <a16:creationId xmlns:a16="http://schemas.microsoft.com/office/drawing/2014/main" id="{04A8AFEC-621D-4C78-9D0D-D7D4160E1105}"/>
                  </a:ext>
                </a:extLst>
              </p:cNvPr>
              <p:cNvPicPr/>
              <p:nvPr/>
            </p:nvPicPr>
            <p:blipFill>
              <a:blip r:embed="rId4"/>
              <a:stretch>
                <a:fillRect/>
              </a:stretch>
            </p:blipFill>
            <p:spPr>
              <a:xfrm>
                <a:off x="605160" y="428760"/>
                <a:ext cx="8034120" cy="4091040"/>
              </a:xfrm>
              <a:prstGeom prst="rect">
                <a:avLst/>
              </a:prstGeom>
            </p:spPr>
          </p:pic>
        </mc:Fallback>
      </mc:AlternateContent>
    </p:spTree>
    <p:extLst>
      <p:ext uri="{BB962C8B-B14F-4D97-AF65-F5344CB8AC3E}">
        <p14:creationId xmlns:p14="http://schemas.microsoft.com/office/powerpoint/2010/main" val="3531776241"/>
      </p:ext>
    </p:extLst>
  </p:cSld>
  <p:clrMapOvr>
    <a:masterClrMapping/>
  </p:clrMapOvr>
  <p:transition spd="med">
    <p:wipe dir="r"/>
  </p:transition>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F42682-AF4E-4F0D-BA1C-384E4E1E6823}"/>
              </a:ext>
            </a:extLst>
          </p:cNvPr>
          <p:cNvSpPr>
            <a:spLocks noGrp="1"/>
          </p:cNvSpPr>
          <p:nvPr>
            <p:ph type="title"/>
          </p:nvPr>
        </p:nvSpPr>
        <p:spPr>
          <a:xfrm>
            <a:off x="0" y="0"/>
            <a:ext cx="7831731" cy="640080"/>
          </a:xfrm>
        </p:spPr>
        <p:txBody>
          <a:bodyPr/>
          <a:lstStyle/>
          <a:p>
            <a:r>
              <a:rPr lang="en-US" dirty="0"/>
              <a:t>Bayes Theorem – When to apply ? </a:t>
            </a:r>
          </a:p>
        </p:txBody>
      </p:sp>
      <p:sp>
        <p:nvSpPr>
          <p:cNvPr id="3" name="Content Placeholder 2">
            <a:extLst>
              <a:ext uri="{FF2B5EF4-FFF2-40B4-BE49-F238E27FC236}">
                <a16:creationId xmlns:a16="http://schemas.microsoft.com/office/drawing/2014/main" id="{BF60AA7F-1175-41AB-AA9A-828D1C867EFB}"/>
              </a:ext>
            </a:extLst>
          </p:cNvPr>
          <p:cNvSpPr>
            <a:spLocks noGrp="1"/>
          </p:cNvSpPr>
          <p:nvPr>
            <p:ph sz="half" idx="13"/>
          </p:nvPr>
        </p:nvSpPr>
        <p:spPr>
          <a:xfrm>
            <a:off x="153563" y="640080"/>
            <a:ext cx="8480885" cy="3840480"/>
          </a:xfrm>
        </p:spPr>
        <p:txBody>
          <a:bodyPr>
            <a:normAutofit/>
          </a:bodyPr>
          <a:lstStyle/>
          <a:p>
            <a:r>
              <a:rPr lang="en-US" sz="2000" dirty="0"/>
              <a:t>Part of the challenge in applying Bayes theorem involves recognizing the types of problems that warrant its use. You should consider Bayes theorem when the following conditions exit.</a:t>
            </a:r>
          </a:p>
          <a:p>
            <a:endParaRPr lang="en-US" sz="2000" dirty="0"/>
          </a:p>
          <a:p>
            <a:pPr lvl="1"/>
            <a:r>
              <a:rPr lang="en-US" sz="1800" dirty="0"/>
              <a:t>Within the sample space, there exists an event B, for which P(B) &gt; 0</a:t>
            </a:r>
          </a:p>
          <a:p>
            <a:pPr lvl="1"/>
            <a:r>
              <a:rPr lang="en-US" sz="1800" dirty="0"/>
              <a:t>The analytical goal is to compute a conditional probability of the form :           P (A | B)</a:t>
            </a:r>
          </a:p>
          <a:p>
            <a:pPr lvl="1"/>
            <a:r>
              <a:rPr lang="en-US" sz="1800" dirty="0"/>
              <a:t>You know at least one of the two set of probabilities described below :</a:t>
            </a:r>
          </a:p>
          <a:p>
            <a:pPr lvl="1"/>
            <a:endParaRPr lang="en-US" sz="1800" dirty="0"/>
          </a:p>
          <a:p>
            <a:pPr lvl="2"/>
            <a:r>
              <a:rPr lang="en-US" sz="1200" dirty="0"/>
              <a:t>P ( A n B) for each A</a:t>
            </a:r>
          </a:p>
          <a:p>
            <a:pPr lvl="2"/>
            <a:r>
              <a:rPr lang="en-US" sz="1200" dirty="0"/>
              <a:t>P (A) and P (B | A) for each A</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9F08A12C-0B90-4A83-8E03-533FB351B858}"/>
                  </a:ext>
                </a:extLst>
              </p14:cNvPr>
              <p14:cNvContentPartPr/>
              <p14:nvPr/>
            </p14:nvContentPartPr>
            <p14:xfrm>
              <a:off x="642960" y="390600"/>
              <a:ext cx="8210880" cy="3934080"/>
            </p14:xfrm>
          </p:contentPart>
        </mc:Choice>
        <mc:Fallback>
          <p:pic>
            <p:nvPicPr>
              <p:cNvPr id="4" name="Ink 3">
                <a:extLst>
                  <a:ext uri="{FF2B5EF4-FFF2-40B4-BE49-F238E27FC236}">
                    <a16:creationId xmlns:a16="http://schemas.microsoft.com/office/drawing/2014/main" id="{9F08A12C-0B90-4A83-8E03-533FB351B858}"/>
                  </a:ext>
                </a:extLst>
              </p:cNvPr>
              <p:cNvPicPr/>
              <p:nvPr/>
            </p:nvPicPr>
            <p:blipFill>
              <a:blip r:embed="rId3"/>
              <a:stretch>
                <a:fillRect/>
              </a:stretch>
            </p:blipFill>
            <p:spPr>
              <a:xfrm>
                <a:off x="633600" y="381240"/>
                <a:ext cx="8229600" cy="3952800"/>
              </a:xfrm>
              <a:prstGeom prst="rect">
                <a:avLst/>
              </a:prstGeom>
            </p:spPr>
          </p:pic>
        </mc:Fallback>
      </mc:AlternateContent>
    </p:spTree>
    <p:extLst>
      <p:ext uri="{BB962C8B-B14F-4D97-AF65-F5344CB8AC3E}">
        <p14:creationId xmlns:p14="http://schemas.microsoft.com/office/powerpoint/2010/main" val="533771919"/>
      </p:ext>
    </p:extLst>
  </p:cSld>
  <p:clrMapOvr>
    <a:masterClrMapping/>
  </p:clrMapOvr>
  <p:transition spd="med">
    <p:wipe dir="r"/>
  </p:transition>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F1BDF1-3031-402A-82E9-14EE471DEE72}"/>
              </a:ext>
            </a:extLst>
          </p:cNvPr>
          <p:cNvSpPr>
            <a:spLocks noGrp="1"/>
          </p:cNvSpPr>
          <p:nvPr>
            <p:ph type="title"/>
          </p:nvPr>
        </p:nvSpPr>
        <p:spPr>
          <a:xfrm>
            <a:off x="0" y="0"/>
            <a:ext cx="4295219" cy="640080"/>
          </a:xfrm>
        </p:spPr>
        <p:txBody>
          <a:bodyPr/>
          <a:lstStyle/>
          <a:p>
            <a:r>
              <a:rPr lang="en-US" dirty="0"/>
              <a:t>Bayes theorem</a:t>
            </a:r>
          </a:p>
        </p:txBody>
      </p:sp>
      <p:sp>
        <p:nvSpPr>
          <p:cNvPr id="6" name="TextBox 5">
            <a:extLst>
              <a:ext uri="{FF2B5EF4-FFF2-40B4-BE49-F238E27FC236}">
                <a16:creationId xmlns:a16="http://schemas.microsoft.com/office/drawing/2014/main" id="{7DF8D651-CBEB-4571-BE27-D8DC9E893C53}"/>
              </a:ext>
            </a:extLst>
          </p:cNvPr>
          <p:cNvSpPr txBox="1"/>
          <p:nvPr/>
        </p:nvSpPr>
        <p:spPr>
          <a:xfrm>
            <a:off x="0" y="640080"/>
            <a:ext cx="8983457" cy="1815882"/>
          </a:xfrm>
          <a:prstGeom prst="rect">
            <a:avLst/>
          </a:prstGeom>
          <a:noFill/>
        </p:spPr>
        <p:txBody>
          <a:bodyPr wrap="square" rtlCol="0">
            <a:spAutoFit/>
          </a:bodyPr>
          <a:lstStyle/>
          <a:p>
            <a:pPr>
              <a:spcBef>
                <a:spcPts val="0"/>
              </a:spcBef>
              <a:spcAft>
                <a:spcPts val="0"/>
              </a:spcAft>
              <a:buClr>
                <a:schemeClr val="bg1"/>
              </a:buClr>
            </a:pPr>
            <a:r>
              <a:rPr lang="en-US" sz="2800" b="1" dirty="0">
                <a:solidFill>
                  <a:schemeClr val="bg2"/>
                </a:solidFill>
                <a:latin typeface="+mn-lt"/>
              </a:rPr>
              <a:t>In Probability theory and statistics, Bayes theorem (alternatively Bayes law or Bayes rule) describe the probability of an event, based on conditions that might be related to the event </a:t>
            </a:r>
          </a:p>
        </p:txBody>
      </p:sp>
      <p:pic>
        <p:nvPicPr>
          <p:cNvPr id="10" name="Picture 9">
            <a:extLst>
              <a:ext uri="{FF2B5EF4-FFF2-40B4-BE49-F238E27FC236}">
                <a16:creationId xmlns:a16="http://schemas.microsoft.com/office/drawing/2014/main" id="{3D2C4696-8262-4E4D-8358-2DFE889B585B}"/>
              </a:ext>
            </a:extLst>
          </p:cNvPr>
          <p:cNvPicPr>
            <a:picLocks noChangeAspect="1"/>
          </p:cNvPicPr>
          <p:nvPr/>
        </p:nvPicPr>
        <p:blipFill>
          <a:blip r:embed="rId2"/>
          <a:stretch>
            <a:fillRect/>
          </a:stretch>
        </p:blipFill>
        <p:spPr>
          <a:xfrm>
            <a:off x="1713944" y="2687539"/>
            <a:ext cx="5162550" cy="1819275"/>
          </a:xfrm>
          <a:prstGeom prst="rect">
            <a:avLst/>
          </a:prstGeom>
        </p:spPr>
      </p:pic>
      <p:sp>
        <p:nvSpPr>
          <p:cNvPr id="11" name="TextBox 10">
            <a:extLst>
              <a:ext uri="{FF2B5EF4-FFF2-40B4-BE49-F238E27FC236}">
                <a16:creationId xmlns:a16="http://schemas.microsoft.com/office/drawing/2014/main" id="{7CA9157D-06A5-4AB9-8909-4A3C6AC7C89E}"/>
              </a:ext>
            </a:extLst>
          </p:cNvPr>
          <p:cNvSpPr txBox="1"/>
          <p:nvPr/>
        </p:nvSpPr>
        <p:spPr>
          <a:xfrm>
            <a:off x="1990725" y="4701903"/>
            <a:ext cx="5954071" cy="461665"/>
          </a:xfrm>
          <a:prstGeom prst="rect">
            <a:avLst/>
          </a:prstGeom>
          <a:noFill/>
        </p:spPr>
        <p:txBody>
          <a:bodyPr wrap="square" rtlCol="0">
            <a:spAutoFit/>
          </a:bodyPr>
          <a:lstStyle/>
          <a:p>
            <a:pPr>
              <a:spcBef>
                <a:spcPts val="0"/>
              </a:spcBef>
              <a:spcAft>
                <a:spcPts val="0"/>
              </a:spcAft>
              <a:buClr>
                <a:schemeClr val="bg1"/>
              </a:buClr>
            </a:pPr>
            <a:r>
              <a:rPr lang="en-US" sz="1000" dirty="0"/>
              <a:t>The bayes theorem was developed and name for Thomas Bayes (1702 – 1761)</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mc:Choice xmlns:p14="http://schemas.microsoft.com/office/powerpoint/2010/main" Requires="p14">
          <p:contentPart p14:bwMode="auto" r:id="rId3">
            <p14:nvContentPartPr>
              <p14:cNvPr id="12" name="Ink 11">
                <a:extLst>
                  <a:ext uri="{FF2B5EF4-FFF2-40B4-BE49-F238E27FC236}">
                    <a16:creationId xmlns:a16="http://schemas.microsoft.com/office/drawing/2014/main" id="{AB0392B3-A5C4-40E4-BB04-6A3778B92BB6}"/>
                  </a:ext>
                </a:extLst>
              </p14:cNvPr>
              <p14:cNvContentPartPr/>
              <p14:nvPr/>
            </p14:nvContentPartPr>
            <p14:xfrm>
              <a:off x="2533680" y="1157400"/>
              <a:ext cx="5691600" cy="3310200"/>
            </p14:xfrm>
          </p:contentPart>
        </mc:Choice>
        <mc:Fallback>
          <p:pic>
            <p:nvPicPr>
              <p:cNvPr id="12" name="Ink 11">
                <a:extLst>
                  <a:ext uri="{FF2B5EF4-FFF2-40B4-BE49-F238E27FC236}">
                    <a16:creationId xmlns:a16="http://schemas.microsoft.com/office/drawing/2014/main" id="{AB0392B3-A5C4-40E4-BB04-6A3778B92BB6}"/>
                  </a:ext>
                </a:extLst>
              </p:cNvPr>
              <p:cNvPicPr/>
              <p:nvPr/>
            </p:nvPicPr>
            <p:blipFill>
              <a:blip r:embed="rId4"/>
              <a:stretch>
                <a:fillRect/>
              </a:stretch>
            </p:blipFill>
            <p:spPr>
              <a:xfrm>
                <a:off x="2524320" y="1148040"/>
                <a:ext cx="5710320" cy="3328920"/>
              </a:xfrm>
              <a:prstGeom prst="rect">
                <a:avLst/>
              </a:prstGeom>
            </p:spPr>
          </p:pic>
        </mc:Fallback>
      </mc:AlternateContent>
    </p:spTree>
    <p:extLst>
      <p:ext uri="{BB962C8B-B14F-4D97-AF65-F5344CB8AC3E}">
        <p14:creationId xmlns:p14="http://schemas.microsoft.com/office/powerpoint/2010/main" val="2210167574"/>
      </p:ext>
    </p:extLst>
  </p:cSld>
  <p:clrMapOvr>
    <a:masterClrMapping/>
  </p:clrMapOvr>
  <p:transition spd="med">
    <p:wipe dir="r"/>
  </p:transition>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55A3F-A47C-4BF4-90D5-E884D6E8945B}"/>
              </a:ext>
            </a:extLst>
          </p:cNvPr>
          <p:cNvSpPr>
            <a:spLocks noGrp="1"/>
          </p:cNvSpPr>
          <p:nvPr>
            <p:ph type="title"/>
          </p:nvPr>
        </p:nvSpPr>
        <p:spPr>
          <a:xfrm>
            <a:off x="0" y="22860"/>
            <a:ext cx="4295219" cy="640080"/>
          </a:xfrm>
        </p:spPr>
        <p:txBody>
          <a:bodyPr/>
          <a:lstStyle/>
          <a:p>
            <a:r>
              <a:rPr lang="en-US" dirty="0"/>
              <a:t>Bayes theorem - continued</a:t>
            </a:r>
          </a:p>
        </p:txBody>
      </p:sp>
      <p:sp>
        <p:nvSpPr>
          <p:cNvPr id="3" name="Content Placeholder 2">
            <a:extLst>
              <a:ext uri="{FF2B5EF4-FFF2-40B4-BE49-F238E27FC236}">
                <a16:creationId xmlns:a16="http://schemas.microsoft.com/office/drawing/2014/main" id="{8C07FA60-EC69-4D57-9740-31C1A9ED291B}"/>
              </a:ext>
            </a:extLst>
          </p:cNvPr>
          <p:cNvSpPr>
            <a:spLocks noGrp="1"/>
          </p:cNvSpPr>
          <p:nvPr>
            <p:ph sz="half" idx="13"/>
          </p:nvPr>
        </p:nvSpPr>
        <p:spPr>
          <a:xfrm>
            <a:off x="141696" y="1021894"/>
            <a:ext cx="8541613" cy="3200400"/>
          </a:xfrm>
        </p:spPr>
        <p:txBody>
          <a:bodyPr>
            <a:normAutofit/>
          </a:bodyPr>
          <a:lstStyle/>
          <a:p>
            <a:r>
              <a:rPr lang="en-US" sz="2400" dirty="0"/>
              <a:t>Where A and B are events: </a:t>
            </a:r>
          </a:p>
          <a:p>
            <a:pPr lvl="1"/>
            <a:endParaRPr lang="en-US" sz="2000" dirty="0"/>
          </a:p>
          <a:p>
            <a:pPr lvl="1"/>
            <a:r>
              <a:rPr lang="en-US" sz="2000" dirty="0"/>
              <a:t>P(A) and P(B) are the probabilities of A and B without regard to each other</a:t>
            </a:r>
          </a:p>
          <a:p>
            <a:pPr lvl="1"/>
            <a:endParaRPr lang="en-US" sz="2000" dirty="0"/>
          </a:p>
          <a:p>
            <a:pPr lvl="1"/>
            <a:r>
              <a:rPr lang="en-US" sz="2000" dirty="0"/>
              <a:t>P (A | B) : a conditional probability is the probability of observing event A given the B is true.</a:t>
            </a:r>
          </a:p>
          <a:p>
            <a:pPr lvl="1"/>
            <a:endParaRPr lang="en-US" sz="2000" dirty="0"/>
          </a:p>
          <a:p>
            <a:pPr lvl="1"/>
            <a:r>
              <a:rPr lang="en-US" sz="2000" dirty="0"/>
              <a:t>P(B | A) is the probability of observing event B given that A is true. </a:t>
            </a:r>
          </a:p>
        </p:txBody>
      </p:sp>
    </p:spTree>
    <p:extLst>
      <p:ext uri="{BB962C8B-B14F-4D97-AF65-F5344CB8AC3E}">
        <p14:creationId xmlns:p14="http://schemas.microsoft.com/office/powerpoint/2010/main" val="2648337320"/>
      </p:ext>
    </p:extLst>
  </p:cSld>
  <p:clrMapOvr>
    <a:masterClrMapping/>
  </p:clrMapOvr>
  <p:transition spd="med">
    <p:wipe dir="r"/>
  </p:transition>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3A54D-1685-4F78-961F-8E9376E96703}"/>
              </a:ext>
            </a:extLst>
          </p:cNvPr>
          <p:cNvSpPr>
            <a:spLocks noGrp="1"/>
          </p:cNvSpPr>
          <p:nvPr>
            <p:ph type="title"/>
          </p:nvPr>
        </p:nvSpPr>
        <p:spPr>
          <a:xfrm>
            <a:off x="0" y="0"/>
            <a:ext cx="8186895" cy="640080"/>
          </a:xfrm>
        </p:spPr>
        <p:txBody>
          <a:bodyPr/>
          <a:lstStyle/>
          <a:p>
            <a:r>
              <a:rPr lang="en-US" dirty="0"/>
              <a:t>Bayes theorem – Example 1 </a:t>
            </a:r>
          </a:p>
        </p:txBody>
      </p:sp>
      <p:sp>
        <p:nvSpPr>
          <p:cNvPr id="10" name="Rectangle 9">
            <a:extLst>
              <a:ext uri="{FF2B5EF4-FFF2-40B4-BE49-F238E27FC236}">
                <a16:creationId xmlns:a16="http://schemas.microsoft.com/office/drawing/2014/main" id="{87FED99B-1138-44B7-ACD0-9AFB1963DDBB}"/>
              </a:ext>
            </a:extLst>
          </p:cNvPr>
          <p:cNvSpPr/>
          <p:nvPr/>
        </p:nvSpPr>
        <p:spPr>
          <a:xfrm>
            <a:off x="279206" y="826528"/>
            <a:ext cx="486394" cy="3267075"/>
          </a:xfrm>
          <a:prstGeom prst="rect">
            <a:avLst/>
          </a:prstGeom>
          <a:solidFill>
            <a:schemeClr val="tx1">
              <a:lumMod val="40000"/>
              <a:lumOff val="60000"/>
            </a:schemeClr>
          </a:solidFill>
          <a:ln w="12700" cmpd="sng">
            <a:solidFill>
              <a:schemeClr val="bg2">
                <a:lumMod val="50000"/>
                <a:lumOff val="50000"/>
              </a:schemeClr>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pic>
        <p:nvPicPr>
          <p:cNvPr id="12" name="Picture 11">
            <a:extLst>
              <a:ext uri="{FF2B5EF4-FFF2-40B4-BE49-F238E27FC236}">
                <a16:creationId xmlns:a16="http://schemas.microsoft.com/office/drawing/2014/main" id="{90A5448B-748B-47A9-BEBA-BF2C060EC263}"/>
              </a:ext>
            </a:extLst>
          </p:cNvPr>
          <p:cNvPicPr>
            <a:picLocks noChangeAspect="1"/>
          </p:cNvPicPr>
          <p:nvPr/>
        </p:nvPicPr>
        <p:blipFill>
          <a:blip r:embed="rId2"/>
          <a:stretch>
            <a:fillRect/>
          </a:stretch>
        </p:blipFill>
        <p:spPr>
          <a:xfrm>
            <a:off x="765600" y="831290"/>
            <a:ext cx="7296150" cy="3257550"/>
          </a:xfrm>
          <a:prstGeom prst="rect">
            <a:avLst/>
          </a:prstGeom>
        </p:spPr>
      </p:pic>
      <mc:AlternateContent xmlns:mc="http://schemas.openxmlformats.org/markup-compatibility/2006">
        <mc:Choice xmlns:p14="http://schemas.microsoft.com/office/powerpoint/2010/main" Requires="p14">
          <p:contentPart p14:bwMode="auto" r:id="rId3">
            <p14:nvContentPartPr>
              <p14:cNvPr id="13" name="Ink 12">
                <a:extLst>
                  <a:ext uri="{FF2B5EF4-FFF2-40B4-BE49-F238E27FC236}">
                    <a16:creationId xmlns:a16="http://schemas.microsoft.com/office/drawing/2014/main" id="{F2D5FE0E-C933-4951-BF06-A0A55A06B551}"/>
                  </a:ext>
                </a:extLst>
              </p14:cNvPr>
              <p14:cNvContentPartPr/>
              <p14:nvPr/>
            </p14:nvContentPartPr>
            <p14:xfrm>
              <a:off x="1133640" y="228600"/>
              <a:ext cx="6672600" cy="4538880"/>
            </p14:xfrm>
          </p:contentPart>
        </mc:Choice>
        <mc:Fallback>
          <p:pic>
            <p:nvPicPr>
              <p:cNvPr id="13" name="Ink 12">
                <a:extLst>
                  <a:ext uri="{FF2B5EF4-FFF2-40B4-BE49-F238E27FC236}">
                    <a16:creationId xmlns:a16="http://schemas.microsoft.com/office/drawing/2014/main" id="{F2D5FE0E-C933-4951-BF06-A0A55A06B551}"/>
                  </a:ext>
                </a:extLst>
              </p:cNvPr>
              <p:cNvPicPr/>
              <p:nvPr/>
            </p:nvPicPr>
            <p:blipFill>
              <a:blip r:embed="rId4"/>
              <a:stretch>
                <a:fillRect/>
              </a:stretch>
            </p:blipFill>
            <p:spPr>
              <a:xfrm>
                <a:off x="1124280" y="219240"/>
                <a:ext cx="6691320" cy="4557600"/>
              </a:xfrm>
              <a:prstGeom prst="rect">
                <a:avLst/>
              </a:prstGeom>
            </p:spPr>
          </p:pic>
        </mc:Fallback>
      </mc:AlternateContent>
    </p:spTree>
    <p:extLst>
      <p:ext uri="{BB962C8B-B14F-4D97-AF65-F5344CB8AC3E}">
        <p14:creationId xmlns:p14="http://schemas.microsoft.com/office/powerpoint/2010/main" val="3403247477"/>
      </p:ext>
    </p:extLst>
  </p:cSld>
  <p:clrMapOvr>
    <a:masterClrMapping/>
  </p:clrMapOvr>
  <p:transition spd="med">
    <p:wipe dir="r"/>
  </p:transition>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778FF3D8-143E-41B0-9971-ECB21407DADF}"/>
              </a:ext>
            </a:extLst>
          </p:cNvPr>
          <p:cNvSpPr>
            <a:spLocks noGrp="1"/>
          </p:cNvSpPr>
          <p:nvPr>
            <p:ph type="title"/>
          </p:nvPr>
        </p:nvSpPr>
        <p:spPr>
          <a:xfrm>
            <a:off x="274319" y="271886"/>
            <a:ext cx="7955280" cy="640080"/>
          </a:xfrm>
        </p:spPr>
        <p:txBody>
          <a:bodyPr/>
          <a:lstStyle/>
          <a:p>
            <a:r>
              <a:rPr lang="en-US" dirty="0"/>
              <a:t>Bayes theorem – Example 1 </a:t>
            </a:r>
          </a:p>
        </p:txBody>
      </p:sp>
      <p:pic>
        <p:nvPicPr>
          <p:cNvPr id="5" name="Picture 4" descr="Text&#10;&#10;Description automatically generated">
            <a:extLst>
              <a:ext uri="{FF2B5EF4-FFF2-40B4-BE49-F238E27FC236}">
                <a16:creationId xmlns:a16="http://schemas.microsoft.com/office/drawing/2014/main" id="{A829A4B6-AC89-40CE-A6DE-D500F6A10890}"/>
              </a:ext>
            </a:extLst>
          </p:cNvPr>
          <p:cNvPicPr>
            <a:picLocks noChangeAspect="1"/>
          </p:cNvPicPr>
          <p:nvPr/>
        </p:nvPicPr>
        <p:blipFill>
          <a:blip r:embed="rId2"/>
          <a:stretch>
            <a:fillRect/>
          </a:stretch>
        </p:blipFill>
        <p:spPr>
          <a:xfrm>
            <a:off x="1003232" y="1273180"/>
            <a:ext cx="5740627" cy="3200400"/>
          </a:xfrm>
          <a:prstGeom prst="rect">
            <a:avLst/>
          </a:prstGeom>
          <a:noFill/>
        </p:spPr>
      </p:pic>
      <mc:AlternateContent xmlns:mc="http://schemas.openxmlformats.org/markup-compatibility/2006">
        <mc:Choice xmlns:p14="http://schemas.microsoft.com/office/powerpoint/2010/main" Requires="p14">
          <p:contentPart p14:bwMode="auto" r:id="rId3">
            <p14:nvContentPartPr>
              <p14:cNvPr id="6" name="Ink 5">
                <a:extLst>
                  <a:ext uri="{FF2B5EF4-FFF2-40B4-BE49-F238E27FC236}">
                    <a16:creationId xmlns:a16="http://schemas.microsoft.com/office/drawing/2014/main" id="{428B5A3B-F729-45F1-A141-7CE965DB3AD1}"/>
                  </a:ext>
                </a:extLst>
              </p14:cNvPr>
              <p14:cNvContentPartPr/>
              <p14:nvPr/>
            </p14:nvContentPartPr>
            <p14:xfrm>
              <a:off x="1338120" y="304920"/>
              <a:ext cx="7777800" cy="4181760"/>
            </p14:xfrm>
          </p:contentPart>
        </mc:Choice>
        <mc:Fallback>
          <p:pic>
            <p:nvPicPr>
              <p:cNvPr id="6" name="Ink 5">
                <a:extLst>
                  <a:ext uri="{FF2B5EF4-FFF2-40B4-BE49-F238E27FC236}">
                    <a16:creationId xmlns:a16="http://schemas.microsoft.com/office/drawing/2014/main" id="{428B5A3B-F729-45F1-A141-7CE965DB3AD1}"/>
                  </a:ext>
                </a:extLst>
              </p:cNvPr>
              <p:cNvPicPr/>
              <p:nvPr/>
            </p:nvPicPr>
            <p:blipFill>
              <a:blip r:embed="rId4"/>
              <a:stretch>
                <a:fillRect/>
              </a:stretch>
            </p:blipFill>
            <p:spPr>
              <a:xfrm>
                <a:off x="1328760" y="295560"/>
                <a:ext cx="7796520" cy="4200480"/>
              </a:xfrm>
              <a:prstGeom prst="rect">
                <a:avLst/>
              </a:prstGeom>
            </p:spPr>
          </p:pic>
        </mc:Fallback>
      </mc:AlternateContent>
    </p:spTree>
    <p:extLst>
      <p:ext uri="{BB962C8B-B14F-4D97-AF65-F5344CB8AC3E}">
        <p14:creationId xmlns:p14="http://schemas.microsoft.com/office/powerpoint/2010/main" val="58607925"/>
      </p:ext>
    </p:extLst>
  </p:cSld>
  <p:clrMapOvr>
    <a:masterClrMapping/>
  </p:clrMapOvr>
  <p:transition spd="med">
    <p:wipe dir="r"/>
  </p:transition>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568A0D-803B-4E5A-90FF-3AD3879ADAA3}"/>
              </a:ext>
            </a:extLst>
          </p:cNvPr>
          <p:cNvSpPr>
            <a:spLocks noGrp="1"/>
          </p:cNvSpPr>
          <p:nvPr>
            <p:ph type="title"/>
          </p:nvPr>
        </p:nvSpPr>
        <p:spPr>
          <a:xfrm>
            <a:off x="0" y="0"/>
            <a:ext cx="7955280" cy="640080"/>
          </a:xfrm>
        </p:spPr>
        <p:txBody>
          <a:bodyPr/>
          <a:lstStyle/>
          <a:p>
            <a:r>
              <a:rPr lang="en-US" dirty="0"/>
              <a:t>Bayes theorem – Example 1 </a:t>
            </a:r>
          </a:p>
        </p:txBody>
      </p:sp>
      <p:pic>
        <p:nvPicPr>
          <p:cNvPr id="5" name="Picture 4">
            <a:extLst>
              <a:ext uri="{FF2B5EF4-FFF2-40B4-BE49-F238E27FC236}">
                <a16:creationId xmlns:a16="http://schemas.microsoft.com/office/drawing/2014/main" id="{F0D53095-B16A-4541-A27A-5779EEB0824F}"/>
              </a:ext>
            </a:extLst>
          </p:cNvPr>
          <p:cNvPicPr>
            <a:picLocks noChangeAspect="1"/>
          </p:cNvPicPr>
          <p:nvPr/>
        </p:nvPicPr>
        <p:blipFill>
          <a:blip r:embed="rId2"/>
          <a:stretch>
            <a:fillRect/>
          </a:stretch>
        </p:blipFill>
        <p:spPr>
          <a:xfrm>
            <a:off x="571500" y="924268"/>
            <a:ext cx="7008946" cy="3838232"/>
          </a:xfrm>
          <a:prstGeom prst="rect">
            <a:avLst/>
          </a:prstGeom>
        </p:spPr>
      </p:pic>
      <mc:AlternateContent xmlns:mc="http://schemas.openxmlformats.org/markup-compatibility/2006">
        <mc:Choice xmlns:p14="http://schemas.microsoft.com/office/powerpoint/2010/main" Requires="p14">
          <p:contentPart p14:bwMode="auto" r:id="rId3">
            <p14:nvContentPartPr>
              <p14:cNvPr id="6" name="Ink 5">
                <a:extLst>
                  <a:ext uri="{FF2B5EF4-FFF2-40B4-BE49-F238E27FC236}">
                    <a16:creationId xmlns:a16="http://schemas.microsoft.com/office/drawing/2014/main" id="{8A57C397-7CC4-417F-9075-4E7C3DEF6ED0}"/>
                  </a:ext>
                </a:extLst>
              </p14:cNvPr>
              <p14:cNvContentPartPr/>
              <p14:nvPr/>
            </p14:nvContentPartPr>
            <p14:xfrm>
              <a:off x="1166760" y="304920"/>
              <a:ext cx="7668000" cy="4405680"/>
            </p14:xfrm>
          </p:contentPart>
        </mc:Choice>
        <mc:Fallback>
          <p:pic>
            <p:nvPicPr>
              <p:cNvPr id="6" name="Ink 5">
                <a:extLst>
                  <a:ext uri="{FF2B5EF4-FFF2-40B4-BE49-F238E27FC236}">
                    <a16:creationId xmlns:a16="http://schemas.microsoft.com/office/drawing/2014/main" id="{8A57C397-7CC4-417F-9075-4E7C3DEF6ED0}"/>
                  </a:ext>
                </a:extLst>
              </p:cNvPr>
              <p:cNvPicPr/>
              <p:nvPr/>
            </p:nvPicPr>
            <p:blipFill>
              <a:blip r:embed="rId4"/>
              <a:stretch>
                <a:fillRect/>
              </a:stretch>
            </p:blipFill>
            <p:spPr>
              <a:xfrm>
                <a:off x="1157400" y="295560"/>
                <a:ext cx="7686720" cy="4424400"/>
              </a:xfrm>
              <a:prstGeom prst="rect">
                <a:avLst/>
              </a:prstGeom>
            </p:spPr>
          </p:pic>
        </mc:Fallback>
      </mc:AlternateContent>
    </p:spTree>
    <p:extLst>
      <p:ext uri="{BB962C8B-B14F-4D97-AF65-F5344CB8AC3E}">
        <p14:creationId xmlns:p14="http://schemas.microsoft.com/office/powerpoint/2010/main" val="1832144962"/>
      </p:ext>
    </p:extLst>
  </p:cSld>
  <p:clrMapOvr>
    <a:masterClrMapping/>
  </p:clrMapOvr>
  <p:transition spd="med">
    <p:wipe dir="r"/>
  </p:transition>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C16FFD-114F-4F2A-AAFC-EDC3C3B33B69}"/>
              </a:ext>
            </a:extLst>
          </p:cNvPr>
          <p:cNvSpPr>
            <a:spLocks noGrp="1"/>
          </p:cNvSpPr>
          <p:nvPr>
            <p:ph type="title"/>
          </p:nvPr>
        </p:nvSpPr>
        <p:spPr>
          <a:xfrm>
            <a:off x="0" y="-5628"/>
            <a:ext cx="7955280" cy="640080"/>
          </a:xfrm>
        </p:spPr>
        <p:txBody>
          <a:bodyPr/>
          <a:lstStyle/>
          <a:p>
            <a:r>
              <a:rPr lang="en-US" dirty="0"/>
              <a:t>Bayes theorem – Example 1 </a:t>
            </a:r>
          </a:p>
        </p:txBody>
      </p:sp>
      <p:sp>
        <p:nvSpPr>
          <p:cNvPr id="6" name="TextBox 5">
            <a:extLst>
              <a:ext uri="{FF2B5EF4-FFF2-40B4-BE49-F238E27FC236}">
                <a16:creationId xmlns:a16="http://schemas.microsoft.com/office/drawing/2014/main" id="{5A5B0A8A-D4B8-4CD1-B8F0-4886A59A0A41}"/>
              </a:ext>
            </a:extLst>
          </p:cNvPr>
          <p:cNvSpPr txBox="1"/>
          <p:nvPr/>
        </p:nvSpPr>
        <p:spPr>
          <a:xfrm>
            <a:off x="606829" y="1421476"/>
            <a:ext cx="7240386"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e want to know P (A1 | B). The probability it will rain on the day of Marie’s wedding, given the forecast for rain by the weatherman. The answer can be determined from Bayes Theorem</a:t>
            </a:r>
          </a:p>
        </p:txBody>
      </p:sp>
      <p:pic>
        <p:nvPicPr>
          <p:cNvPr id="8" name="Picture 7">
            <a:extLst>
              <a:ext uri="{FF2B5EF4-FFF2-40B4-BE49-F238E27FC236}">
                <a16:creationId xmlns:a16="http://schemas.microsoft.com/office/drawing/2014/main" id="{012FACDC-2A82-4E64-8F2B-9A0E4AD07DB9}"/>
              </a:ext>
            </a:extLst>
          </p:cNvPr>
          <p:cNvPicPr>
            <a:picLocks noChangeAspect="1"/>
          </p:cNvPicPr>
          <p:nvPr/>
        </p:nvPicPr>
        <p:blipFill>
          <a:blip r:embed="rId2"/>
          <a:stretch>
            <a:fillRect/>
          </a:stretch>
        </p:blipFill>
        <p:spPr>
          <a:xfrm>
            <a:off x="771525" y="2346873"/>
            <a:ext cx="7600950" cy="2162175"/>
          </a:xfrm>
          <a:prstGeom prst="rect">
            <a:avLst/>
          </a:prstGeom>
        </p:spPr>
      </p:pic>
      <mc:AlternateContent xmlns:mc="http://schemas.openxmlformats.org/markup-compatibility/2006">
        <mc:Choice xmlns:p14="http://schemas.microsoft.com/office/powerpoint/2010/main" Requires="p14">
          <p:contentPart p14:bwMode="auto" r:id="rId3">
            <p14:nvContentPartPr>
              <p14:cNvPr id="9" name="Ink 8">
                <a:extLst>
                  <a:ext uri="{FF2B5EF4-FFF2-40B4-BE49-F238E27FC236}">
                    <a16:creationId xmlns:a16="http://schemas.microsoft.com/office/drawing/2014/main" id="{EFD5F6F7-979B-4548-894B-E09CF12D3588}"/>
                  </a:ext>
                </a:extLst>
              </p14:cNvPr>
              <p14:cNvContentPartPr/>
              <p14:nvPr/>
            </p14:nvContentPartPr>
            <p14:xfrm>
              <a:off x="1409760" y="152280"/>
              <a:ext cx="6620040" cy="4248720"/>
            </p14:xfrm>
          </p:contentPart>
        </mc:Choice>
        <mc:Fallback>
          <p:pic>
            <p:nvPicPr>
              <p:cNvPr id="9" name="Ink 8">
                <a:extLst>
                  <a:ext uri="{FF2B5EF4-FFF2-40B4-BE49-F238E27FC236}">
                    <a16:creationId xmlns:a16="http://schemas.microsoft.com/office/drawing/2014/main" id="{EFD5F6F7-979B-4548-894B-E09CF12D3588}"/>
                  </a:ext>
                </a:extLst>
              </p:cNvPr>
              <p:cNvPicPr/>
              <p:nvPr/>
            </p:nvPicPr>
            <p:blipFill>
              <a:blip r:embed="rId4"/>
              <a:stretch>
                <a:fillRect/>
              </a:stretch>
            </p:blipFill>
            <p:spPr>
              <a:xfrm>
                <a:off x="1400400" y="142920"/>
                <a:ext cx="6638760" cy="4267440"/>
              </a:xfrm>
              <a:prstGeom prst="rect">
                <a:avLst/>
              </a:prstGeom>
            </p:spPr>
          </p:pic>
        </mc:Fallback>
      </mc:AlternateContent>
    </p:spTree>
    <p:extLst>
      <p:ext uri="{BB962C8B-B14F-4D97-AF65-F5344CB8AC3E}">
        <p14:creationId xmlns:p14="http://schemas.microsoft.com/office/powerpoint/2010/main" val="110866991"/>
      </p:ext>
    </p:extLst>
  </p:cSld>
  <p:clrMapOvr>
    <a:masterClrMapping/>
  </p:clrMapOvr>
  <p:transition spd="med">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7F6363-8571-4CA8-BD5B-4BCEDCED9AA5}"/>
              </a:ext>
            </a:extLst>
          </p:cNvPr>
          <p:cNvSpPr>
            <a:spLocks noGrp="1"/>
          </p:cNvSpPr>
          <p:nvPr>
            <p:ph type="title"/>
          </p:nvPr>
        </p:nvSpPr>
        <p:spPr>
          <a:xfrm>
            <a:off x="274319" y="271886"/>
            <a:ext cx="7955280" cy="640080"/>
          </a:xfrm>
        </p:spPr>
        <p:txBody>
          <a:bodyPr>
            <a:normAutofit/>
          </a:bodyPr>
          <a:lstStyle/>
          <a:p>
            <a:r>
              <a:rPr lang="en-US" dirty="0"/>
              <a:t>Inferential Statistics</a:t>
            </a:r>
          </a:p>
        </p:txBody>
      </p:sp>
      <p:pic>
        <p:nvPicPr>
          <p:cNvPr id="4" name="Picture 3" descr="Diagram&#10;&#10;Description automatically generated">
            <a:extLst>
              <a:ext uri="{FF2B5EF4-FFF2-40B4-BE49-F238E27FC236}">
                <a16:creationId xmlns:a16="http://schemas.microsoft.com/office/drawing/2014/main" id="{A23D665F-D2CC-432A-AED2-8E451589AF69}"/>
              </a:ext>
            </a:extLst>
          </p:cNvPr>
          <p:cNvPicPr>
            <a:picLocks noChangeAspect="1"/>
          </p:cNvPicPr>
          <p:nvPr/>
        </p:nvPicPr>
        <p:blipFill>
          <a:blip r:embed="rId2"/>
          <a:stretch>
            <a:fillRect/>
          </a:stretch>
        </p:blipFill>
        <p:spPr>
          <a:xfrm>
            <a:off x="274319" y="1515618"/>
            <a:ext cx="3840480" cy="2112263"/>
          </a:xfrm>
          <a:prstGeom prst="rect">
            <a:avLst/>
          </a:prstGeom>
          <a:noFill/>
        </p:spPr>
      </p:pic>
      <p:sp>
        <p:nvSpPr>
          <p:cNvPr id="3" name="Content Placeholder 2">
            <a:extLst>
              <a:ext uri="{FF2B5EF4-FFF2-40B4-BE49-F238E27FC236}">
                <a16:creationId xmlns:a16="http://schemas.microsoft.com/office/drawing/2014/main" id="{96CA5976-21EA-4CB3-8846-6F15841EE927}"/>
              </a:ext>
            </a:extLst>
          </p:cNvPr>
          <p:cNvSpPr>
            <a:spLocks noGrp="1"/>
          </p:cNvSpPr>
          <p:nvPr>
            <p:ph sz="half" idx="14"/>
          </p:nvPr>
        </p:nvSpPr>
        <p:spPr>
          <a:xfrm>
            <a:off x="4389118" y="911966"/>
            <a:ext cx="4410415" cy="3810346"/>
          </a:xfrm>
          <a:prstGeom prst="rect">
            <a:avLst/>
          </a:prstGeom>
        </p:spPr>
        <p:txBody>
          <a:bodyPr wrap="square">
            <a:normAutofit/>
          </a:bodyPr>
          <a:lstStyle/>
          <a:p>
            <a:r>
              <a:rPr lang="en-US" dirty="0">
                <a:solidFill>
                  <a:schemeClr val="bg2">
                    <a:lumMod val="50000"/>
                    <a:lumOff val="50000"/>
                  </a:schemeClr>
                </a:solidFill>
              </a:rPr>
              <a:t>T</a:t>
            </a:r>
            <a:r>
              <a:rPr lang="en-US" dirty="0">
                <a:solidFill>
                  <a:schemeClr val="bg2">
                    <a:lumMod val="50000"/>
                    <a:lumOff val="50000"/>
                  </a:schemeClr>
                </a:solidFill>
                <a:effectLst/>
              </a:rPr>
              <a:t>he methods used to determine something about a population on the basics of a sample.</a:t>
            </a:r>
          </a:p>
          <a:p>
            <a:r>
              <a:rPr lang="en-US" dirty="0">
                <a:solidFill>
                  <a:schemeClr val="accent1"/>
                </a:solidFill>
              </a:rPr>
              <a:t>Inferential statistics </a:t>
            </a:r>
            <a:r>
              <a:rPr lang="en-US" dirty="0">
                <a:solidFill>
                  <a:schemeClr val="bg2">
                    <a:lumMod val="50000"/>
                    <a:lumOff val="50000"/>
                  </a:schemeClr>
                </a:solidFill>
              </a:rPr>
              <a:t>allow you to test a hypothesis or assess whether your data is generalizable to the broader population.</a:t>
            </a:r>
          </a:p>
          <a:p>
            <a:r>
              <a:rPr lang="en-US" dirty="0">
                <a:solidFill>
                  <a:schemeClr val="bg2">
                    <a:lumMod val="50000"/>
                    <a:lumOff val="50000"/>
                  </a:schemeClr>
                </a:solidFill>
              </a:rPr>
              <a:t>Examples : </a:t>
            </a:r>
          </a:p>
          <a:p>
            <a:pPr lvl="1"/>
            <a:r>
              <a:rPr lang="en-US" dirty="0">
                <a:solidFill>
                  <a:schemeClr val="bg2">
                    <a:lumMod val="50000"/>
                    <a:lumOff val="50000"/>
                  </a:schemeClr>
                </a:solidFill>
              </a:rPr>
              <a:t>you want to know what factors can influence the decline in poverty. You use variables such as road length, economic growth, electrification ratio, number of teachers, number of medical personnel, etc.</a:t>
            </a:r>
          </a:p>
          <a:p>
            <a:pPr lvl="1"/>
            <a:r>
              <a:rPr lang="en-US" dirty="0">
                <a:solidFill>
                  <a:schemeClr val="bg2">
                    <a:lumMod val="50000"/>
                    <a:lumOff val="50000"/>
                  </a:schemeClr>
                </a:solidFill>
              </a:rPr>
              <a:t>We often hear the assumption that female students tend to have higher mathematical values than men. Is that right?</a:t>
            </a:r>
          </a:p>
        </p:txBody>
      </p:sp>
    </p:spTree>
    <p:extLst>
      <p:ext uri="{BB962C8B-B14F-4D97-AF65-F5344CB8AC3E}">
        <p14:creationId xmlns:p14="http://schemas.microsoft.com/office/powerpoint/2010/main" val="592860241"/>
      </p:ext>
    </p:extLst>
  </p:cSld>
  <p:clrMapOvr>
    <a:masterClrMapping/>
  </p:clrMapOvr>
  <p:transition spd="med">
    <p:wipe dir="r"/>
  </p:transition>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3A54D-1685-4F78-961F-8E9376E96703}"/>
              </a:ext>
            </a:extLst>
          </p:cNvPr>
          <p:cNvSpPr>
            <a:spLocks noGrp="1"/>
          </p:cNvSpPr>
          <p:nvPr>
            <p:ph type="title"/>
          </p:nvPr>
        </p:nvSpPr>
        <p:spPr>
          <a:xfrm>
            <a:off x="0" y="0"/>
            <a:ext cx="8186895" cy="640080"/>
          </a:xfrm>
        </p:spPr>
        <p:txBody>
          <a:bodyPr/>
          <a:lstStyle/>
          <a:p>
            <a:r>
              <a:rPr lang="en-US" dirty="0"/>
              <a:t>Bayes theorem – Example 2 </a:t>
            </a:r>
          </a:p>
        </p:txBody>
      </p:sp>
      <p:sp>
        <p:nvSpPr>
          <p:cNvPr id="5" name="Content Placeholder 4">
            <a:extLst>
              <a:ext uri="{FF2B5EF4-FFF2-40B4-BE49-F238E27FC236}">
                <a16:creationId xmlns:a16="http://schemas.microsoft.com/office/drawing/2014/main" id="{BA291E01-D420-4356-9228-7F04F940A10F}"/>
              </a:ext>
            </a:extLst>
          </p:cNvPr>
          <p:cNvSpPr>
            <a:spLocks noGrp="1"/>
          </p:cNvSpPr>
          <p:nvPr>
            <p:ph sz="half" idx="13"/>
          </p:nvPr>
        </p:nvSpPr>
        <p:spPr>
          <a:xfrm>
            <a:off x="113776" y="640080"/>
            <a:ext cx="8499732" cy="3200400"/>
          </a:xfrm>
        </p:spPr>
        <p:txBody>
          <a:bodyPr/>
          <a:lstStyle/>
          <a:p>
            <a:pPr marL="0" indent="0">
              <a:buNone/>
            </a:pPr>
            <a:r>
              <a:rPr lang="en-US" b="0" i="0" dirty="0">
                <a:solidFill>
                  <a:srgbClr val="373D3F"/>
                </a:solidFill>
                <a:effectLst/>
                <a:latin typeface="proxima-nova"/>
              </a:rPr>
              <a:t>Suppose someone told you they had a nice conversation with someone on the train. Not knowing anything else about this conversation, the probability that they were speaking to a woman is 50%. Now suppose they also told you that this person had long hair. It is now more likely they were speaking to a woman, since women in in this city are more likely to have long hair than men. Bayes theorem can be used to calculate the probability that the person is a woman.</a:t>
            </a:r>
            <a:endParaRPr lang="en-US" dirty="0"/>
          </a:p>
        </p:txBody>
      </p:sp>
      <mc:AlternateContent xmlns:mc="http://schemas.openxmlformats.org/markup-compatibility/2006">
        <mc:Choice xmlns:p14="http://schemas.microsoft.com/office/powerpoint/2010/main" Requires="p14">
          <p:contentPart p14:bwMode="auto" r:id="rId2">
            <p14:nvContentPartPr>
              <p14:cNvPr id="6" name="Ink 5">
                <a:extLst>
                  <a:ext uri="{FF2B5EF4-FFF2-40B4-BE49-F238E27FC236}">
                    <a16:creationId xmlns:a16="http://schemas.microsoft.com/office/drawing/2014/main" id="{2629CE97-CCF7-4C05-9BAE-9073C3D73CA9}"/>
                  </a:ext>
                </a:extLst>
              </p14:cNvPr>
              <p14:cNvContentPartPr/>
              <p14:nvPr/>
            </p14:nvContentPartPr>
            <p14:xfrm>
              <a:off x="47520" y="23760"/>
              <a:ext cx="8754120" cy="5115240"/>
            </p14:xfrm>
          </p:contentPart>
        </mc:Choice>
        <mc:Fallback>
          <p:pic>
            <p:nvPicPr>
              <p:cNvPr id="6" name="Ink 5">
                <a:extLst>
                  <a:ext uri="{FF2B5EF4-FFF2-40B4-BE49-F238E27FC236}">
                    <a16:creationId xmlns:a16="http://schemas.microsoft.com/office/drawing/2014/main" id="{2629CE97-CCF7-4C05-9BAE-9073C3D73CA9}"/>
                  </a:ext>
                </a:extLst>
              </p:cNvPr>
              <p:cNvPicPr/>
              <p:nvPr/>
            </p:nvPicPr>
            <p:blipFill>
              <a:blip r:embed="rId3"/>
              <a:stretch>
                <a:fillRect/>
              </a:stretch>
            </p:blipFill>
            <p:spPr>
              <a:xfrm>
                <a:off x="38160" y="14400"/>
                <a:ext cx="8772840" cy="5133960"/>
              </a:xfrm>
              <a:prstGeom prst="rect">
                <a:avLst/>
              </a:prstGeom>
            </p:spPr>
          </p:pic>
        </mc:Fallback>
      </mc:AlternateContent>
    </p:spTree>
    <p:extLst>
      <p:ext uri="{BB962C8B-B14F-4D97-AF65-F5344CB8AC3E}">
        <p14:creationId xmlns:p14="http://schemas.microsoft.com/office/powerpoint/2010/main" val="1946313221"/>
      </p:ext>
    </p:extLst>
  </p:cSld>
  <p:clrMapOvr>
    <a:masterClrMapping/>
  </p:clrMapOvr>
  <p:transition spd="med">
    <p:wipe dir="r"/>
  </p:transition>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473231-42A7-4FCF-9943-7C634BD3AF5F}"/>
              </a:ext>
            </a:extLst>
          </p:cNvPr>
          <p:cNvSpPr>
            <a:spLocks noGrp="1"/>
          </p:cNvSpPr>
          <p:nvPr>
            <p:ph type="title"/>
          </p:nvPr>
        </p:nvSpPr>
        <p:spPr>
          <a:xfrm>
            <a:off x="0" y="0"/>
            <a:ext cx="6710210" cy="640080"/>
          </a:xfrm>
        </p:spPr>
        <p:txBody>
          <a:bodyPr/>
          <a:lstStyle/>
          <a:p>
            <a:r>
              <a:rPr lang="en-US" dirty="0"/>
              <a:t>Solution 3: Hunter’s test &gt; Bayes Theorem</a:t>
            </a:r>
          </a:p>
        </p:txBody>
      </p:sp>
      <p:sp>
        <p:nvSpPr>
          <p:cNvPr id="3" name="Content Placeholder 2">
            <a:extLst>
              <a:ext uri="{FF2B5EF4-FFF2-40B4-BE49-F238E27FC236}">
                <a16:creationId xmlns:a16="http://schemas.microsoft.com/office/drawing/2014/main" id="{F3773CD6-14F8-4F51-A62F-68C9F4F6C075}"/>
              </a:ext>
            </a:extLst>
          </p:cNvPr>
          <p:cNvSpPr>
            <a:spLocks noGrp="1"/>
          </p:cNvSpPr>
          <p:nvPr>
            <p:ph sz="half" idx="13"/>
          </p:nvPr>
        </p:nvSpPr>
        <p:spPr>
          <a:xfrm>
            <a:off x="117745" y="321293"/>
            <a:ext cx="8644212" cy="3229210"/>
          </a:xfrm>
        </p:spPr>
        <p:txBody>
          <a:bodyPr/>
          <a:lstStyle/>
          <a:p>
            <a:endParaRPr lang="en-US" dirty="0"/>
          </a:p>
          <a:p>
            <a:endParaRPr lang="en-US" dirty="0"/>
          </a:p>
          <a:p>
            <a:r>
              <a:rPr lang="en-US" dirty="0"/>
              <a:t>Bayes' Theorem has a special formula for this kind of thing:</a:t>
            </a:r>
          </a:p>
        </p:txBody>
      </p:sp>
      <p:pic>
        <p:nvPicPr>
          <p:cNvPr id="5" name="Picture 4">
            <a:extLst>
              <a:ext uri="{FF2B5EF4-FFF2-40B4-BE49-F238E27FC236}">
                <a16:creationId xmlns:a16="http://schemas.microsoft.com/office/drawing/2014/main" id="{BCF99EB0-DD8A-422E-9CBF-BFFB72C0B053}"/>
              </a:ext>
            </a:extLst>
          </p:cNvPr>
          <p:cNvPicPr>
            <a:picLocks noChangeAspect="1"/>
          </p:cNvPicPr>
          <p:nvPr/>
        </p:nvPicPr>
        <p:blipFill>
          <a:blip r:embed="rId2"/>
          <a:stretch>
            <a:fillRect/>
          </a:stretch>
        </p:blipFill>
        <p:spPr>
          <a:xfrm>
            <a:off x="675999" y="1780133"/>
            <a:ext cx="6652531" cy="2601108"/>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85BB2242-45F3-49E7-BCE2-E10489E7A993}"/>
                  </a:ext>
                </a:extLst>
              </p14:cNvPr>
              <p14:cNvContentPartPr/>
              <p14:nvPr/>
            </p14:nvContentPartPr>
            <p14:xfrm>
              <a:off x="1042920" y="390600"/>
              <a:ext cx="6501240" cy="4034160"/>
            </p14:xfrm>
          </p:contentPart>
        </mc:Choice>
        <mc:Fallback>
          <p:pic>
            <p:nvPicPr>
              <p:cNvPr id="4" name="Ink 3">
                <a:extLst>
                  <a:ext uri="{FF2B5EF4-FFF2-40B4-BE49-F238E27FC236}">
                    <a16:creationId xmlns:a16="http://schemas.microsoft.com/office/drawing/2014/main" id="{85BB2242-45F3-49E7-BCE2-E10489E7A993}"/>
                  </a:ext>
                </a:extLst>
              </p:cNvPr>
              <p:cNvPicPr/>
              <p:nvPr/>
            </p:nvPicPr>
            <p:blipFill>
              <a:blip r:embed="rId4"/>
              <a:stretch>
                <a:fillRect/>
              </a:stretch>
            </p:blipFill>
            <p:spPr>
              <a:xfrm>
                <a:off x="1033560" y="381240"/>
                <a:ext cx="6519960" cy="4052880"/>
              </a:xfrm>
              <a:prstGeom prst="rect">
                <a:avLst/>
              </a:prstGeom>
            </p:spPr>
          </p:pic>
        </mc:Fallback>
      </mc:AlternateContent>
    </p:spTree>
    <p:extLst>
      <p:ext uri="{BB962C8B-B14F-4D97-AF65-F5344CB8AC3E}">
        <p14:creationId xmlns:p14="http://schemas.microsoft.com/office/powerpoint/2010/main" val="1293524733"/>
      </p:ext>
    </p:extLst>
  </p:cSld>
  <p:clrMapOvr>
    <a:masterClrMapping/>
  </p:clrMapOvr>
  <p:transition spd="med">
    <p:wipe dir="r"/>
  </p:transition>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1F33B3-9B3A-4B8D-BBBE-41290548FF50}"/>
              </a:ext>
            </a:extLst>
          </p:cNvPr>
          <p:cNvSpPr>
            <a:spLocks noGrp="1"/>
          </p:cNvSpPr>
          <p:nvPr>
            <p:ph type="title"/>
          </p:nvPr>
        </p:nvSpPr>
        <p:spPr>
          <a:xfrm>
            <a:off x="0" y="22860"/>
            <a:ext cx="6503531" cy="640080"/>
          </a:xfrm>
        </p:spPr>
        <p:txBody>
          <a:bodyPr/>
          <a:lstStyle/>
          <a:p>
            <a:r>
              <a:rPr lang="en-US" dirty="0"/>
              <a:t>Solution 3 : Bayes Theorem</a:t>
            </a:r>
          </a:p>
        </p:txBody>
      </p:sp>
      <p:sp>
        <p:nvSpPr>
          <p:cNvPr id="3" name="Content Placeholder 2">
            <a:extLst>
              <a:ext uri="{FF2B5EF4-FFF2-40B4-BE49-F238E27FC236}">
                <a16:creationId xmlns:a16="http://schemas.microsoft.com/office/drawing/2014/main" id="{9BBA02B3-EC48-4383-8C2B-381F173A5F2B}"/>
              </a:ext>
            </a:extLst>
          </p:cNvPr>
          <p:cNvSpPr>
            <a:spLocks noGrp="1"/>
          </p:cNvSpPr>
          <p:nvPr>
            <p:ph sz="half" idx="13"/>
          </p:nvPr>
        </p:nvSpPr>
        <p:spPr>
          <a:xfrm>
            <a:off x="130269" y="923168"/>
            <a:ext cx="8243379" cy="3200400"/>
          </a:xfrm>
        </p:spPr>
        <p:txBody>
          <a:bodyPr/>
          <a:lstStyle/>
          <a:p>
            <a:r>
              <a:rPr lang="en-US" b="0" i="0" dirty="0">
                <a:solidFill>
                  <a:srgbClr val="333333"/>
                </a:solidFill>
                <a:effectLst/>
                <a:latin typeface="Verdana" panose="020B0604030504040204" pitchFamily="34" charset="0"/>
              </a:rPr>
              <a:t>To be clearer, let's change A to </a:t>
            </a:r>
            <a:r>
              <a:rPr lang="en-US" b="1" i="0" dirty="0">
                <a:solidFill>
                  <a:srgbClr val="333333"/>
                </a:solidFill>
                <a:effectLst/>
                <a:latin typeface="Verdana" panose="020B0604030504040204" pitchFamily="34" charset="0"/>
              </a:rPr>
              <a:t>has</a:t>
            </a:r>
            <a:r>
              <a:rPr lang="en-US" b="0" i="0" dirty="0">
                <a:solidFill>
                  <a:srgbClr val="333333"/>
                </a:solidFill>
                <a:effectLst/>
                <a:latin typeface="Verdana" panose="020B0604030504040204" pitchFamily="34" charset="0"/>
              </a:rPr>
              <a:t> (actually has allergy) and B to </a:t>
            </a:r>
            <a:r>
              <a:rPr lang="en-US" b="1" i="0" dirty="0">
                <a:solidFill>
                  <a:srgbClr val="333333"/>
                </a:solidFill>
                <a:effectLst/>
                <a:latin typeface="Verdana" panose="020B0604030504040204" pitchFamily="34" charset="0"/>
              </a:rPr>
              <a:t>Yes</a:t>
            </a:r>
            <a:r>
              <a:rPr lang="en-US" b="0" i="0" dirty="0">
                <a:solidFill>
                  <a:srgbClr val="333333"/>
                </a:solidFill>
                <a:effectLst/>
                <a:latin typeface="Verdana" panose="020B0604030504040204" pitchFamily="34" charset="0"/>
              </a:rPr>
              <a:t> (test says yes):</a:t>
            </a:r>
            <a:endParaRPr lang="en-US" dirty="0"/>
          </a:p>
        </p:txBody>
      </p:sp>
      <p:pic>
        <p:nvPicPr>
          <p:cNvPr id="5" name="Picture 4">
            <a:extLst>
              <a:ext uri="{FF2B5EF4-FFF2-40B4-BE49-F238E27FC236}">
                <a16:creationId xmlns:a16="http://schemas.microsoft.com/office/drawing/2014/main" id="{FA3029F4-C309-4934-9FCA-0794F7AE6BAA}"/>
              </a:ext>
            </a:extLst>
          </p:cNvPr>
          <p:cNvPicPr>
            <a:picLocks noChangeAspect="1"/>
          </p:cNvPicPr>
          <p:nvPr/>
        </p:nvPicPr>
        <p:blipFill>
          <a:blip r:embed="rId2"/>
          <a:stretch>
            <a:fillRect/>
          </a:stretch>
        </p:blipFill>
        <p:spPr>
          <a:xfrm>
            <a:off x="256783" y="1428242"/>
            <a:ext cx="7615825" cy="1894369"/>
          </a:xfrm>
          <a:prstGeom prst="rect">
            <a:avLst/>
          </a:prstGeom>
        </p:spPr>
      </p:pic>
      <p:sp>
        <p:nvSpPr>
          <p:cNvPr id="6" name="TextBox 5">
            <a:extLst>
              <a:ext uri="{FF2B5EF4-FFF2-40B4-BE49-F238E27FC236}">
                <a16:creationId xmlns:a16="http://schemas.microsoft.com/office/drawing/2014/main" id="{E8F15BDB-9867-4E7B-9387-B67555A69FC9}"/>
              </a:ext>
            </a:extLst>
          </p:cNvPr>
          <p:cNvSpPr txBox="1"/>
          <p:nvPr/>
        </p:nvSpPr>
        <p:spPr>
          <a:xfrm>
            <a:off x="394569" y="3961227"/>
            <a:ext cx="4528159"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333333"/>
                </a:solidFill>
                <a:effectLst/>
                <a:latin typeface="Verdana" panose="020B0604030504040204" pitchFamily="34" charset="0"/>
              </a:rPr>
              <a:t>Which is about </a:t>
            </a:r>
            <a:r>
              <a:rPr lang="en-US" sz="1100" b="1" i="0" dirty="0">
                <a:solidFill>
                  <a:srgbClr val="333333"/>
                </a:solidFill>
                <a:effectLst/>
                <a:latin typeface="Verdana" panose="020B0604030504040204" pitchFamily="34" charset="0"/>
              </a:rPr>
              <a:t>7%</a:t>
            </a:r>
            <a:endParaRPr lang="en-US" sz="1400" dirty="0">
              <a:solidFill>
                <a:schemeClr val="bg2"/>
              </a:solidFill>
              <a:latin typeface="+mn-lt"/>
            </a:endParaRPr>
          </a:p>
        </p:txBody>
      </p:sp>
      <p:pic>
        <p:nvPicPr>
          <p:cNvPr id="7" name="Picture 6">
            <a:extLst>
              <a:ext uri="{FF2B5EF4-FFF2-40B4-BE49-F238E27FC236}">
                <a16:creationId xmlns:a16="http://schemas.microsoft.com/office/drawing/2014/main" id="{2AAC618C-0748-49F7-804E-8BE6FB003D43}"/>
              </a:ext>
            </a:extLst>
          </p:cNvPr>
          <p:cNvPicPr>
            <a:picLocks noChangeAspect="1"/>
          </p:cNvPicPr>
          <p:nvPr/>
        </p:nvPicPr>
        <p:blipFill>
          <a:blip r:embed="rId3"/>
          <a:stretch>
            <a:fillRect/>
          </a:stretch>
        </p:blipFill>
        <p:spPr>
          <a:xfrm>
            <a:off x="4789431" y="157866"/>
            <a:ext cx="3982314" cy="505074"/>
          </a:xfrm>
          <a:prstGeom prst="rect">
            <a:avLst/>
          </a:prstGeom>
        </p:spPr>
      </p:pic>
      <mc:AlternateContent xmlns:mc="http://schemas.openxmlformats.org/markup-compatibility/2006">
        <mc:Choice xmlns:p14="http://schemas.microsoft.com/office/powerpoint/2010/main" Requires="p14">
          <p:contentPart p14:bwMode="auto" r:id="rId4">
            <p14:nvContentPartPr>
              <p14:cNvPr id="8" name="Ink 7">
                <a:extLst>
                  <a:ext uri="{FF2B5EF4-FFF2-40B4-BE49-F238E27FC236}">
                    <a16:creationId xmlns:a16="http://schemas.microsoft.com/office/drawing/2014/main" id="{85785C45-CDFE-4FB7-8ED4-6475FE863A95}"/>
                  </a:ext>
                </a:extLst>
              </p14:cNvPr>
              <p14:cNvContentPartPr/>
              <p14:nvPr/>
            </p14:nvContentPartPr>
            <p14:xfrm>
              <a:off x="380880" y="19080"/>
              <a:ext cx="8577720" cy="5119920"/>
            </p14:xfrm>
          </p:contentPart>
        </mc:Choice>
        <mc:Fallback>
          <p:pic>
            <p:nvPicPr>
              <p:cNvPr id="8" name="Ink 7">
                <a:extLst>
                  <a:ext uri="{FF2B5EF4-FFF2-40B4-BE49-F238E27FC236}">
                    <a16:creationId xmlns:a16="http://schemas.microsoft.com/office/drawing/2014/main" id="{85785C45-CDFE-4FB7-8ED4-6475FE863A95}"/>
                  </a:ext>
                </a:extLst>
              </p:cNvPr>
              <p:cNvPicPr/>
              <p:nvPr/>
            </p:nvPicPr>
            <p:blipFill>
              <a:blip r:embed="rId5"/>
              <a:stretch>
                <a:fillRect/>
              </a:stretch>
            </p:blipFill>
            <p:spPr>
              <a:xfrm>
                <a:off x="371520" y="9720"/>
                <a:ext cx="8596440" cy="5138640"/>
              </a:xfrm>
              <a:prstGeom prst="rect">
                <a:avLst/>
              </a:prstGeom>
            </p:spPr>
          </p:pic>
        </mc:Fallback>
      </mc:AlternateContent>
    </p:spTree>
    <p:extLst>
      <p:ext uri="{BB962C8B-B14F-4D97-AF65-F5344CB8AC3E}">
        <p14:creationId xmlns:p14="http://schemas.microsoft.com/office/powerpoint/2010/main" val="1273406365"/>
      </p:ext>
    </p:extLst>
  </p:cSld>
  <p:clrMapOvr>
    <a:masterClrMapping/>
  </p:clrMapOvr>
  <p:transition spd="med">
    <p:wipe dir="r"/>
  </p:transition>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8CBC5-2437-4054-8F86-4F31AD8304CB}"/>
              </a:ext>
            </a:extLst>
          </p:cNvPr>
          <p:cNvSpPr>
            <a:spLocks noGrp="1"/>
          </p:cNvSpPr>
          <p:nvPr>
            <p:ph type="title"/>
          </p:nvPr>
        </p:nvSpPr>
        <p:spPr>
          <a:xfrm>
            <a:off x="0" y="0"/>
            <a:ext cx="4295219" cy="640080"/>
          </a:xfrm>
        </p:spPr>
        <p:txBody>
          <a:bodyPr/>
          <a:lstStyle/>
          <a:p>
            <a:r>
              <a:rPr lang="en-US" dirty="0"/>
              <a:t>Random Variable</a:t>
            </a:r>
          </a:p>
        </p:txBody>
      </p:sp>
      <p:sp>
        <p:nvSpPr>
          <p:cNvPr id="3" name="Content Placeholder 2">
            <a:extLst>
              <a:ext uri="{FF2B5EF4-FFF2-40B4-BE49-F238E27FC236}">
                <a16:creationId xmlns:a16="http://schemas.microsoft.com/office/drawing/2014/main" id="{CED66632-0F03-4190-ABBA-037F4DD70FC9}"/>
              </a:ext>
            </a:extLst>
          </p:cNvPr>
          <p:cNvSpPr>
            <a:spLocks noGrp="1"/>
          </p:cNvSpPr>
          <p:nvPr>
            <p:ph sz="half" idx="13"/>
          </p:nvPr>
        </p:nvSpPr>
        <p:spPr>
          <a:xfrm>
            <a:off x="67641" y="741541"/>
            <a:ext cx="7178666" cy="3200400"/>
          </a:xfrm>
        </p:spPr>
        <p:txBody>
          <a:bodyPr/>
          <a:lstStyle/>
          <a:p>
            <a:r>
              <a:rPr lang="en-US" b="0" i="0" dirty="0">
                <a:solidFill>
                  <a:srgbClr val="333333"/>
                </a:solidFill>
                <a:effectLst/>
                <a:latin typeface="Verdana" panose="020B0604030504040204" pitchFamily="34" charset="0"/>
              </a:rPr>
              <a:t>A Random Variable is a set of </a:t>
            </a:r>
            <a:r>
              <a:rPr lang="en-US" b="1" i="0" dirty="0">
                <a:solidFill>
                  <a:srgbClr val="333333"/>
                </a:solidFill>
                <a:effectLst/>
                <a:latin typeface="Verdana" panose="020B0604030504040204" pitchFamily="34" charset="0"/>
              </a:rPr>
              <a:t>possible values</a:t>
            </a:r>
            <a:r>
              <a:rPr lang="en-US" b="0" i="0" dirty="0">
                <a:solidFill>
                  <a:srgbClr val="333333"/>
                </a:solidFill>
                <a:effectLst/>
                <a:latin typeface="Verdana" panose="020B0604030504040204" pitchFamily="34" charset="0"/>
              </a:rPr>
              <a:t> from a random experiment.</a:t>
            </a:r>
            <a:endParaRPr lang="en-US" dirty="0">
              <a:solidFill>
                <a:srgbClr val="333333"/>
              </a:solidFill>
              <a:latin typeface="Verdana" panose="020B0604030504040204" pitchFamily="34" charset="0"/>
            </a:endParaRPr>
          </a:p>
          <a:p>
            <a:pPr marL="0" indent="0">
              <a:buNone/>
            </a:pPr>
            <a:r>
              <a:rPr lang="en-US" b="0" i="0" dirty="0">
                <a:solidFill>
                  <a:srgbClr val="333333"/>
                </a:solidFill>
                <a:effectLst/>
                <a:latin typeface="Verdana" panose="020B0604030504040204" pitchFamily="34" charset="0"/>
              </a:rPr>
              <a:t>Example: Tossing a coin: we could get Heads or Tails.</a:t>
            </a:r>
            <a:endParaRPr lang="en-US" dirty="0">
              <a:solidFill>
                <a:srgbClr val="333333"/>
              </a:solidFill>
              <a:latin typeface="Verdana" panose="020B0604030504040204" pitchFamily="34" charset="0"/>
            </a:endParaRPr>
          </a:p>
          <a:p>
            <a:r>
              <a:rPr lang="en-US" b="0" i="0" dirty="0">
                <a:solidFill>
                  <a:srgbClr val="333333"/>
                </a:solidFill>
                <a:effectLst/>
                <a:latin typeface="Verdana" panose="020B0604030504040204" pitchFamily="34" charset="0"/>
              </a:rPr>
              <a:t>Let's give them the values </a:t>
            </a:r>
            <a:r>
              <a:rPr lang="en-US" b="1" i="0" dirty="0">
                <a:solidFill>
                  <a:srgbClr val="333333"/>
                </a:solidFill>
                <a:effectLst/>
                <a:latin typeface="Verdana" panose="020B0604030504040204" pitchFamily="34" charset="0"/>
              </a:rPr>
              <a:t>Heads=0</a:t>
            </a:r>
            <a:r>
              <a:rPr lang="en-US" b="0" i="0" dirty="0">
                <a:solidFill>
                  <a:srgbClr val="333333"/>
                </a:solidFill>
                <a:effectLst/>
                <a:latin typeface="Verdana" panose="020B0604030504040204" pitchFamily="34" charset="0"/>
              </a:rPr>
              <a:t> and </a:t>
            </a:r>
            <a:r>
              <a:rPr lang="en-US" b="1" i="0" dirty="0">
                <a:solidFill>
                  <a:srgbClr val="333333"/>
                </a:solidFill>
                <a:effectLst/>
                <a:latin typeface="Verdana" panose="020B0604030504040204" pitchFamily="34" charset="0"/>
              </a:rPr>
              <a:t>Tails=1</a:t>
            </a:r>
            <a:r>
              <a:rPr lang="en-US" b="0" i="0" dirty="0">
                <a:solidFill>
                  <a:srgbClr val="333333"/>
                </a:solidFill>
                <a:effectLst/>
                <a:latin typeface="Verdana" panose="020B0604030504040204" pitchFamily="34" charset="0"/>
              </a:rPr>
              <a:t> and we have a Random Variable "X":</a:t>
            </a:r>
          </a:p>
        </p:txBody>
      </p:sp>
      <p:pic>
        <p:nvPicPr>
          <p:cNvPr id="5" name="Picture 4">
            <a:extLst>
              <a:ext uri="{FF2B5EF4-FFF2-40B4-BE49-F238E27FC236}">
                <a16:creationId xmlns:a16="http://schemas.microsoft.com/office/drawing/2014/main" id="{F86CBFC3-2AC5-4330-B4E0-E9E11E206B1A}"/>
              </a:ext>
            </a:extLst>
          </p:cNvPr>
          <p:cNvPicPr>
            <a:picLocks noChangeAspect="1"/>
          </p:cNvPicPr>
          <p:nvPr/>
        </p:nvPicPr>
        <p:blipFill>
          <a:blip r:embed="rId2"/>
          <a:stretch>
            <a:fillRect/>
          </a:stretch>
        </p:blipFill>
        <p:spPr>
          <a:xfrm>
            <a:off x="2084566" y="2079217"/>
            <a:ext cx="3101209" cy="1501042"/>
          </a:xfrm>
          <a:prstGeom prst="rect">
            <a:avLst/>
          </a:prstGeom>
        </p:spPr>
      </p:pic>
      <p:sp>
        <p:nvSpPr>
          <p:cNvPr id="6" name="TextBox 5">
            <a:extLst>
              <a:ext uri="{FF2B5EF4-FFF2-40B4-BE49-F238E27FC236}">
                <a16:creationId xmlns:a16="http://schemas.microsoft.com/office/drawing/2014/main" id="{FAB17ED0-9FA2-48E5-9A36-4FD3B8813D7C}"/>
              </a:ext>
            </a:extLst>
          </p:cNvPr>
          <p:cNvSpPr txBox="1"/>
          <p:nvPr/>
        </p:nvSpPr>
        <p:spPr>
          <a:xfrm>
            <a:off x="295615" y="3860522"/>
            <a:ext cx="4546947" cy="646331"/>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In short:</a:t>
            </a:r>
          </a:p>
          <a:p>
            <a:pPr algn="ctr"/>
            <a:r>
              <a:rPr lang="en-US" sz="1100" b="0" i="0" dirty="0">
                <a:effectLst/>
                <a:latin typeface="Verdana" panose="020B0604030504040204" pitchFamily="34" charset="0"/>
              </a:rPr>
              <a:t>X = {0, 1}</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9483AD8D-7B83-49D2-A308-96DBAEC96939}"/>
                  </a:ext>
                </a:extLst>
              </p14:cNvPr>
              <p14:cNvContentPartPr/>
              <p14:nvPr/>
            </p14:nvContentPartPr>
            <p14:xfrm>
              <a:off x="2552760" y="1886040"/>
              <a:ext cx="3567240" cy="2414880"/>
            </p14:xfrm>
          </p:contentPart>
        </mc:Choice>
        <mc:Fallback>
          <p:pic>
            <p:nvPicPr>
              <p:cNvPr id="4" name="Ink 3">
                <a:extLst>
                  <a:ext uri="{FF2B5EF4-FFF2-40B4-BE49-F238E27FC236}">
                    <a16:creationId xmlns:a16="http://schemas.microsoft.com/office/drawing/2014/main" id="{9483AD8D-7B83-49D2-A308-96DBAEC96939}"/>
                  </a:ext>
                </a:extLst>
              </p:cNvPr>
              <p:cNvPicPr/>
              <p:nvPr/>
            </p:nvPicPr>
            <p:blipFill>
              <a:blip r:embed="rId4"/>
              <a:stretch>
                <a:fillRect/>
              </a:stretch>
            </p:blipFill>
            <p:spPr>
              <a:xfrm>
                <a:off x="2543400" y="1876680"/>
                <a:ext cx="3585960" cy="2433600"/>
              </a:xfrm>
              <a:prstGeom prst="rect">
                <a:avLst/>
              </a:prstGeom>
            </p:spPr>
          </p:pic>
        </mc:Fallback>
      </mc:AlternateContent>
    </p:spTree>
    <p:extLst>
      <p:ext uri="{BB962C8B-B14F-4D97-AF65-F5344CB8AC3E}">
        <p14:creationId xmlns:p14="http://schemas.microsoft.com/office/powerpoint/2010/main" val="2464802808"/>
      </p:ext>
    </p:extLst>
  </p:cSld>
  <p:clrMapOvr>
    <a:masterClrMapping/>
  </p:clrMapOvr>
  <p:transition spd="med">
    <p:wipe dir="r"/>
  </p:transition>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5B2FAE-9231-47DC-BDE6-8E6025E68C53}"/>
              </a:ext>
            </a:extLst>
          </p:cNvPr>
          <p:cNvSpPr>
            <a:spLocks noGrp="1"/>
          </p:cNvSpPr>
          <p:nvPr>
            <p:ph type="title"/>
          </p:nvPr>
        </p:nvSpPr>
        <p:spPr>
          <a:xfrm>
            <a:off x="0" y="0"/>
            <a:ext cx="4295219" cy="640080"/>
          </a:xfrm>
        </p:spPr>
        <p:txBody>
          <a:bodyPr/>
          <a:lstStyle/>
          <a:p>
            <a:r>
              <a:rPr lang="en-US" dirty="0"/>
              <a:t>Random Variable</a:t>
            </a:r>
          </a:p>
        </p:txBody>
      </p:sp>
      <p:sp>
        <p:nvSpPr>
          <p:cNvPr id="3" name="Content Placeholder 2">
            <a:extLst>
              <a:ext uri="{FF2B5EF4-FFF2-40B4-BE49-F238E27FC236}">
                <a16:creationId xmlns:a16="http://schemas.microsoft.com/office/drawing/2014/main" id="{0F90162C-0BDB-4A97-A976-5E709F850FC7}"/>
              </a:ext>
            </a:extLst>
          </p:cNvPr>
          <p:cNvSpPr>
            <a:spLocks noGrp="1"/>
          </p:cNvSpPr>
          <p:nvPr>
            <p:ph sz="half" idx="13"/>
          </p:nvPr>
        </p:nvSpPr>
        <p:spPr>
          <a:xfrm>
            <a:off x="117744" y="754067"/>
            <a:ext cx="7592025" cy="3200400"/>
          </a:xfrm>
        </p:spPr>
        <p:txBody>
          <a:bodyPr/>
          <a:lstStyle/>
          <a:p>
            <a:pPr marL="0" indent="0">
              <a:buNone/>
            </a:pPr>
            <a:r>
              <a:rPr lang="en-US" b="1" dirty="0">
                <a:solidFill>
                  <a:srgbClr val="FF0000"/>
                </a:solidFill>
                <a:effectLst/>
                <a:latin typeface="champ"/>
              </a:rPr>
              <a:t>Not Like an Algebra Variable</a:t>
            </a:r>
          </a:p>
          <a:p>
            <a:r>
              <a:rPr lang="en-US" b="0" i="0" dirty="0">
                <a:solidFill>
                  <a:srgbClr val="333333"/>
                </a:solidFill>
                <a:effectLst/>
                <a:latin typeface="Verdana" panose="020B0604030504040204" pitchFamily="34" charset="0"/>
              </a:rPr>
              <a:t>In </a:t>
            </a:r>
            <a:r>
              <a:rPr lang="en-US" b="0" i="0" dirty="0">
                <a:effectLst/>
                <a:latin typeface="Verdana" panose="020B0604030504040204" pitchFamily="34" charset="0"/>
                <a:hlinkClick r:id="rId2"/>
              </a:rPr>
              <a:t>Algebra</a:t>
            </a:r>
            <a:r>
              <a:rPr lang="en-US" b="0" i="0" dirty="0">
                <a:solidFill>
                  <a:srgbClr val="333333"/>
                </a:solidFill>
                <a:effectLst/>
                <a:latin typeface="Verdana" panose="020B0604030504040204" pitchFamily="34" charset="0"/>
              </a:rPr>
              <a:t> a variable, like </a:t>
            </a:r>
            <a:r>
              <a:rPr lang="en-US" b="1" i="0" dirty="0">
                <a:solidFill>
                  <a:srgbClr val="333333"/>
                </a:solidFill>
                <a:effectLst/>
                <a:latin typeface="Verdana" panose="020B0604030504040204" pitchFamily="34" charset="0"/>
              </a:rPr>
              <a:t>x,</a:t>
            </a:r>
            <a:r>
              <a:rPr lang="en-US" b="0" i="0" dirty="0">
                <a:solidFill>
                  <a:srgbClr val="333333"/>
                </a:solidFill>
                <a:effectLst/>
                <a:latin typeface="Verdana" panose="020B0604030504040204" pitchFamily="34" charset="0"/>
              </a:rPr>
              <a:t> is an unknown value</a:t>
            </a:r>
          </a:p>
          <a:p>
            <a:pPr marL="0" indent="0">
              <a:buNone/>
            </a:pPr>
            <a:endParaRPr lang="en-US" b="0" i="0" dirty="0">
              <a:solidFill>
                <a:srgbClr val="333333"/>
              </a:solidFill>
              <a:effectLst/>
              <a:latin typeface="Verdana" panose="020B0604030504040204" pitchFamily="34" charset="0"/>
            </a:endParaRPr>
          </a:p>
          <a:p>
            <a:pPr lvl="1"/>
            <a:r>
              <a:rPr lang="en-US" dirty="0">
                <a:solidFill>
                  <a:srgbClr val="333333"/>
                </a:solidFill>
                <a:latin typeface="Verdana" panose="020B0604030504040204" pitchFamily="34" charset="0"/>
              </a:rPr>
              <a:t>Example: x + 2 = 6</a:t>
            </a:r>
          </a:p>
          <a:p>
            <a:pPr lvl="2"/>
            <a:r>
              <a:rPr lang="en-US" b="0" i="0" dirty="0">
                <a:solidFill>
                  <a:srgbClr val="333333"/>
                </a:solidFill>
                <a:effectLst/>
                <a:latin typeface="Verdana" panose="020B0604030504040204" pitchFamily="34" charset="0"/>
              </a:rPr>
              <a:t>In this case we can find that x=4</a:t>
            </a:r>
            <a:endParaRPr lang="en-US" dirty="0">
              <a:solidFill>
                <a:srgbClr val="333333"/>
              </a:solidFill>
              <a:latin typeface="Verdana" panose="020B0604030504040204" pitchFamily="34" charset="0"/>
            </a:endParaRPr>
          </a:p>
          <a:p>
            <a:r>
              <a:rPr lang="en-US" b="0" i="0" dirty="0">
                <a:solidFill>
                  <a:srgbClr val="333333"/>
                </a:solidFill>
                <a:effectLst/>
                <a:latin typeface="Verdana" panose="020B0604030504040204" pitchFamily="34" charset="0"/>
              </a:rPr>
              <a:t>But a Random Variable is different ...</a:t>
            </a:r>
          </a:p>
          <a:p>
            <a:pPr lvl="1"/>
            <a:r>
              <a:rPr lang="en-US" b="0" i="0" dirty="0">
                <a:solidFill>
                  <a:srgbClr val="333333"/>
                </a:solidFill>
                <a:effectLst/>
                <a:latin typeface="Verdana" panose="020B0604030504040204" pitchFamily="34" charset="0"/>
              </a:rPr>
              <a:t>A Random Variable has a whole set of values and it could take on any of those values, randomly.</a:t>
            </a:r>
          </a:p>
          <a:p>
            <a:pPr marL="342900" lvl="1" indent="0">
              <a:buNone/>
            </a:pPr>
            <a:endParaRPr lang="en-US" b="0" i="0" dirty="0">
              <a:solidFill>
                <a:srgbClr val="333333"/>
              </a:solidFill>
              <a:effectLst/>
              <a:latin typeface="Verdana" panose="020B0604030504040204" pitchFamily="34" charset="0"/>
            </a:endParaRPr>
          </a:p>
          <a:p>
            <a:pPr lvl="1"/>
            <a:r>
              <a:rPr lang="en-US" b="0" i="0" dirty="0">
                <a:solidFill>
                  <a:srgbClr val="333333"/>
                </a:solidFill>
                <a:effectLst/>
                <a:latin typeface="Verdana" panose="020B0604030504040204" pitchFamily="34" charset="0"/>
              </a:rPr>
              <a:t>Example: X = {0, 1, 2, 3}</a:t>
            </a:r>
          </a:p>
          <a:p>
            <a:pPr lvl="2"/>
            <a:r>
              <a:rPr lang="en-US" b="0" i="0" dirty="0">
                <a:solidFill>
                  <a:srgbClr val="333333"/>
                </a:solidFill>
                <a:effectLst/>
                <a:latin typeface="Verdana" panose="020B0604030504040204" pitchFamily="34" charset="0"/>
              </a:rPr>
              <a:t>X could be 0, 1, 2, or 3 randomly.</a:t>
            </a:r>
          </a:p>
          <a:p>
            <a:pPr lvl="2"/>
            <a:r>
              <a:rPr lang="en-US" b="0" i="0" dirty="0">
                <a:solidFill>
                  <a:srgbClr val="333333"/>
                </a:solidFill>
                <a:effectLst/>
                <a:latin typeface="Verdana" panose="020B0604030504040204" pitchFamily="34" charset="0"/>
              </a:rPr>
              <a:t>And they might each have a different probability.</a:t>
            </a:r>
          </a:p>
          <a:p>
            <a:pPr lvl="1"/>
            <a:endParaRPr lang="en-US" dirty="0">
              <a:solidFill>
                <a:srgbClr val="333333"/>
              </a:solidFill>
              <a:latin typeface="Verdana" panose="020B0604030504040204" pitchFamily="34" charset="0"/>
            </a:endParaRPr>
          </a:p>
          <a:p>
            <a:pPr lvl="1"/>
            <a:endParaRPr lang="en-US" dirty="0">
              <a:solidFill>
                <a:srgbClr val="333333"/>
              </a:solidFill>
              <a:latin typeface="Verdana" panose="020B0604030504040204" pitchFamily="34" charset="0"/>
            </a:endParaRPr>
          </a:p>
          <a:p>
            <a:pPr lvl="1"/>
            <a:endParaRPr lang="en-US" dirty="0">
              <a:solidFill>
                <a:srgbClr val="333333"/>
              </a:solidFill>
              <a:latin typeface="Verdana" panose="020B0604030504040204" pitchFamily="34" charset="0"/>
            </a:endParaRPr>
          </a:p>
          <a:p>
            <a:pPr lvl="1"/>
            <a:endParaRPr lang="en-US" dirty="0"/>
          </a:p>
        </p:txBody>
      </p:sp>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98B309C2-D28D-4723-9F5C-205EA1F80120}"/>
                  </a:ext>
                </a:extLst>
              </p14:cNvPr>
              <p14:cNvContentPartPr/>
              <p14:nvPr/>
            </p14:nvContentPartPr>
            <p14:xfrm>
              <a:off x="1366920" y="347760"/>
              <a:ext cx="6996240" cy="3171960"/>
            </p14:xfrm>
          </p:contentPart>
        </mc:Choice>
        <mc:Fallback>
          <p:pic>
            <p:nvPicPr>
              <p:cNvPr id="4" name="Ink 3">
                <a:extLst>
                  <a:ext uri="{FF2B5EF4-FFF2-40B4-BE49-F238E27FC236}">
                    <a16:creationId xmlns:a16="http://schemas.microsoft.com/office/drawing/2014/main" id="{98B309C2-D28D-4723-9F5C-205EA1F80120}"/>
                  </a:ext>
                </a:extLst>
              </p:cNvPr>
              <p:cNvPicPr/>
              <p:nvPr/>
            </p:nvPicPr>
            <p:blipFill>
              <a:blip r:embed="rId4"/>
              <a:stretch>
                <a:fillRect/>
              </a:stretch>
            </p:blipFill>
            <p:spPr>
              <a:xfrm>
                <a:off x="1357560" y="338400"/>
                <a:ext cx="7014960" cy="3190680"/>
              </a:xfrm>
              <a:prstGeom prst="rect">
                <a:avLst/>
              </a:prstGeom>
            </p:spPr>
          </p:pic>
        </mc:Fallback>
      </mc:AlternateContent>
    </p:spTree>
    <p:extLst>
      <p:ext uri="{BB962C8B-B14F-4D97-AF65-F5344CB8AC3E}">
        <p14:creationId xmlns:p14="http://schemas.microsoft.com/office/powerpoint/2010/main" val="3190387872"/>
      </p:ext>
    </p:extLst>
  </p:cSld>
  <p:clrMapOvr>
    <a:masterClrMapping/>
  </p:clrMapOvr>
  <p:transition spd="med">
    <p:wipe dir="r"/>
  </p:transition>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0C0C86-6EF2-42D9-AD35-A59BE45030B1}"/>
              </a:ext>
            </a:extLst>
          </p:cNvPr>
          <p:cNvSpPr>
            <a:spLocks noGrp="1"/>
          </p:cNvSpPr>
          <p:nvPr>
            <p:ph type="title"/>
          </p:nvPr>
        </p:nvSpPr>
        <p:spPr>
          <a:xfrm>
            <a:off x="0" y="0"/>
            <a:ext cx="4295219" cy="640080"/>
          </a:xfrm>
        </p:spPr>
        <p:txBody>
          <a:bodyPr/>
          <a:lstStyle/>
          <a:p>
            <a:r>
              <a:rPr lang="en-US" dirty="0"/>
              <a:t>Sample Space</a:t>
            </a:r>
          </a:p>
        </p:txBody>
      </p:sp>
      <p:sp>
        <p:nvSpPr>
          <p:cNvPr id="3" name="Content Placeholder 2">
            <a:extLst>
              <a:ext uri="{FF2B5EF4-FFF2-40B4-BE49-F238E27FC236}">
                <a16:creationId xmlns:a16="http://schemas.microsoft.com/office/drawing/2014/main" id="{D509752D-5C17-4DF1-8520-6E7BAEE564B0}"/>
              </a:ext>
            </a:extLst>
          </p:cNvPr>
          <p:cNvSpPr>
            <a:spLocks noGrp="1"/>
          </p:cNvSpPr>
          <p:nvPr>
            <p:ph sz="half" idx="13"/>
          </p:nvPr>
        </p:nvSpPr>
        <p:spPr>
          <a:xfrm>
            <a:off x="124007" y="791645"/>
            <a:ext cx="8431269" cy="3200400"/>
          </a:xfrm>
        </p:spPr>
        <p:txBody>
          <a:bodyPr/>
          <a:lstStyle/>
          <a:p>
            <a:r>
              <a:rPr lang="en-US" dirty="0"/>
              <a:t>A Random Variable's set of values is the Sample Space.</a:t>
            </a:r>
          </a:p>
          <a:p>
            <a:r>
              <a:rPr lang="en-US" dirty="0"/>
              <a:t>Ex : Throw a dice once</a:t>
            </a:r>
          </a:p>
          <a:p>
            <a:pPr marL="0" indent="0">
              <a:buNone/>
            </a:pPr>
            <a:endParaRPr lang="en-US" dirty="0"/>
          </a:p>
          <a:p>
            <a:pPr lvl="1"/>
            <a:r>
              <a:rPr lang="en-US" b="0" i="0" dirty="0">
                <a:solidFill>
                  <a:srgbClr val="333333"/>
                </a:solidFill>
                <a:effectLst/>
                <a:latin typeface="Verdana" panose="020B0604030504040204" pitchFamily="34" charset="0"/>
              </a:rPr>
              <a:t>Random Variable </a:t>
            </a:r>
            <a:r>
              <a:rPr lang="en-US" b="1" i="0" dirty="0">
                <a:solidFill>
                  <a:srgbClr val="333333"/>
                </a:solidFill>
                <a:effectLst/>
                <a:latin typeface="Verdana" panose="020B0604030504040204" pitchFamily="34" charset="0"/>
              </a:rPr>
              <a:t>X</a:t>
            </a:r>
            <a:r>
              <a:rPr lang="en-US" b="0" i="0" dirty="0">
                <a:solidFill>
                  <a:srgbClr val="333333"/>
                </a:solidFill>
                <a:effectLst/>
                <a:latin typeface="Verdana" panose="020B0604030504040204" pitchFamily="34" charset="0"/>
              </a:rPr>
              <a:t> = </a:t>
            </a:r>
            <a:endParaRPr lang="en-US" dirty="0"/>
          </a:p>
        </p:txBody>
      </p:sp>
      <p:pic>
        <p:nvPicPr>
          <p:cNvPr id="5" name="Picture 4" descr="A close up of a dice&#10;&#10;Description automatically generated with medium confidence">
            <a:extLst>
              <a:ext uri="{FF2B5EF4-FFF2-40B4-BE49-F238E27FC236}">
                <a16:creationId xmlns:a16="http://schemas.microsoft.com/office/drawing/2014/main" id="{DF364605-096B-46EF-AB6B-C408064A0382}"/>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893144" y="1504139"/>
            <a:ext cx="3723380" cy="2786026"/>
          </a:xfrm>
          <a:prstGeom prst="rect">
            <a:avLst/>
          </a:prstGeom>
        </p:spPr>
      </p:pic>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F5D44601-D028-41EF-AC12-B3F97825829C}"/>
                  </a:ext>
                </a:extLst>
              </p14:cNvPr>
              <p14:cNvContentPartPr/>
              <p14:nvPr/>
            </p14:nvContentPartPr>
            <p14:xfrm>
              <a:off x="399960" y="528480"/>
              <a:ext cx="6387120" cy="4310640"/>
            </p14:xfrm>
          </p:contentPart>
        </mc:Choice>
        <mc:Fallback>
          <p:pic>
            <p:nvPicPr>
              <p:cNvPr id="4" name="Ink 3">
                <a:extLst>
                  <a:ext uri="{FF2B5EF4-FFF2-40B4-BE49-F238E27FC236}">
                    <a16:creationId xmlns:a16="http://schemas.microsoft.com/office/drawing/2014/main" id="{F5D44601-D028-41EF-AC12-B3F97825829C}"/>
                  </a:ext>
                </a:extLst>
              </p:cNvPr>
              <p:cNvPicPr/>
              <p:nvPr/>
            </p:nvPicPr>
            <p:blipFill>
              <a:blip r:embed="rId5"/>
              <a:stretch>
                <a:fillRect/>
              </a:stretch>
            </p:blipFill>
            <p:spPr>
              <a:xfrm>
                <a:off x="390600" y="519120"/>
                <a:ext cx="6405840" cy="4329360"/>
              </a:xfrm>
              <a:prstGeom prst="rect">
                <a:avLst/>
              </a:prstGeom>
            </p:spPr>
          </p:pic>
        </mc:Fallback>
      </mc:AlternateContent>
    </p:spTree>
    <p:extLst>
      <p:ext uri="{BB962C8B-B14F-4D97-AF65-F5344CB8AC3E}">
        <p14:creationId xmlns:p14="http://schemas.microsoft.com/office/powerpoint/2010/main" val="3826745495"/>
      </p:ext>
    </p:extLst>
  </p:cSld>
  <p:clrMapOvr>
    <a:masterClrMapping/>
  </p:clrMapOvr>
  <p:transition spd="med">
    <p:wipe dir="r"/>
  </p:transition>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469546-9706-4A9D-85B4-721535D7ED74}"/>
              </a:ext>
            </a:extLst>
          </p:cNvPr>
          <p:cNvSpPr>
            <a:spLocks noGrp="1"/>
          </p:cNvSpPr>
          <p:nvPr>
            <p:ph type="title"/>
          </p:nvPr>
        </p:nvSpPr>
        <p:spPr>
          <a:xfrm>
            <a:off x="0" y="0"/>
            <a:ext cx="4295219" cy="640080"/>
          </a:xfrm>
        </p:spPr>
        <p:txBody>
          <a:bodyPr/>
          <a:lstStyle/>
          <a:p>
            <a:r>
              <a:rPr lang="en-US" dirty="0"/>
              <a:t>Probability</a:t>
            </a:r>
          </a:p>
        </p:txBody>
      </p:sp>
      <p:sp>
        <p:nvSpPr>
          <p:cNvPr id="3" name="Content Placeholder 2">
            <a:extLst>
              <a:ext uri="{FF2B5EF4-FFF2-40B4-BE49-F238E27FC236}">
                <a16:creationId xmlns:a16="http://schemas.microsoft.com/office/drawing/2014/main" id="{36C30D74-4857-4A22-A1F4-C5BD94F32E85}"/>
              </a:ext>
            </a:extLst>
          </p:cNvPr>
          <p:cNvSpPr>
            <a:spLocks noGrp="1"/>
          </p:cNvSpPr>
          <p:nvPr>
            <p:ph sz="half" idx="13"/>
          </p:nvPr>
        </p:nvSpPr>
        <p:spPr>
          <a:xfrm>
            <a:off x="105219" y="665891"/>
            <a:ext cx="7723548" cy="930684"/>
          </a:xfrm>
        </p:spPr>
        <p:txBody>
          <a:bodyPr/>
          <a:lstStyle/>
          <a:p>
            <a:pPr algn="l"/>
            <a:r>
              <a:rPr lang="en-US" b="0" i="0" dirty="0">
                <a:solidFill>
                  <a:srgbClr val="333333"/>
                </a:solidFill>
                <a:effectLst/>
                <a:latin typeface="Verdana" panose="020B0604030504040204" pitchFamily="34" charset="0"/>
              </a:rPr>
              <a:t>We can show the probability of any one value using this style:</a:t>
            </a:r>
          </a:p>
          <a:p>
            <a:pPr lvl="3"/>
            <a:endParaRPr lang="en-US" dirty="0">
              <a:solidFill>
                <a:srgbClr val="333333"/>
              </a:solidFill>
              <a:latin typeface="Verdana" panose="020B0604030504040204" pitchFamily="34" charset="0"/>
            </a:endParaRPr>
          </a:p>
          <a:p>
            <a:pPr marL="1371600" lvl="4" indent="0">
              <a:buNone/>
            </a:pPr>
            <a:r>
              <a:rPr lang="en-US" sz="1400" dirty="0">
                <a:solidFill>
                  <a:schemeClr val="bg1"/>
                </a:solidFill>
                <a:latin typeface="Verdana" panose="020B0604030504040204" pitchFamily="34" charset="0"/>
                <a:cs typeface="Arial" panose="020B0604020202020204" pitchFamily="34" charset="0"/>
              </a:rPr>
              <a:t>P(X = value) = probability of that value</a:t>
            </a:r>
          </a:p>
          <a:p>
            <a:pPr marL="1371600" lvl="4" indent="0">
              <a:buNone/>
            </a:pPr>
            <a:endParaRPr lang="en-US" dirty="0">
              <a:latin typeface="Verdana" panose="020B0604030504040204" pitchFamily="34" charset="0"/>
            </a:endParaRPr>
          </a:p>
          <a:p>
            <a:pPr marL="1371600" lvl="4" indent="0">
              <a:buNone/>
            </a:pPr>
            <a:endParaRPr lang="en-US" b="0" i="0" dirty="0">
              <a:effectLst/>
              <a:latin typeface="Verdana" panose="020B0604030504040204" pitchFamily="34" charset="0"/>
            </a:endParaRPr>
          </a:p>
          <a:p>
            <a:pPr marL="1371600" lvl="4" indent="0">
              <a:buNone/>
            </a:pPr>
            <a:endParaRPr lang="en-US" b="0" i="0" dirty="0">
              <a:effectLst/>
              <a:latin typeface="Verdana" panose="020B0604030504040204" pitchFamily="34" charset="0"/>
            </a:endParaRPr>
          </a:p>
          <a:p>
            <a:endParaRPr lang="en-US" dirty="0"/>
          </a:p>
        </p:txBody>
      </p:sp>
      <p:sp>
        <p:nvSpPr>
          <p:cNvPr id="4" name="TextBox 3">
            <a:extLst>
              <a:ext uri="{FF2B5EF4-FFF2-40B4-BE49-F238E27FC236}">
                <a16:creationId xmlns:a16="http://schemas.microsoft.com/office/drawing/2014/main" id="{7B05C952-4CFC-4F44-A4A8-14749D9EE107}"/>
              </a:ext>
            </a:extLst>
          </p:cNvPr>
          <p:cNvSpPr txBox="1"/>
          <p:nvPr/>
        </p:nvSpPr>
        <p:spPr>
          <a:xfrm>
            <a:off x="105219" y="1572016"/>
            <a:ext cx="7141088" cy="523220"/>
          </a:xfrm>
          <a:prstGeom prst="rect">
            <a:avLst/>
          </a:prstGeom>
          <a:noFill/>
        </p:spPr>
        <p:txBody>
          <a:bodyPr wrap="square" rtlCol="0">
            <a:spAutoFit/>
          </a:bodyPr>
          <a:lstStyle/>
          <a:p>
            <a:pPr>
              <a:spcBef>
                <a:spcPts val="0"/>
              </a:spcBef>
              <a:spcAft>
                <a:spcPts val="0"/>
              </a:spcAft>
              <a:buClr>
                <a:schemeClr val="bg1"/>
              </a:buClr>
            </a:pPr>
            <a:r>
              <a:rPr lang="en-US" sz="1400" b="1" i="0" dirty="0">
                <a:solidFill>
                  <a:srgbClr val="333333"/>
                </a:solidFill>
                <a:effectLst/>
                <a:latin typeface="Verdana" panose="020B0604030504040204" pitchFamily="34" charset="0"/>
              </a:rPr>
              <a:t>Example (continued): Throw a die once</a:t>
            </a:r>
          </a:p>
          <a:p>
            <a:pPr>
              <a:spcBef>
                <a:spcPts val="0"/>
              </a:spcBef>
              <a:spcAft>
                <a:spcPts val="0"/>
              </a:spcAft>
              <a:buClr>
                <a:schemeClr val="bg1"/>
              </a:buClr>
            </a:pPr>
            <a:endParaRPr lang="en-US" sz="1400" dirty="0" err="1">
              <a:solidFill>
                <a:schemeClr val="bg2"/>
              </a:solidFill>
              <a:latin typeface="+mn-lt"/>
            </a:endParaRPr>
          </a:p>
        </p:txBody>
      </p:sp>
      <p:sp>
        <p:nvSpPr>
          <p:cNvPr id="5" name="TextBox 4">
            <a:extLst>
              <a:ext uri="{FF2B5EF4-FFF2-40B4-BE49-F238E27FC236}">
                <a16:creationId xmlns:a16="http://schemas.microsoft.com/office/drawing/2014/main" id="{CF6C7415-39BF-48B3-A331-D80E7925995E}"/>
              </a:ext>
            </a:extLst>
          </p:cNvPr>
          <p:cNvSpPr txBox="1"/>
          <p:nvPr/>
        </p:nvSpPr>
        <p:spPr>
          <a:xfrm>
            <a:off x="244257" y="1962828"/>
            <a:ext cx="5661765" cy="2339102"/>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X = {1, 2, 3, 4, 5, 6}</a:t>
            </a:r>
          </a:p>
          <a:p>
            <a:pPr algn="l"/>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In this case they are all equally likely, so the probability of any one is 1/6</a:t>
            </a:r>
          </a:p>
          <a:p>
            <a:pPr algn="l"/>
            <a:endParaRPr lang="en-US" sz="1100" b="0" i="0" dirty="0">
              <a:solidFill>
                <a:srgbClr val="333333"/>
              </a:solidFill>
              <a:effectLst/>
              <a:latin typeface="Verdana" panose="020B0604030504040204" pitchFamily="34" charset="0"/>
            </a:endParaRPr>
          </a:p>
          <a:p>
            <a:pPr algn="l">
              <a:buFont typeface="Arial" panose="020B0604020202020204" pitchFamily="34" charset="0"/>
              <a:buChar char="•"/>
            </a:pPr>
            <a:r>
              <a:rPr lang="en-US" sz="1100" b="0" i="0" dirty="0">
                <a:solidFill>
                  <a:srgbClr val="333333"/>
                </a:solidFill>
                <a:effectLst/>
                <a:latin typeface="Verdana" panose="020B0604030504040204" pitchFamily="34" charset="0"/>
              </a:rPr>
              <a:t>P(X = 1) = 1/6</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P(X = 2) = 1/6</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P(X = 3) = 1/6</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P(X = 4) = 1/6</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P(X = 5) = 1/6</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P(X = 6) = 1/6</a:t>
            </a:r>
          </a:p>
          <a:p>
            <a:pPr algn="l"/>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Note that the sum of the probabilities = </a:t>
            </a:r>
            <a:r>
              <a:rPr lang="en-US" sz="1100" b="1" i="0" dirty="0">
                <a:solidFill>
                  <a:srgbClr val="333333"/>
                </a:solidFill>
                <a:effectLst/>
                <a:latin typeface="Verdana" panose="020B0604030504040204" pitchFamily="34" charset="0"/>
              </a:rPr>
              <a:t>1</a:t>
            </a:r>
            <a:r>
              <a:rPr lang="en-US" sz="1100" b="0" i="0" dirty="0">
                <a:solidFill>
                  <a:srgbClr val="333333"/>
                </a:solidFill>
                <a:effectLst/>
                <a:latin typeface="Verdana" panose="020B0604030504040204" pitchFamily="34" charset="0"/>
              </a:rPr>
              <a:t>, as it should be.</a:t>
            </a:r>
          </a:p>
          <a:p>
            <a:pPr>
              <a:spcBef>
                <a:spcPts val="0"/>
              </a:spcBef>
              <a:spcAft>
                <a:spcPts val="0"/>
              </a:spcAft>
              <a:buClr>
                <a:schemeClr val="bg1"/>
              </a:buClr>
            </a:pPr>
            <a:endParaRPr lang="en-US" sz="1400" dirty="0" err="1">
              <a:solidFill>
                <a:schemeClr val="bg2"/>
              </a:solidFill>
              <a:latin typeface="+mn-lt"/>
            </a:endParaRPr>
          </a:p>
        </p:txBody>
      </p:sp>
      <p:pic>
        <p:nvPicPr>
          <p:cNvPr id="7" name="Picture 6" descr="A close up of a dice&#10;&#10;Description automatically generated with medium confidence">
            <a:extLst>
              <a:ext uri="{FF2B5EF4-FFF2-40B4-BE49-F238E27FC236}">
                <a16:creationId xmlns:a16="http://schemas.microsoft.com/office/drawing/2014/main" id="{793A5AAE-7B73-4D34-A2B8-6AC4751C2E6F}"/>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906022" y="2384899"/>
            <a:ext cx="2174893" cy="1627368"/>
          </a:xfrm>
          <a:prstGeom prst="rect">
            <a:avLst/>
          </a:prstGeom>
        </p:spPr>
      </p:pic>
    </p:spTree>
    <p:extLst>
      <p:ext uri="{BB962C8B-B14F-4D97-AF65-F5344CB8AC3E}">
        <p14:creationId xmlns:p14="http://schemas.microsoft.com/office/powerpoint/2010/main" val="3651491739"/>
      </p:ext>
    </p:extLst>
  </p:cSld>
  <p:clrMapOvr>
    <a:masterClrMapping/>
  </p:clrMapOvr>
  <p:transition spd="med">
    <p:wipe dir="r"/>
  </p:transition>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F1C428-BF25-4414-957E-3C43A94B1691}"/>
              </a:ext>
            </a:extLst>
          </p:cNvPr>
          <p:cNvSpPr>
            <a:spLocks noGrp="1"/>
          </p:cNvSpPr>
          <p:nvPr>
            <p:ph type="title"/>
          </p:nvPr>
        </p:nvSpPr>
        <p:spPr>
          <a:xfrm>
            <a:off x="0" y="22860"/>
            <a:ext cx="8000391" cy="640080"/>
          </a:xfrm>
        </p:spPr>
        <p:txBody>
          <a:bodyPr/>
          <a:lstStyle/>
          <a:p>
            <a:r>
              <a:rPr lang="en-US" dirty="0"/>
              <a:t>Probability - Continued</a:t>
            </a:r>
          </a:p>
        </p:txBody>
      </p:sp>
      <p:sp>
        <p:nvSpPr>
          <p:cNvPr id="3" name="Content Placeholder 2">
            <a:extLst>
              <a:ext uri="{FF2B5EF4-FFF2-40B4-BE49-F238E27FC236}">
                <a16:creationId xmlns:a16="http://schemas.microsoft.com/office/drawing/2014/main" id="{35EADB4C-D732-46A9-988C-E85EDAE7DC34}"/>
              </a:ext>
            </a:extLst>
          </p:cNvPr>
          <p:cNvSpPr>
            <a:spLocks noGrp="1"/>
          </p:cNvSpPr>
          <p:nvPr>
            <p:ph sz="half" idx="13"/>
          </p:nvPr>
        </p:nvSpPr>
        <p:spPr>
          <a:xfrm>
            <a:off x="48851" y="662940"/>
            <a:ext cx="5306026" cy="3200400"/>
          </a:xfrm>
        </p:spPr>
        <p:txBody>
          <a:bodyPr>
            <a:normAutofit/>
          </a:bodyPr>
          <a:lstStyle/>
          <a:p>
            <a:pPr marL="0" indent="0">
              <a:buNone/>
            </a:pPr>
            <a:r>
              <a:rPr lang="en-US" b="1" dirty="0"/>
              <a:t>Example: How many heads when we toss 3 coins?</a:t>
            </a:r>
          </a:p>
          <a:p>
            <a:r>
              <a:rPr lang="en-US" dirty="0"/>
              <a:t>X = "The number of Heads" is the Random Variable.</a:t>
            </a:r>
          </a:p>
          <a:p>
            <a:r>
              <a:rPr lang="en-US" dirty="0"/>
              <a:t>In this case, there could be 0 Heads (if all the coins land Tails up), 1 Head, 2 Heads or 3 Heads.</a:t>
            </a:r>
          </a:p>
          <a:p>
            <a:r>
              <a:rPr lang="en-US" dirty="0"/>
              <a:t>So, the Sample Space = {0, 1, 2, 3}</a:t>
            </a:r>
          </a:p>
          <a:p>
            <a:r>
              <a:rPr lang="en-US" dirty="0"/>
              <a:t>But this time the outcomes are NOT all equally likely.</a:t>
            </a:r>
          </a:p>
          <a:p>
            <a:r>
              <a:rPr lang="en-US" dirty="0"/>
              <a:t>The three coins can land in eight possible ways:</a:t>
            </a:r>
          </a:p>
        </p:txBody>
      </p:sp>
      <p:pic>
        <p:nvPicPr>
          <p:cNvPr id="7" name="Picture 6">
            <a:extLst>
              <a:ext uri="{FF2B5EF4-FFF2-40B4-BE49-F238E27FC236}">
                <a16:creationId xmlns:a16="http://schemas.microsoft.com/office/drawing/2014/main" id="{584268B2-2C9B-4B7F-8809-62912C5FA4D4}"/>
              </a:ext>
            </a:extLst>
          </p:cNvPr>
          <p:cNvPicPr>
            <a:picLocks noChangeAspect="1"/>
          </p:cNvPicPr>
          <p:nvPr/>
        </p:nvPicPr>
        <p:blipFill>
          <a:blip r:embed="rId2"/>
          <a:stretch>
            <a:fillRect/>
          </a:stretch>
        </p:blipFill>
        <p:spPr>
          <a:xfrm>
            <a:off x="6461254" y="1258866"/>
            <a:ext cx="1905327" cy="3861774"/>
          </a:xfrm>
          <a:prstGeom prst="rect">
            <a:avLst/>
          </a:prstGeom>
        </p:spPr>
      </p:pic>
      <p:sp>
        <p:nvSpPr>
          <p:cNvPr id="8" name="TextBox 7">
            <a:extLst>
              <a:ext uri="{FF2B5EF4-FFF2-40B4-BE49-F238E27FC236}">
                <a16:creationId xmlns:a16="http://schemas.microsoft.com/office/drawing/2014/main" id="{20E2614F-18E1-47BF-9F2E-8FDCA666A8BB}"/>
              </a:ext>
            </a:extLst>
          </p:cNvPr>
          <p:cNvSpPr txBox="1"/>
          <p:nvPr/>
        </p:nvSpPr>
        <p:spPr>
          <a:xfrm>
            <a:off x="6237962" y="853704"/>
            <a:ext cx="2210843"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296BC2"/>
                </a:solidFill>
                <a:effectLst/>
                <a:latin typeface="Verdana" panose="020B0604030504040204" pitchFamily="34" charset="0"/>
              </a:rPr>
              <a:t>X =  "Number of Heads"</a:t>
            </a:r>
            <a:endParaRPr lang="en-US" sz="1400" dirty="0">
              <a:solidFill>
                <a:schemeClr val="bg2"/>
              </a:solidFill>
              <a:latin typeface="+mn-lt"/>
            </a:endParaRPr>
          </a:p>
        </p:txBody>
      </p:sp>
      <p:sp>
        <p:nvSpPr>
          <p:cNvPr id="9" name="Arrow: Right 8">
            <a:extLst>
              <a:ext uri="{FF2B5EF4-FFF2-40B4-BE49-F238E27FC236}">
                <a16:creationId xmlns:a16="http://schemas.microsoft.com/office/drawing/2014/main" id="{10FDD0E1-2586-4A27-9BD3-DE6F123F9AC5}"/>
              </a:ext>
            </a:extLst>
          </p:cNvPr>
          <p:cNvSpPr/>
          <p:nvPr/>
        </p:nvSpPr>
        <p:spPr>
          <a:xfrm>
            <a:off x="4208745" y="2698184"/>
            <a:ext cx="2116899" cy="252869"/>
          </a:xfrm>
          <a:prstGeom prst="rightArrow">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0" name="TextBox 9">
            <a:extLst>
              <a:ext uri="{FF2B5EF4-FFF2-40B4-BE49-F238E27FC236}">
                <a16:creationId xmlns:a16="http://schemas.microsoft.com/office/drawing/2014/main" id="{0D29ABF0-EE4C-4814-8AAE-C67AFCE43760}"/>
              </a:ext>
            </a:extLst>
          </p:cNvPr>
          <p:cNvSpPr txBox="1"/>
          <p:nvPr/>
        </p:nvSpPr>
        <p:spPr>
          <a:xfrm>
            <a:off x="156574" y="3377882"/>
            <a:ext cx="6169069" cy="1492716"/>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Looking at the table we see just 1 case of Three Heads, but 3 cases of Two Heads, 3 cases of One Head, and 1 case of Zero Heads. So:.</a:t>
            </a:r>
          </a:p>
          <a:p>
            <a:pPr algn="l"/>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P(X = 3) = 1/8</a:t>
            </a:r>
          </a:p>
          <a:p>
            <a:pPr algn="l"/>
            <a:r>
              <a:rPr lang="en-US" sz="1100" b="0" i="0" dirty="0">
                <a:solidFill>
                  <a:srgbClr val="333333"/>
                </a:solidFill>
                <a:effectLst/>
                <a:latin typeface="Verdana" panose="020B0604030504040204" pitchFamily="34" charset="0"/>
              </a:rPr>
              <a:t>P(X = 2) = 3/8</a:t>
            </a:r>
          </a:p>
          <a:p>
            <a:pPr algn="l"/>
            <a:r>
              <a:rPr lang="en-US" sz="1100" b="0" i="0" dirty="0">
                <a:solidFill>
                  <a:srgbClr val="333333"/>
                </a:solidFill>
                <a:effectLst/>
                <a:latin typeface="Verdana" panose="020B0604030504040204" pitchFamily="34" charset="0"/>
              </a:rPr>
              <a:t>P(X = 1) = 3/8</a:t>
            </a:r>
          </a:p>
          <a:p>
            <a:pPr algn="l"/>
            <a:r>
              <a:rPr lang="en-US" sz="1100" b="0" i="0" dirty="0">
                <a:solidFill>
                  <a:srgbClr val="333333"/>
                </a:solidFill>
                <a:effectLst/>
                <a:latin typeface="Verdana" panose="020B0604030504040204" pitchFamily="34" charset="0"/>
              </a:rPr>
              <a:t>P(X = 0) = 1/8</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07B865FE-4BB6-4C47-AFC3-4455A27F311B}"/>
                  </a:ext>
                </a:extLst>
              </p14:cNvPr>
              <p14:cNvContentPartPr/>
              <p14:nvPr/>
            </p14:nvContentPartPr>
            <p14:xfrm>
              <a:off x="347760" y="114480"/>
              <a:ext cx="8296560" cy="4962600"/>
            </p14:xfrm>
          </p:contentPart>
        </mc:Choice>
        <mc:Fallback>
          <p:pic>
            <p:nvPicPr>
              <p:cNvPr id="4" name="Ink 3">
                <a:extLst>
                  <a:ext uri="{FF2B5EF4-FFF2-40B4-BE49-F238E27FC236}">
                    <a16:creationId xmlns:a16="http://schemas.microsoft.com/office/drawing/2014/main" id="{07B865FE-4BB6-4C47-AFC3-4455A27F311B}"/>
                  </a:ext>
                </a:extLst>
              </p:cNvPr>
              <p:cNvPicPr/>
              <p:nvPr/>
            </p:nvPicPr>
            <p:blipFill>
              <a:blip r:embed="rId4"/>
              <a:stretch>
                <a:fillRect/>
              </a:stretch>
            </p:blipFill>
            <p:spPr>
              <a:xfrm>
                <a:off x="338400" y="105120"/>
                <a:ext cx="8315280" cy="4981320"/>
              </a:xfrm>
              <a:prstGeom prst="rect">
                <a:avLst/>
              </a:prstGeom>
            </p:spPr>
          </p:pic>
        </mc:Fallback>
      </mc:AlternateContent>
    </p:spTree>
    <p:extLst>
      <p:ext uri="{BB962C8B-B14F-4D97-AF65-F5344CB8AC3E}">
        <p14:creationId xmlns:p14="http://schemas.microsoft.com/office/powerpoint/2010/main" val="2609554052"/>
      </p:ext>
    </p:extLst>
  </p:cSld>
  <p:clrMapOvr>
    <a:masterClrMapping/>
  </p:clrMapOvr>
  <p:transition spd="med">
    <p:wipe dir="r"/>
  </p:transition>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A3905-3DDD-49FC-A037-D98D8EC26E77}"/>
              </a:ext>
            </a:extLst>
          </p:cNvPr>
          <p:cNvSpPr>
            <a:spLocks noGrp="1"/>
          </p:cNvSpPr>
          <p:nvPr>
            <p:ph type="title"/>
          </p:nvPr>
        </p:nvSpPr>
        <p:spPr>
          <a:xfrm>
            <a:off x="0" y="0"/>
            <a:ext cx="7161147" cy="640080"/>
          </a:xfrm>
        </p:spPr>
        <p:txBody>
          <a:bodyPr/>
          <a:lstStyle/>
          <a:p>
            <a:r>
              <a:rPr lang="en-US" dirty="0"/>
              <a:t>Random Variable – Discrete data</a:t>
            </a:r>
          </a:p>
        </p:txBody>
      </p:sp>
      <p:sp>
        <p:nvSpPr>
          <p:cNvPr id="3" name="Content Placeholder 2">
            <a:extLst>
              <a:ext uri="{FF2B5EF4-FFF2-40B4-BE49-F238E27FC236}">
                <a16:creationId xmlns:a16="http://schemas.microsoft.com/office/drawing/2014/main" id="{80BD8A89-D4BB-459A-A464-A6D6E62C8A48}"/>
              </a:ext>
            </a:extLst>
          </p:cNvPr>
          <p:cNvSpPr>
            <a:spLocks noGrp="1"/>
          </p:cNvSpPr>
          <p:nvPr>
            <p:ph sz="half" idx="13"/>
          </p:nvPr>
        </p:nvSpPr>
        <p:spPr>
          <a:xfrm>
            <a:off x="255531" y="971550"/>
            <a:ext cx="7510606" cy="3200400"/>
          </a:xfrm>
        </p:spPr>
        <p:txBody>
          <a:bodyPr/>
          <a:lstStyle/>
          <a:p>
            <a:r>
              <a:rPr lang="en-US" dirty="0"/>
              <a:t>Type of Random Variables</a:t>
            </a:r>
          </a:p>
          <a:p>
            <a:r>
              <a:rPr lang="en-US" dirty="0"/>
              <a:t>Discrete Data can only take certain values (such as 1,2,3,4,5)</a:t>
            </a:r>
          </a:p>
          <a:p>
            <a:r>
              <a:rPr lang="en-US" dirty="0"/>
              <a:t>Discrete data is counted</a:t>
            </a:r>
          </a:p>
          <a:p>
            <a:endParaRPr lang="en-US" dirty="0"/>
          </a:p>
          <a:p>
            <a:r>
              <a:rPr lang="en-US" dirty="0"/>
              <a:t>Example 1:</a:t>
            </a:r>
          </a:p>
          <a:p>
            <a:endParaRPr lang="en-US" dirty="0"/>
          </a:p>
          <a:p>
            <a:endParaRPr lang="en-US" dirty="0"/>
          </a:p>
          <a:p>
            <a:r>
              <a:rPr lang="en-US" dirty="0"/>
              <a:t>Example 2 : </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0A62142A-D6C8-458A-A10F-E7F4DFFC09EE}"/>
                  </a:ext>
                </a:extLst>
              </p14:cNvPr>
              <p14:cNvContentPartPr/>
              <p14:nvPr/>
            </p14:nvContentPartPr>
            <p14:xfrm>
              <a:off x="561960" y="390600"/>
              <a:ext cx="7591680" cy="4357800"/>
            </p14:xfrm>
          </p:contentPart>
        </mc:Choice>
        <mc:Fallback>
          <p:pic>
            <p:nvPicPr>
              <p:cNvPr id="4" name="Ink 3">
                <a:extLst>
                  <a:ext uri="{FF2B5EF4-FFF2-40B4-BE49-F238E27FC236}">
                    <a16:creationId xmlns:a16="http://schemas.microsoft.com/office/drawing/2014/main" id="{0A62142A-D6C8-458A-A10F-E7F4DFFC09EE}"/>
                  </a:ext>
                </a:extLst>
              </p:cNvPr>
              <p:cNvPicPr/>
              <p:nvPr/>
            </p:nvPicPr>
            <p:blipFill>
              <a:blip r:embed="rId3"/>
              <a:stretch>
                <a:fillRect/>
              </a:stretch>
            </p:blipFill>
            <p:spPr>
              <a:xfrm>
                <a:off x="552600" y="381240"/>
                <a:ext cx="7610400" cy="4376520"/>
              </a:xfrm>
              <a:prstGeom prst="rect">
                <a:avLst/>
              </a:prstGeom>
            </p:spPr>
          </p:pic>
        </mc:Fallback>
      </mc:AlternateContent>
    </p:spTree>
    <p:extLst>
      <p:ext uri="{BB962C8B-B14F-4D97-AF65-F5344CB8AC3E}">
        <p14:creationId xmlns:p14="http://schemas.microsoft.com/office/powerpoint/2010/main" val="1870432331"/>
      </p:ext>
    </p:extLst>
  </p:cSld>
  <p:clrMapOvr>
    <a:masterClrMapping/>
  </p:clrMapOvr>
  <p:transition spd="med">
    <p:wipe dir="r"/>
  </p:transition>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9AE41-7B26-4CA8-A659-8BDA8675EDA5}"/>
              </a:ext>
            </a:extLst>
          </p:cNvPr>
          <p:cNvSpPr>
            <a:spLocks noGrp="1"/>
          </p:cNvSpPr>
          <p:nvPr>
            <p:ph type="title"/>
          </p:nvPr>
        </p:nvSpPr>
        <p:spPr>
          <a:xfrm>
            <a:off x="0" y="22860"/>
            <a:ext cx="7674714" cy="640080"/>
          </a:xfrm>
        </p:spPr>
        <p:txBody>
          <a:bodyPr/>
          <a:lstStyle/>
          <a:p>
            <a:r>
              <a:rPr lang="en-US" dirty="0"/>
              <a:t>Random Variable – Continuous data</a:t>
            </a:r>
          </a:p>
        </p:txBody>
      </p:sp>
      <p:sp>
        <p:nvSpPr>
          <p:cNvPr id="3" name="Content Placeholder 2">
            <a:extLst>
              <a:ext uri="{FF2B5EF4-FFF2-40B4-BE49-F238E27FC236}">
                <a16:creationId xmlns:a16="http://schemas.microsoft.com/office/drawing/2014/main" id="{EE612399-F008-4C1A-B214-C3F21F098966}"/>
              </a:ext>
            </a:extLst>
          </p:cNvPr>
          <p:cNvSpPr>
            <a:spLocks noGrp="1"/>
          </p:cNvSpPr>
          <p:nvPr>
            <p:ph sz="half" idx="13"/>
          </p:nvPr>
        </p:nvSpPr>
        <p:spPr>
          <a:xfrm>
            <a:off x="174111" y="848012"/>
            <a:ext cx="8230853" cy="3200400"/>
          </a:xfrm>
        </p:spPr>
        <p:txBody>
          <a:bodyPr/>
          <a:lstStyle/>
          <a:p>
            <a:r>
              <a:rPr lang="en-US" b="0" i="0" dirty="0">
                <a:solidFill>
                  <a:srgbClr val="333333"/>
                </a:solidFill>
                <a:effectLst/>
                <a:latin typeface="Verdana" panose="020B0604030504040204" pitchFamily="34" charset="0"/>
              </a:rPr>
              <a:t>Continuous Data can take any value within a range (such as a person's height)</a:t>
            </a:r>
          </a:p>
          <a:p>
            <a:endParaRPr lang="en-US" dirty="0">
              <a:solidFill>
                <a:srgbClr val="333333"/>
              </a:solidFill>
              <a:latin typeface="Verdana" panose="020B0604030504040204" pitchFamily="34" charset="0"/>
            </a:endParaRPr>
          </a:p>
          <a:p>
            <a:r>
              <a:rPr lang="en-US" b="0" i="0" dirty="0">
                <a:solidFill>
                  <a:srgbClr val="333333"/>
                </a:solidFill>
                <a:effectLst/>
                <a:latin typeface="Verdana" panose="020B0604030504040204" pitchFamily="34" charset="0"/>
              </a:rPr>
              <a:t>Examples : </a:t>
            </a:r>
          </a:p>
          <a:p>
            <a:endParaRPr lang="en-US" dirty="0"/>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6FC0B8BD-B2E6-4B51-8CA9-05B95F8A4403}"/>
                  </a:ext>
                </a:extLst>
              </p14:cNvPr>
              <p14:cNvContentPartPr/>
              <p14:nvPr/>
            </p14:nvContentPartPr>
            <p14:xfrm>
              <a:off x="1809720" y="1990800"/>
              <a:ext cx="3534120" cy="1986120"/>
            </p14:xfrm>
          </p:contentPart>
        </mc:Choice>
        <mc:Fallback>
          <p:pic>
            <p:nvPicPr>
              <p:cNvPr id="4" name="Ink 3">
                <a:extLst>
                  <a:ext uri="{FF2B5EF4-FFF2-40B4-BE49-F238E27FC236}">
                    <a16:creationId xmlns:a16="http://schemas.microsoft.com/office/drawing/2014/main" id="{6FC0B8BD-B2E6-4B51-8CA9-05B95F8A4403}"/>
                  </a:ext>
                </a:extLst>
              </p:cNvPr>
              <p:cNvPicPr/>
              <p:nvPr/>
            </p:nvPicPr>
            <p:blipFill>
              <a:blip r:embed="rId3"/>
              <a:stretch>
                <a:fillRect/>
              </a:stretch>
            </p:blipFill>
            <p:spPr>
              <a:xfrm>
                <a:off x="1800360" y="1981440"/>
                <a:ext cx="3552840" cy="2004840"/>
              </a:xfrm>
              <a:prstGeom prst="rect">
                <a:avLst/>
              </a:prstGeom>
            </p:spPr>
          </p:pic>
        </mc:Fallback>
      </mc:AlternateContent>
    </p:spTree>
    <p:extLst>
      <p:ext uri="{BB962C8B-B14F-4D97-AF65-F5344CB8AC3E}">
        <p14:creationId xmlns:p14="http://schemas.microsoft.com/office/powerpoint/2010/main" val="2845260871"/>
      </p:ext>
    </p:extLst>
  </p:cSld>
  <p:clrMapOvr>
    <a:masterClrMapping/>
  </p:clrMapOvr>
  <p:transition spd="med">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019E3-33F8-45DD-9B54-B567FCE03CC1}"/>
              </a:ext>
            </a:extLst>
          </p:cNvPr>
          <p:cNvSpPr>
            <a:spLocks noGrp="1"/>
          </p:cNvSpPr>
          <p:nvPr>
            <p:ph type="title"/>
          </p:nvPr>
        </p:nvSpPr>
        <p:spPr>
          <a:xfrm>
            <a:off x="0" y="83996"/>
            <a:ext cx="7955280" cy="640080"/>
          </a:xfrm>
        </p:spPr>
        <p:txBody>
          <a:bodyPr/>
          <a:lstStyle/>
          <a:p>
            <a:r>
              <a:rPr lang="en-US" dirty="0"/>
              <a:t>Descriptive Statistics</a:t>
            </a:r>
          </a:p>
        </p:txBody>
      </p:sp>
      <p:sp>
        <p:nvSpPr>
          <p:cNvPr id="3" name="Content Placeholder 2">
            <a:extLst>
              <a:ext uri="{FF2B5EF4-FFF2-40B4-BE49-F238E27FC236}">
                <a16:creationId xmlns:a16="http://schemas.microsoft.com/office/drawing/2014/main" id="{C4821D91-408E-4E7F-A0CC-421C8F3872D1}"/>
              </a:ext>
            </a:extLst>
          </p:cNvPr>
          <p:cNvSpPr>
            <a:spLocks noGrp="1"/>
          </p:cNvSpPr>
          <p:nvPr>
            <p:ph sz="half" idx="13"/>
          </p:nvPr>
        </p:nvSpPr>
        <p:spPr>
          <a:xfrm>
            <a:off x="55113" y="765568"/>
            <a:ext cx="8481373" cy="1218782"/>
          </a:xfrm>
        </p:spPr>
        <p:txBody>
          <a:bodyPr>
            <a:noAutofit/>
          </a:bodyPr>
          <a:lstStyle/>
          <a:p>
            <a:r>
              <a:rPr lang="en-US" dirty="0">
                <a:solidFill>
                  <a:schemeClr val="bg2">
                    <a:lumMod val="50000"/>
                    <a:lumOff val="50000"/>
                  </a:schemeClr>
                </a:solidFill>
              </a:rPr>
              <a:t>Descriptive statistics is a term given to the analysis of data that helps to describe, show and summarize data in a meaningful way. It is a simple way to describe our data.</a:t>
            </a:r>
          </a:p>
          <a:p>
            <a:r>
              <a:rPr lang="en-US" dirty="0">
                <a:solidFill>
                  <a:schemeClr val="bg2">
                    <a:lumMod val="50000"/>
                    <a:lumOff val="50000"/>
                  </a:schemeClr>
                </a:solidFill>
              </a:rPr>
              <a:t> Descriptive statistics is very important to present our raw data in effective/meaningful way using numerical calculations or graphs or tables. This type of statistics is applied on already known data.</a:t>
            </a:r>
          </a:p>
          <a:p>
            <a:r>
              <a:rPr lang="en-US" dirty="0">
                <a:solidFill>
                  <a:schemeClr val="bg2">
                    <a:lumMod val="50000"/>
                    <a:lumOff val="50000"/>
                  </a:schemeClr>
                </a:solidFill>
              </a:rPr>
              <a:t>Types of Descriptive Statistics</a:t>
            </a:r>
          </a:p>
          <a:p>
            <a:pPr lvl="1"/>
            <a:r>
              <a:rPr lang="en-US" sz="1400" dirty="0">
                <a:solidFill>
                  <a:schemeClr val="bg2">
                    <a:lumMod val="50000"/>
                    <a:lumOff val="50000"/>
                  </a:schemeClr>
                </a:solidFill>
              </a:rPr>
              <a:t>Measure of Central tendency</a:t>
            </a:r>
          </a:p>
          <a:p>
            <a:pPr lvl="1"/>
            <a:r>
              <a:rPr lang="en-US" sz="1400" dirty="0">
                <a:solidFill>
                  <a:schemeClr val="bg2">
                    <a:lumMod val="50000"/>
                    <a:lumOff val="50000"/>
                  </a:schemeClr>
                </a:solidFill>
              </a:rPr>
              <a:t>Measure of Variability</a:t>
            </a:r>
          </a:p>
          <a:p>
            <a:pPr lvl="1"/>
            <a:endParaRPr lang="en-US" sz="1400" dirty="0">
              <a:solidFill>
                <a:schemeClr val="bg2">
                  <a:lumMod val="50000"/>
                  <a:lumOff val="50000"/>
                </a:schemeClr>
              </a:solidFill>
            </a:endParaRPr>
          </a:p>
          <a:p>
            <a:endParaRPr lang="en-US" dirty="0">
              <a:solidFill>
                <a:schemeClr val="bg2">
                  <a:lumMod val="50000"/>
                  <a:lumOff val="50000"/>
                </a:schemeClr>
              </a:solidFill>
            </a:endParaRPr>
          </a:p>
          <a:p>
            <a:endParaRPr lang="en-US" dirty="0">
              <a:solidFill>
                <a:schemeClr val="bg2">
                  <a:lumMod val="50000"/>
                  <a:lumOff val="50000"/>
                </a:schemeClr>
              </a:solidFill>
            </a:endParaRPr>
          </a:p>
          <a:p>
            <a:r>
              <a:rPr lang="en-US" dirty="0">
                <a:solidFill>
                  <a:schemeClr val="bg2">
                    <a:lumMod val="50000"/>
                    <a:lumOff val="50000"/>
                  </a:schemeClr>
                </a:solidFill>
              </a:rPr>
              <a:t>Examples : </a:t>
            </a:r>
          </a:p>
          <a:p>
            <a:pPr lvl="1"/>
            <a:r>
              <a:rPr lang="en-US" dirty="0">
                <a:solidFill>
                  <a:schemeClr val="bg2">
                    <a:lumMod val="50000"/>
                    <a:lumOff val="50000"/>
                  </a:schemeClr>
                </a:solidFill>
              </a:rPr>
              <a:t>you want to know what factors can influence the decline in poverty. You use variables such as road length, economic growth, electrification ratio, number of teachers, number of medical personnel, etc.</a:t>
            </a:r>
          </a:p>
          <a:p>
            <a:pPr lvl="1"/>
            <a:endParaRPr lang="en-US" sz="1400" dirty="0">
              <a:solidFill>
                <a:schemeClr val="bg2">
                  <a:lumMod val="50000"/>
                  <a:lumOff val="50000"/>
                </a:schemeClr>
              </a:solidFill>
            </a:endParaRPr>
          </a:p>
        </p:txBody>
      </p:sp>
      <p:pic>
        <p:nvPicPr>
          <p:cNvPr id="6" name="Picture 5">
            <a:extLst>
              <a:ext uri="{FF2B5EF4-FFF2-40B4-BE49-F238E27FC236}">
                <a16:creationId xmlns:a16="http://schemas.microsoft.com/office/drawing/2014/main" id="{A5F33009-BB40-478D-B2AE-ADDA39C6592A}"/>
              </a:ext>
            </a:extLst>
          </p:cNvPr>
          <p:cNvPicPr>
            <a:picLocks noChangeAspect="1"/>
          </p:cNvPicPr>
          <p:nvPr/>
        </p:nvPicPr>
        <p:blipFill>
          <a:blip r:embed="rId2"/>
          <a:stretch>
            <a:fillRect/>
          </a:stretch>
        </p:blipFill>
        <p:spPr>
          <a:xfrm>
            <a:off x="3357817" y="2108705"/>
            <a:ext cx="4597463" cy="1675599"/>
          </a:xfrm>
          <a:prstGeom prst="rect">
            <a:avLst/>
          </a:prstGeom>
        </p:spPr>
      </p:pic>
      <p:sp>
        <p:nvSpPr>
          <p:cNvPr id="4" name="Rectangle 3">
            <a:extLst>
              <a:ext uri="{FF2B5EF4-FFF2-40B4-BE49-F238E27FC236}">
                <a16:creationId xmlns:a16="http://schemas.microsoft.com/office/drawing/2014/main" id="{E7D97A91-589E-4FF7-B191-1179B210D296}"/>
              </a:ext>
            </a:extLst>
          </p:cNvPr>
          <p:cNvSpPr/>
          <p:nvPr/>
        </p:nvSpPr>
        <p:spPr>
          <a:xfrm>
            <a:off x="6568322" y="3517996"/>
            <a:ext cx="551433" cy="167525"/>
          </a:xfrm>
          <a:prstGeom prst="rect">
            <a:avLst/>
          </a:prstGeom>
          <a:solidFill>
            <a:schemeClr val="tx2"/>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a:solidFill>
                <a:schemeClr val="tx2"/>
              </a:solidFill>
              <a:latin typeface="+mn-lt"/>
            </a:endParaRPr>
          </a:p>
        </p:txBody>
      </p:sp>
      <p:sp>
        <p:nvSpPr>
          <p:cNvPr id="5" name="TextBox 4">
            <a:extLst>
              <a:ext uri="{FF2B5EF4-FFF2-40B4-BE49-F238E27FC236}">
                <a16:creationId xmlns:a16="http://schemas.microsoft.com/office/drawing/2014/main" id="{2717AC45-F872-450C-BBDC-D605C3F757A6}"/>
              </a:ext>
            </a:extLst>
          </p:cNvPr>
          <p:cNvSpPr txBox="1"/>
          <p:nvPr/>
        </p:nvSpPr>
        <p:spPr>
          <a:xfrm>
            <a:off x="6484561" y="3446994"/>
            <a:ext cx="1270388" cy="477054"/>
          </a:xfrm>
          <a:prstGeom prst="rect">
            <a:avLst/>
          </a:prstGeom>
          <a:noFill/>
        </p:spPr>
        <p:txBody>
          <a:bodyPr wrap="square" rtlCol="0">
            <a:spAutoFit/>
          </a:bodyPr>
          <a:lstStyle/>
          <a:p>
            <a:pPr>
              <a:spcBef>
                <a:spcPts val="0"/>
              </a:spcBef>
              <a:spcAft>
                <a:spcPts val="0"/>
              </a:spcAft>
              <a:buClr>
                <a:schemeClr val="bg1"/>
              </a:buClr>
            </a:pPr>
            <a:r>
              <a:rPr lang="en-US" sz="1100" b="1" dirty="0">
                <a:solidFill>
                  <a:schemeClr val="accent2">
                    <a:lumMod val="75000"/>
                  </a:schemeClr>
                </a:solidFill>
                <a:latin typeface="+mn-lt"/>
              </a:rPr>
              <a:t>Variance</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999464151"/>
      </p:ext>
    </p:extLst>
  </p:cSld>
  <p:clrMapOvr>
    <a:masterClrMapping/>
  </p:clrMapOvr>
  <p:transition spd="med">
    <p:wipe dir="r"/>
  </p:transition>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8D7CF4-92B7-4920-A71A-4B716323EDA4}"/>
              </a:ext>
            </a:extLst>
          </p:cNvPr>
          <p:cNvSpPr>
            <a:spLocks noGrp="1"/>
          </p:cNvSpPr>
          <p:nvPr>
            <p:ph type="title"/>
          </p:nvPr>
        </p:nvSpPr>
        <p:spPr>
          <a:xfrm>
            <a:off x="0" y="22860"/>
            <a:ext cx="4295219" cy="640080"/>
          </a:xfrm>
        </p:spPr>
        <p:txBody>
          <a:bodyPr/>
          <a:lstStyle/>
          <a:p>
            <a:r>
              <a:rPr lang="en-US" dirty="0"/>
              <a:t>Confidence Intervals</a:t>
            </a:r>
          </a:p>
        </p:txBody>
      </p:sp>
      <p:sp>
        <p:nvSpPr>
          <p:cNvPr id="3" name="Content Placeholder 2">
            <a:extLst>
              <a:ext uri="{FF2B5EF4-FFF2-40B4-BE49-F238E27FC236}">
                <a16:creationId xmlns:a16="http://schemas.microsoft.com/office/drawing/2014/main" id="{0C73159A-8F35-43F0-933D-2275023C268F}"/>
              </a:ext>
            </a:extLst>
          </p:cNvPr>
          <p:cNvSpPr>
            <a:spLocks noGrp="1"/>
          </p:cNvSpPr>
          <p:nvPr>
            <p:ph sz="half" idx="13"/>
          </p:nvPr>
        </p:nvSpPr>
        <p:spPr>
          <a:xfrm>
            <a:off x="61376" y="916905"/>
            <a:ext cx="8005386" cy="3200400"/>
          </a:xfrm>
        </p:spPr>
        <p:txBody>
          <a:bodyPr/>
          <a:lstStyle/>
          <a:p>
            <a:r>
              <a:rPr lang="en-US" b="0" i="0" dirty="0">
                <a:solidFill>
                  <a:srgbClr val="333333"/>
                </a:solidFill>
                <a:effectLst/>
                <a:latin typeface="Verdana" panose="020B0604030504040204" pitchFamily="34" charset="0"/>
              </a:rPr>
              <a:t>A Confidence Interval is a </a:t>
            </a:r>
            <a:r>
              <a:rPr lang="en-US" b="1" i="0" dirty="0">
                <a:solidFill>
                  <a:srgbClr val="333333"/>
                </a:solidFill>
                <a:effectLst/>
                <a:latin typeface="Verdana" panose="020B0604030504040204" pitchFamily="34" charset="0"/>
              </a:rPr>
              <a:t>range of values</a:t>
            </a:r>
            <a:r>
              <a:rPr lang="en-US" b="0" i="0" dirty="0">
                <a:solidFill>
                  <a:srgbClr val="333333"/>
                </a:solidFill>
                <a:effectLst/>
                <a:latin typeface="Verdana" panose="020B0604030504040204" pitchFamily="34" charset="0"/>
              </a:rPr>
              <a:t> we are fairly sure our </a:t>
            </a:r>
            <a:r>
              <a:rPr lang="en-US" b="1" i="0" dirty="0">
                <a:solidFill>
                  <a:srgbClr val="333333"/>
                </a:solidFill>
                <a:effectLst/>
                <a:latin typeface="Verdana" panose="020B0604030504040204" pitchFamily="34" charset="0"/>
              </a:rPr>
              <a:t>true value</a:t>
            </a:r>
            <a:r>
              <a:rPr lang="en-US" b="0" i="0" dirty="0">
                <a:solidFill>
                  <a:srgbClr val="333333"/>
                </a:solidFill>
                <a:effectLst/>
                <a:latin typeface="Verdana" panose="020B0604030504040204" pitchFamily="34" charset="0"/>
              </a:rPr>
              <a:t> lies in.</a:t>
            </a:r>
          </a:p>
          <a:p>
            <a:endParaRPr lang="en-US" dirty="0">
              <a:solidFill>
                <a:srgbClr val="333333"/>
              </a:solidFill>
              <a:latin typeface="Verdana" panose="020B0604030504040204" pitchFamily="34" charset="0"/>
            </a:endParaRPr>
          </a:p>
          <a:p>
            <a:pPr algn="l"/>
            <a:r>
              <a:rPr lang="en-US" b="0" i="0" dirty="0">
                <a:effectLst/>
                <a:latin typeface="Verdana" panose="020B0604030504040204" pitchFamily="34" charset="0"/>
              </a:rPr>
              <a:t>Example: Average Height</a:t>
            </a:r>
          </a:p>
          <a:p>
            <a:pPr marL="0" indent="0" algn="l">
              <a:buNone/>
            </a:pPr>
            <a:endParaRPr lang="en-US" b="0" i="0" dirty="0">
              <a:effectLst/>
              <a:latin typeface="Verdana" panose="020B0604030504040204" pitchFamily="34" charset="0"/>
            </a:endParaRPr>
          </a:p>
          <a:p>
            <a:pPr lvl="1"/>
            <a:r>
              <a:rPr lang="en-US" b="0" i="0" dirty="0">
                <a:solidFill>
                  <a:srgbClr val="333333"/>
                </a:solidFill>
                <a:effectLst/>
                <a:latin typeface="Verdana" panose="020B0604030504040204" pitchFamily="34" charset="0"/>
              </a:rPr>
              <a:t>We measure the heights of </a:t>
            </a:r>
            <a:r>
              <a:rPr lang="en-US" b="1" i="0" dirty="0">
                <a:solidFill>
                  <a:srgbClr val="333333"/>
                </a:solidFill>
                <a:effectLst/>
                <a:latin typeface="Verdana" panose="020B0604030504040204" pitchFamily="34" charset="0"/>
              </a:rPr>
              <a:t>40</a:t>
            </a:r>
            <a:r>
              <a:rPr lang="en-US" b="0" i="0" dirty="0">
                <a:solidFill>
                  <a:srgbClr val="333333"/>
                </a:solidFill>
                <a:effectLst/>
                <a:latin typeface="Verdana" panose="020B0604030504040204" pitchFamily="34" charset="0"/>
              </a:rPr>
              <a:t> randomly chosen men, and get a </a:t>
            </a:r>
            <a:r>
              <a:rPr lang="en-US" b="0" i="0" dirty="0">
                <a:solidFill>
                  <a:srgbClr val="333333"/>
                </a:solidFill>
                <a:effectLst/>
                <a:latin typeface="Verdana" panose="020B0604030504040204" pitchFamily="34" charset="0"/>
                <a:hlinkClick r:id="rId2"/>
              </a:rPr>
              <a:t>mean</a:t>
            </a:r>
            <a:r>
              <a:rPr lang="en-US" b="0" i="0" dirty="0">
                <a:solidFill>
                  <a:srgbClr val="333333"/>
                </a:solidFill>
                <a:effectLst/>
                <a:latin typeface="Verdana" panose="020B0604030504040204" pitchFamily="34" charset="0"/>
              </a:rPr>
              <a:t> height of </a:t>
            </a:r>
            <a:r>
              <a:rPr lang="en-US" b="1" i="0" dirty="0">
                <a:solidFill>
                  <a:srgbClr val="333333"/>
                </a:solidFill>
                <a:effectLst/>
                <a:latin typeface="Verdana" panose="020B0604030504040204" pitchFamily="34" charset="0"/>
              </a:rPr>
              <a:t>175cm</a:t>
            </a:r>
            <a:r>
              <a:rPr lang="en-US" b="0" i="0" dirty="0">
                <a:solidFill>
                  <a:srgbClr val="333333"/>
                </a:solidFill>
                <a:effectLst/>
                <a:latin typeface="Verdana" panose="020B0604030504040204" pitchFamily="34" charset="0"/>
              </a:rPr>
              <a:t>,</a:t>
            </a:r>
          </a:p>
          <a:p>
            <a:pPr marL="342900" lvl="1" indent="0">
              <a:buNone/>
            </a:pPr>
            <a:endParaRPr lang="en-US" b="0" i="0" dirty="0">
              <a:solidFill>
                <a:srgbClr val="333333"/>
              </a:solidFill>
              <a:effectLst/>
              <a:latin typeface="Verdana" panose="020B0604030504040204" pitchFamily="34" charset="0"/>
            </a:endParaRPr>
          </a:p>
          <a:p>
            <a:pPr lvl="1"/>
            <a:r>
              <a:rPr lang="en-US" b="0" i="0" dirty="0">
                <a:solidFill>
                  <a:srgbClr val="333333"/>
                </a:solidFill>
                <a:effectLst/>
                <a:latin typeface="Verdana" panose="020B0604030504040204" pitchFamily="34" charset="0"/>
              </a:rPr>
              <a:t>We also know the </a:t>
            </a:r>
            <a:r>
              <a:rPr lang="en-US" b="0" i="0" dirty="0">
                <a:solidFill>
                  <a:srgbClr val="333333"/>
                </a:solidFill>
                <a:effectLst/>
                <a:latin typeface="Verdana" panose="020B0604030504040204" pitchFamily="34" charset="0"/>
                <a:hlinkClick r:id="rId3"/>
              </a:rPr>
              <a:t>standard deviation</a:t>
            </a:r>
            <a:r>
              <a:rPr lang="en-US" b="0" i="0" dirty="0">
                <a:solidFill>
                  <a:srgbClr val="333333"/>
                </a:solidFill>
                <a:effectLst/>
                <a:latin typeface="Verdana" panose="020B0604030504040204" pitchFamily="34" charset="0"/>
              </a:rPr>
              <a:t> of men's heights is </a:t>
            </a:r>
            <a:r>
              <a:rPr lang="en-US" b="1" i="0" dirty="0">
                <a:solidFill>
                  <a:srgbClr val="333333"/>
                </a:solidFill>
                <a:effectLst/>
                <a:latin typeface="Verdana" panose="020B0604030504040204" pitchFamily="34" charset="0"/>
              </a:rPr>
              <a:t>20cm</a:t>
            </a:r>
            <a:r>
              <a:rPr lang="en-US" b="0" i="0" dirty="0">
                <a:solidFill>
                  <a:srgbClr val="333333"/>
                </a:solidFill>
                <a:effectLst/>
                <a:latin typeface="Verdana" panose="020B0604030504040204" pitchFamily="34" charset="0"/>
              </a:rPr>
              <a:t>.</a:t>
            </a:r>
          </a:p>
          <a:p>
            <a:pPr marL="342900" lvl="1" indent="0">
              <a:buNone/>
            </a:pPr>
            <a:endParaRPr lang="en-US" b="0" i="0" dirty="0">
              <a:solidFill>
                <a:srgbClr val="333333"/>
              </a:solidFill>
              <a:effectLst/>
              <a:latin typeface="Verdana" panose="020B0604030504040204" pitchFamily="34" charset="0"/>
            </a:endParaRPr>
          </a:p>
          <a:p>
            <a:pPr lvl="1"/>
            <a:r>
              <a:rPr lang="en-US" b="0" i="0" dirty="0">
                <a:solidFill>
                  <a:srgbClr val="333333"/>
                </a:solidFill>
                <a:effectLst/>
                <a:latin typeface="Verdana" panose="020B0604030504040204" pitchFamily="34" charset="0"/>
              </a:rPr>
              <a:t>The </a:t>
            </a:r>
            <a:r>
              <a:rPr lang="en-US" b="1" i="0" dirty="0">
                <a:solidFill>
                  <a:srgbClr val="333333"/>
                </a:solidFill>
                <a:effectLst/>
                <a:latin typeface="Verdana" panose="020B0604030504040204" pitchFamily="34" charset="0"/>
              </a:rPr>
              <a:t>95% Confidence Interval</a:t>
            </a:r>
            <a:r>
              <a:rPr lang="en-US" b="0" i="0" dirty="0">
                <a:solidFill>
                  <a:srgbClr val="333333"/>
                </a:solidFill>
                <a:effectLst/>
                <a:latin typeface="Verdana" panose="020B0604030504040204" pitchFamily="34" charset="0"/>
              </a:rPr>
              <a:t> (we show how to calculate it later) is:</a:t>
            </a:r>
          </a:p>
          <a:p>
            <a:pPr marL="0" indent="0">
              <a:buNone/>
            </a:pPr>
            <a:endParaRPr lang="en-US" dirty="0"/>
          </a:p>
        </p:txBody>
      </p:sp>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63E94118-2D34-4046-BF3E-BC4311BBFB19}"/>
                  </a:ext>
                </a:extLst>
              </p14:cNvPr>
              <p14:cNvContentPartPr/>
              <p14:nvPr/>
            </p14:nvContentPartPr>
            <p14:xfrm>
              <a:off x="581040" y="28440"/>
              <a:ext cx="7782120" cy="4648680"/>
            </p14:xfrm>
          </p:contentPart>
        </mc:Choice>
        <mc:Fallback>
          <p:pic>
            <p:nvPicPr>
              <p:cNvPr id="4" name="Ink 3">
                <a:extLst>
                  <a:ext uri="{FF2B5EF4-FFF2-40B4-BE49-F238E27FC236}">
                    <a16:creationId xmlns:a16="http://schemas.microsoft.com/office/drawing/2014/main" id="{63E94118-2D34-4046-BF3E-BC4311BBFB19}"/>
                  </a:ext>
                </a:extLst>
              </p:cNvPr>
              <p:cNvPicPr/>
              <p:nvPr/>
            </p:nvPicPr>
            <p:blipFill>
              <a:blip r:embed="rId5"/>
              <a:stretch>
                <a:fillRect/>
              </a:stretch>
            </p:blipFill>
            <p:spPr>
              <a:xfrm>
                <a:off x="571680" y="19080"/>
                <a:ext cx="7800840" cy="4667400"/>
              </a:xfrm>
              <a:prstGeom prst="rect">
                <a:avLst/>
              </a:prstGeom>
            </p:spPr>
          </p:pic>
        </mc:Fallback>
      </mc:AlternateContent>
    </p:spTree>
    <p:extLst>
      <p:ext uri="{BB962C8B-B14F-4D97-AF65-F5344CB8AC3E}">
        <p14:creationId xmlns:p14="http://schemas.microsoft.com/office/powerpoint/2010/main" val="3970923106"/>
      </p:ext>
    </p:extLst>
  </p:cSld>
  <p:clrMapOvr>
    <a:masterClrMapping/>
  </p:clrMapOvr>
  <p:transition spd="med">
    <p:wipe dir="r"/>
  </p:transition>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8A7DBE-ECD5-4145-AACF-02FE24171615}"/>
              </a:ext>
            </a:extLst>
          </p:cNvPr>
          <p:cNvSpPr>
            <a:spLocks noGrp="1"/>
          </p:cNvSpPr>
          <p:nvPr>
            <p:ph type="title"/>
          </p:nvPr>
        </p:nvSpPr>
        <p:spPr>
          <a:xfrm>
            <a:off x="0" y="0"/>
            <a:ext cx="7092254" cy="640080"/>
          </a:xfrm>
        </p:spPr>
        <p:txBody>
          <a:bodyPr/>
          <a:lstStyle/>
          <a:p>
            <a:r>
              <a:rPr lang="en-US" dirty="0"/>
              <a:t>Calculating the Confidence Interval</a:t>
            </a:r>
          </a:p>
        </p:txBody>
      </p:sp>
      <p:sp>
        <p:nvSpPr>
          <p:cNvPr id="3" name="Content Placeholder 2">
            <a:extLst>
              <a:ext uri="{FF2B5EF4-FFF2-40B4-BE49-F238E27FC236}">
                <a16:creationId xmlns:a16="http://schemas.microsoft.com/office/drawing/2014/main" id="{403DBEB0-0428-4278-AA0A-74278D20304C}"/>
              </a:ext>
            </a:extLst>
          </p:cNvPr>
          <p:cNvSpPr>
            <a:spLocks noGrp="1"/>
          </p:cNvSpPr>
          <p:nvPr>
            <p:ph sz="half" idx="13"/>
          </p:nvPr>
        </p:nvSpPr>
        <p:spPr>
          <a:xfrm>
            <a:off x="167847" y="716489"/>
            <a:ext cx="7736075" cy="3191632"/>
          </a:xfrm>
        </p:spPr>
        <p:txBody>
          <a:bodyPr/>
          <a:lstStyle/>
          <a:p>
            <a:pPr algn="l"/>
            <a:r>
              <a:rPr lang="en-US" b="1" i="0" dirty="0">
                <a:solidFill>
                  <a:srgbClr val="333333"/>
                </a:solidFill>
                <a:effectLst/>
                <a:latin typeface="Verdana" panose="020B0604030504040204" pitchFamily="34" charset="0"/>
              </a:rPr>
              <a:t>Step 1</a:t>
            </a:r>
            <a:r>
              <a:rPr lang="en-US" b="0" i="0" dirty="0">
                <a:solidFill>
                  <a:srgbClr val="333333"/>
                </a:solidFill>
                <a:effectLst/>
                <a:latin typeface="Verdana" panose="020B0604030504040204" pitchFamily="34" charset="0"/>
              </a:rPr>
              <a:t>: start with</a:t>
            </a:r>
          </a:p>
          <a:p>
            <a:pPr lvl="1">
              <a:buFont typeface="Arial" panose="020B0604020202020204" pitchFamily="34" charset="0"/>
              <a:buChar char="•"/>
            </a:pPr>
            <a:r>
              <a:rPr lang="en-US" b="0" i="0" dirty="0">
                <a:solidFill>
                  <a:srgbClr val="333333"/>
                </a:solidFill>
                <a:effectLst/>
                <a:latin typeface="Verdana" panose="020B0604030504040204" pitchFamily="34" charset="0"/>
              </a:rPr>
              <a:t>the number of observations </a:t>
            </a:r>
            <a:r>
              <a:rPr lang="en-US" b="1" i="0" dirty="0">
                <a:solidFill>
                  <a:srgbClr val="333333"/>
                </a:solidFill>
                <a:effectLst/>
                <a:latin typeface="Verdana" panose="020B0604030504040204" pitchFamily="34" charset="0"/>
              </a:rPr>
              <a:t>n</a:t>
            </a:r>
            <a:endParaRPr lang="en-US" b="0" i="0" dirty="0">
              <a:solidFill>
                <a:srgbClr val="333333"/>
              </a:solidFill>
              <a:effectLst/>
              <a:latin typeface="Verdana" panose="020B0604030504040204" pitchFamily="34" charset="0"/>
            </a:endParaRPr>
          </a:p>
          <a:p>
            <a:pPr lvl="1">
              <a:buFont typeface="Arial" panose="020B0604020202020204" pitchFamily="34" charset="0"/>
              <a:buChar char="•"/>
            </a:pPr>
            <a:r>
              <a:rPr lang="en-US" b="0" i="0" dirty="0">
                <a:solidFill>
                  <a:srgbClr val="333333"/>
                </a:solidFill>
                <a:effectLst/>
                <a:latin typeface="Verdana" panose="020B0604030504040204" pitchFamily="34" charset="0"/>
              </a:rPr>
              <a:t>the mean </a:t>
            </a:r>
            <a:r>
              <a:rPr lang="en-US" b="1" i="0" dirty="0">
                <a:solidFill>
                  <a:srgbClr val="333333"/>
                </a:solidFill>
                <a:effectLst/>
                <a:latin typeface="Verdana" panose="020B0604030504040204" pitchFamily="34" charset="0"/>
              </a:rPr>
              <a:t>X</a:t>
            </a:r>
            <a:endParaRPr lang="en-US" b="0" i="0" dirty="0">
              <a:solidFill>
                <a:srgbClr val="333333"/>
              </a:solidFill>
              <a:effectLst/>
              <a:latin typeface="Verdana" panose="020B0604030504040204" pitchFamily="34" charset="0"/>
            </a:endParaRPr>
          </a:p>
          <a:p>
            <a:pPr lvl="1">
              <a:buFont typeface="Arial" panose="020B0604020202020204" pitchFamily="34" charset="0"/>
              <a:buChar char="•"/>
            </a:pPr>
            <a:r>
              <a:rPr lang="en-US" b="0" i="0" dirty="0">
                <a:solidFill>
                  <a:srgbClr val="333333"/>
                </a:solidFill>
                <a:effectLst/>
                <a:latin typeface="Verdana" panose="020B0604030504040204" pitchFamily="34" charset="0"/>
              </a:rPr>
              <a:t>and the </a:t>
            </a:r>
            <a:r>
              <a:rPr lang="en-US" dirty="0">
                <a:solidFill>
                  <a:srgbClr val="333333"/>
                </a:solidFill>
                <a:latin typeface="Verdana" panose="020B0604030504040204" pitchFamily="34" charset="0"/>
                <a:hlinkClick r:id="rId2">
                  <a:extLst>
                    <a:ext uri="{A12FA001-AC4F-418D-AE19-62706E023703}">
                      <ahyp:hlinkClr xmlns:ahyp="http://schemas.microsoft.com/office/drawing/2018/hyperlinkcolor" val="tx"/>
                    </a:ext>
                  </a:extLst>
                </a:hlinkClick>
              </a:rPr>
              <a:t>standard deviation</a:t>
            </a:r>
            <a:r>
              <a:rPr lang="en-US" dirty="0">
                <a:solidFill>
                  <a:srgbClr val="333333"/>
                </a:solidFill>
                <a:latin typeface="Verdana" panose="020B0604030504040204" pitchFamily="34" charset="0"/>
              </a:rPr>
              <a:t> </a:t>
            </a:r>
            <a:r>
              <a:rPr lang="en-US" b="1" i="0" dirty="0">
                <a:solidFill>
                  <a:srgbClr val="333333"/>
                </a:solidFill>
                <a:effectLst/>
                <a:latin typeface="Verdana" panose="020B0604030504040204" pitchFamily="34" charset="0"/>
              </a:rPr>
              <a:t>s</a:t>
            </a:r>
            <a:endParaRPr lang="en-US" b="0" i="0" dirty="0">
              <a:solidFill>
                <a:srgbClr val="333333"/>
              </a:solidFill>
              <a:effectLst/>
              <a:latin typeface="Verdana" panose="020B0604030504040204" pitchFamily="34" charset="0"/>
            </a:endParaRPr>
          </a:p>
          <a:p>
            <a:pPr marL="0" indent="0">
              <a:buNone/>
            </a:pPr>
            <a:endParaRPr lang="en-US" dirty="0"/>
          </a:p>
        </p:txBody>
      </p:sp>
      <p:sp>
        <p:nvSpPr>
          <p:cNvPr id="4" name="TextBox 3">
            <a:extLst>
              <a:ext uri="{FF2B5EF4-FFF2-40B4-BE49-F238E27FC236}">
                <a16:creationId xmlns:a16="http://schemas.microsoft.com/office/drawing/2014/main" id="{842FB696-E502-40B6-B18A-3CD403E8FAA8}"/>
              </a:ext>
            </a:extLst>
          </p:cNvPr>
          <p:cNvSpPr txBox="1"/>
          <p:nvPr/>
        </p:nvSpPr>
        <p:spPr>
          <a:xfrm>
            <a:off x="1139868" y="1738443"/>
            <a:ext cx="6764054" cy="984885"/>
          </a:xfrm>
          <a:prstGeom prst="rect">
            <a:avLst/>
          </a:prstGeom>
          <a:noFill/>
        </p:spPr>
        <p:txBody>
          <a:bodyPr wrap="square" rtlCol="0">
            <a:spAutoFit/>
          </a:bodyPr>
          <a:lstStyle/>
          <a:p>
            <a:pPr algn="l"/>
            <a:r>
              <a:rPr lang="en-US" sz="1100" b="0" i="1" dirty="0">
                <a:solidFill>
                  <a:schemeClr val="bg1"/>
                </a:solidFill>
                <a:effectLst/>
                <a:latin typeface="Verdana" panose="020B0604030504040204" pitchFamily="34" charset="0"/>
              </a:rPr>
              <a:t>Note: we should use the standard deviation of the entire </a:t>
            </a:r>
            <a:r>
              <a:rPr lang="en-US" sz="1100" b="1" i="1" dirty="0">
                <a:solidFill>
                  <a:schemeClr val="bg1"/>
                </a:solidFill>
                <a:effectLst/>
                <a:latin typeface="Verdana" panose="020B0604030504040204" pitchFamily="34" charset="0"/>
              </a:rPr>
              <a:t>population</a:t>
            </a:r>
            <a:r>
              <a:rPr lang="en-US" sz="1100" b="0" i="1" dirty="0">
                <a:solidFill>
                  <a:schemeClr val="bg1"/>
                </a:solidFill>
                <a:effectLst/>
                <a:latin typeface="Verdana" panose="020B0604030504040204" pitchFamily="34" charset="0"/>
              </a:rPr>
              <a:t>, but in many cases we won't know it.</a:t>
            </a:r>
          </a:p>
          <a:p>
            <a:pPr algn="l"/>
            <a:r>
              <a:rPr lang="en-US" sz="1100" b="0" i="1" dirty="0">
                <a:solidFill>
                  <a:schemeClr val="bg1"/>
                </a:solidFill>
                <a:effectLst/>
                <a:latin typeface="Verdana" panose="020B0604030504040204" pitchFamily="34" charset="0"/>
              </a:rPr>
              <a:t>We can use the standard deviation for the </a:t>
            </a:r>
            <a:r>
              <a:rPr lang="en-US" sz="1100" b="1" i="1" dirty="0">
                <a:solidFill>
                  <a:schemeClr val="bg1"/>
                </a:solidFill>
                <a:effectLst/>
                <a:latin typeface="Verdana" panose="020B0604030504040204" pitchFamily="34" charset="0"/>
              </a:rPr>
              <a:t>sample</a:t>
            </a:r>
            <a:r>
              <a:rPr lang="en-US" sz="1100" b="0" i="1" dirty="0">
                <a:solidFill>
                  <a:schemeClr val="bg1"/>
                </a:solidFill>
                <a:effectLst/>
                <a:latin typeface="Verdana" panose="020B0604030504040204" pitchFamily="34" charset="0"/>
              </a:rPr>
              <a:t> if we have enough observations (at least n=30, hopefully more).</a:t>
            </a:r>
          </a:p>
          <a:p>
            <a:pPr>
              <a:spcBef>
                <a:spcPts val="0"/>
              </a:spcBef>
              <a:spcAft>
                <a:spcPts val="0"/>
              </a:spcAft>
              <a:buClr>
                <a:schemeClr val="bg1"/>
              </a:buClr>
            </a:pPr>
            <a:endParaRPr lang="en-US" sz="1400" dirty="0" err="1">
              <a:solidFill>
                <a:schemeClr val="bg2"/>
              </a:solidFill>
              <a:latin typeface="+mn-lt"/>
            </a:endParaRPr>
          </a:p>
        </p:txBody>
      </p:sp>
      <p:sp>
        <p:nvSpPr>
          <p:cNvPr id="6" name="TextBox 5">
            <a:extLst>
              <a:ext uri="{FF2B5EF4-FFF2-40B4-BE49-F238E27FC236}">
                <a16:creationId xmlns:a16="http://schemas.microsoft.com/office/drawing/2014/main" id="{BE653EAA-3599-4972-A707-159104F60712}"/>
              </a:ext>
            </a:extLst>
          </p:cNvPr>
          <p:cNvSpPr txBox="1"/>
          <p:nvPr/>
        </p:nvSpPr>
        <p:spPr>
          <a:xfrm>
            <a:off x="167847" y="2830368"/>
            <a:ext cx="5492656" cy="1538883"/>
          </a:xfrm>
          <a:prstGeom prst="rect">
            <a:avLst/>
          </a:prstGeom>
          <a:noFill/>
        </p:spPr>
        <p:txBody>
          <a:bodyPr wrap="square" rtlCol="0">
            <a:spAutoFit/>
          </a:bodyPr>
          <a:lstStyle/>
          <a:p>
            <a:pPr marL="171450" indent="-171450">
              <a:spcAft>
                <a:spcPts val="0"/>
              </a:spcAft>
              <a:buClr>
                <a:srgbClr val="AAAAAA"/>
              </a:buClr>
              <a:buFont typeface="Arial" pitchFamily="34" charset="0"/>
              <a:buChar char="•"/>
            </a:pPr>
            <a:r>
              <a:rPr lang="en-US" sz="1600" b="1" dirty="0">
                <a:solidFill>
                  <a:srgbClr val="333333"/>
                </a:solidFill>
                <a:latin typeface="Verdana" panose="020B0604030504040204" pitchFamily="34" charset="0"/>
                <a:cs typeface="Arial" panose="020B0604020202020204" pitchFamily="34" charset="0"/>
              </a:rPr>
              <a:t>Using our example:</a:t>
            </a:r>
          </a:p>
          <a:p>
            <a:pPr marL="171450" indent="-171450">
              <a:spcAft>
                <a:spcPts val="0"/>
              </a:spcAft>
              <a:buClr>
                <a:srgbClr val="AAAAAA"/>
              </a:buClr>
              <a:buFont typeface="Arial" pitchFamily="34" charset="0"/>
              <a:buChar char="•"/>
            </a:pPr>
            <a:endParaRPr lang="en-US" sz="1600" dirty="0">
              <a:solidFill>
                <a:srgbClr val="333333"/>
              </a:solidFill>
              <a:latin typeface="Verdana" panose="020B0604030504040204" pitchFamily="34" charset="0"/>
              <a:cs typeface="Arial" panose="020B0604020202020204" pitchFamily="34" charset="0"/>
            </a:endParaRPr>
          </a:p>
          <a:p>
            <a:pPr marL="628650" lvl="1" indent="-171450">
              <a:spcAft>
                <a:spcPts val="0"/>
              </a:spcAft>
              <a:buClr>
                <a:srgbClr val="AAAAAA"/>
              </a:buClr>
              <a:buFont typeface="Arial" pitchFamily="34" charset="0"/>
              <a:buChar char="•"/>
            </a:pPr>
            <a:r>
              <a:rPr lang="en-US" sz="1600" dirty="0">
                <a:solidFill>
                  <a:srgbClr val="333333"/>
                </a:solidFill>
                <a:latin typeface="Verdana" panose="020B0604030504040204" pitchFamily="34" charset="0"/>
                <a:cs typeface="Arial" panose="020B0604020202020204" pitchFamily="34" charset="0"/>
              </a:rPr>
              <a:t>number of observations n = </a:t>
            </a:r>
          </a:p>
          <a:p>
            <a:pPr marL="628650" lvl="1" indent="-171450">
              <a:spcAft>
                <a:spcPts val="0"/>
              </a:spcAft>
              <a:buClr>
                <a:srgbClr val="AAAAAA"/>
              </a:buClr>
              <a:buFont typeface="Arial" pitchFamily="34" charset="0"/>
              <a:buChar char="•"/>
            </a:pPr>
            <a:r>
              <a:rPr lang="en-US" sz="1600" dirty="0">
                <a:solidFill>
                  <a:srgbClr val="333333"/>
                </a:solidFill>
                <a:latin typeface="Verdana" panose="020B0604030504040204" pitchFamily="34" charset="0"/>
                <a:cs typeface="Arial" panose="020B0604020202020204" pitchFamily="34" charset="0"/>
              </a:rPr>
              <a:t>mean X = </a:t>
            </a:r>
          </a:p>
          <a:p>
            <a:pPr marL="628650" lvl="1" indent="-171450">
              <a:spcAft>
                <a:spcPts val="0"/>
              </a:spcAft>
              <a:buClr>
                <a:srgbClr val="AAAAAA"/>
              </a:buClr>
              <a:buFont typeface="Arial" pitchFamily="34" charset="0"/>
              <a:buChar char="•"/>
            </a:pPr>
            <a:r>
              <a:rPr lang="en-US" sz="1600" dirty="0">
                <a:solidFill>
                  <a:srgbClr val="333333"/>
                </a:solidFill>
                <a:latin typeface="Verdana" panose="020B0604030504040204" pitchFamily="34" charset="0"/>
                <a:cs typeface="Arial" panose="020B0604020202020204" pitchFamily="34" charset="0"/>
              </a:rPr>
              <a:t>standard deviation s = </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mc:Choice xmlns:p14="http://schemas.microsoft.com/office/powerpoint/2010/main" Requires="p14">
          <p:contentPart p14:bwMode="auto" r:id="rId3">
            <p14:nvContentPartPr>
              <p14:cNvPr id="5" name="Ink 4">
                <a:extLst>
                  <a:ext uri="{FF2B5EF4-FFF2-40B4-BE49-F238E27FC236}">
                    <a16:creationId xmlns:a16="http://schemas.microsoft.com/office/drawing/2014/main" id="{E2027A47-EF30-4C3D-8809-ED74DC9AC272}"/>
                  </a:ext>
                </a:extLst>
              </p14:cNvPr>
              <p14:cNvContentPartPr/>
              <p14:nvPr/>
            </p14:nvContentPartPr>
            <p14:xfrm>
              <a:off x="1157400" y="223920"/>
              <a:ext cx="7772760" cy="4805640"/>
            </p14:xfrm>
          </p:contentPart>
        </mc:Choice>
        <mc:Fallback>
          <p:pic>
            <p:nvPicPr>
              <p:cNvPr id="5" name="Ink 4">
                <a:extLst>
                  <a:ext uri="{FF2B5EF4-FFF2-40B4-BE49-F238E27FC236}">
                    <a16:creationId xmlns:a16="http://schemas.microsoft.com/office/drawing/2014/main" id="{E2027A47-EF30-4C3D-8809-ED74DC9AC272}"/>
                  </a:ext>
                </a:extLst>
              </p:cNvPr>
              <p:cNvPicPr/>
              <p:nvPr/>
            </p:nvPicPr>
            <p:blipFill>
              <a:blip r:embed="rId4"/>
              <a:stretch>
                <a:fillRect/>
              </a:stretch>
            </p:blipFill>
            <p:spPr>
              <a:xfrm>
                <a:off x="1148040" y="214560"/>
                <a:ext cx="7791480" cy="4824360"/>
              </a:xfrm>
              <a:prstGeom prst="rect">
                <a:avLst/>
              </a:prstGeom>
            </p:spPr>
          </p:pic>
        </mc:Fallback>
      </mc:AlternateContent>
    </p:spTree>
    <p:extLst>
      <p:ext uri="{BB962C8B-B14F-4D97-AF65-F5344CB8AC3E}">
        <p14:creationId xmlns:p14="http://schemas.microsoft.com/office/powerpoint/2010/main" val="1865839684"/>
      </p:ext>
    </p:extLst>
  </p:cSld>
  <p:clrMapOvr>
    <a:masterClrMapping/>
  </p:clrMapOvr>
  <p:transition spd="med">
    <p:wipe dir="r"/>
  </p:transition>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0DDA18-B66A-449B-98BD-B64ACD738D58}"/>
              </a:ext>
            </a:extLst>
          </p:cNvPr>
          <p:cNvSpPr>
            <a:spLocks noGrp="1"/>
          </p:cNvSpPr>
          <p:nvPr>
            <p:ph type="title"/>
          </p:nvPr>
        </p:nvSpPr>
        <p:spPr>
          <a:xfrm>
            <a:off x="0" y="0"/>
            <a:ext cx="7461772" cy="640080"/>
          </a:xfrm>
        </p:spPr>
        <p:txBody>
          <a:bodyPr/>
          <a:lstStyle/>
          <a:p>
            <a:r>
              <a:rPr lang="en-US" dirty="0"/>
              <a:t>Calculating the Confidence Interval</a:t>
            </a:r>
          </a:p>
        </p:txBody>
      </p:sp>
      <p:sp>
        <p:nvSpPr>
          <p:cNvPr id="3" name="Content Placeholder 2">
            <a:extLst>
              <a:ext uri="{FF2B5EF4-FFF2-40B4-BE49-F238E27FC236}">
                <a16:creationId xmlns:a16="http://schemas.microsoft.com/office/drawing/2014/main" id="{0DEC4DE1-D815-4500-A890-33F936580ADB}"/>
              </a:ext>
            </a:extLst>
          </p:cNvPr>
          <p:cNvSpPr>
            <a:spLocks noGrp="1"/>
          </p:cNvSpPr>
          <p:nvPr>
            <p:ph sz="half" idx="13"/>
          </p:nvPr>
        </p:nvSpPr>
        <p:spPr>
          <a:xfrm>
            <a:off x="68085" y="971550"/>
            <a:ext cx="7203719" cy="3200400"/>
          </a:xfrm>
        </p:spPr>
        <p:txBody>
          <a:bodyPr/>
          <a:lstStyle/>
          <a:p>
            <a:r>
              <a:rPr lang="en-US" b="1" i="0" dirty="0">
                <a:solidFill>
                  <a:srgbClr val="333333"/>
                </a:solidFill>
                <a:effectLst/>
                <a:latin typeface="Verdana" panose="020B0604030504040204" pitchFamily="34" charset="0"/>
              </a:rPr>
              <a:t>Step 2</a:t>
            </a:r>
            <a:r>
              <a:rPr lang="en-US" b="0" i="0" dirty="0">
                <a:solidFill>
                  <a:srgbClr val="333333"/>
                </a:solidFill>
                <a:effectLst/>
                <a:latin typeface="Verdana" panose="020B0604030504040204" pitchFamily="34" charset="0"/>
              </a:rPr>
              <a:t>: decide what Confidence Interval we want: 95% or 99% are common choices. Then find the "Z" value for that Confidence Interval here:</a:t>
            </a:r>
          </a:p>
          <a:p>
            <a:endParaRPr lang="en-US" dirty="0">
              <a:solidFill>
                <a:srgbClr val="333333"/>
              </a:solidFill>
              <a:latin typeface="Verdana" panose="020B0604030504040204" pitchFamily="34" charset="0"/>
            </a:endParaRPr>
          </a:p>
          <a:p>
            <a:endParaRPr lang="en-US" dirty="0">
              <a:solidFill>
                <a:srgbClr val="333333"/>
              </a:solidFill>
              <a:latin typeface="Verdana" panose="020B0604030504040204" pitchFamily="34" charset="0"/>
            </a:endParaRPr>
          </a:p>
          <a:p>
            <a:r>
              <a:rPr lang="en-US" dirty="0">
                <a:solidFill>
                  <a:srgbClr val="333333"/>
                </a:solidFill>
                <a:latin typeface="Verdana" panose="020B0604030504040204" pitchFamily="34" charset="0"/>
              </a:rPr>
              <a:t>For 95% the Z value is ? </a:t>
            </a:r>
            <a:endParaRPr lang="en-US" dirty="0"/>
          </a:p>
        </p:txBody>
      </p:sp>
      <p:pic>
        <p:nvPicPr>
          <p:cNvPr id="5" name="Picture 4">
            <a:extLst>
              <a:ext uri="{FF2B5EF4-FFF2-40B4-BE49-F238E27FC236}">
                <a16:creationId xmlns:a16="http://schemas.microsoft.com/office/drawing/2014/main" id="{5DC21A6E-251F-4C38-9C9F-D3F104798D9E}"/>
              </a:ext>
            </a:extLst>
          </p:cNvPr>
          <p:cNvPicPr>
            <a:picLocks noChangeAspect="1"/>
          </p:cNvPicPr>
          <p:nvPr/>
        </p:nvPicPr>
        <p:blipFill>
          <a:blip r:embed="rId2"/>
          <a:stretch>
            <a:fillRect/>
          </a:stretch>
        </p:blipFill>
        <p:spPr>
          <a:xfrm>
            <a:off x="7551941" y="732772"/>
            <a:ext cx="1523974" cy="3471275"/>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82E6BB1C-8AF6-4E6E-9B8A-D86ACFA6BF05}"/>
                  </a:ext>
                </a:extLst>
              </p14:cNvPr>
              <p14:cNvContentPartPr/>
              <p14:nvPr/>
            </p14:nvContentPartPr>
            <p14:xfrm>
              <a:off x="723960" y="152280"/>
              <a:ext cx="8182440" cy="4496400"/>
            </p14:xfrm>
          </p:contentPart>
        </mc:Choice>
        <mc:Fallback>
          <p:pic>
            <p:nvPicPr>
              <p:cNvPr id="4" name="Ink 3">
                <a:extLst>
                  <a:ext uri="{FF2B5EF4-FFF2-40B4-BE49-F238E27FC236}">
                    <a16:creationId xmlns:a16="http://schemas.microsoft.com/office/drawing/2014/main" id="{82E6BB1C-8AF6-4E6E-9B8A-D86ACFA6BF05}"/>
                  </a:ext>
                </a:extLst>
              </p:cNvPr>
              <p:cNvPicPr/>
              <p:nvPr/>
            </p:nvPicPr>
            <p:blipFill>
              <a:blip r:embed="rId4"/>
              <a:stretch>
                <a:fillRect/>
              </a:stretch>
            </p:blipFill>
            <p:spPr>
              <a:xfrm>
                <a:off x="714600" y="142920"/>
                <a:ext cx="8201160" cy="4515120"/>
              </a:xfrm>
              <a:prstGeom prst="rect">
                <a:avLst/>
              </a:prstGeom>
            </p:spPr>
          </p:pic>
        </mc:Fallback>
      </mc:AlternateContent>
    </p:spTree>
    <p:extLst>
      <p:ext uri="{BB962C8B-B14F-4D97-AF65-F5344CB8AC3E}">
        <p14:creationId xmlns:p14="http://schemas.microsoft.com/office/powerpoint/2010/main" val="3439140784"/>
      </p:ext>
    </p:extLst>
  </p:cSld>
  <p:clrMapOvr>
    <a:masterClrMapping/>
  </p:clrMapOvr>
  <p:transition spd="med">
    <p:wipe dir="r"/>
  </p:transition>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15F449-5FDA-4EBA-90F5-626CD9FC0F46}"/>
              </a:ext>
            </a:extLst>
          </p:cNvPr>
          <p:cNvSpPr>
            <a:spLocks noGrp="1"/>
          </p:cNvSpPr>
          <p:nvPr>
            <p:ph type="title"/>
          </p:nvPr>
        </p:nvSpPr>
        <p:spPr>
          <a:xfrm>
            <a:off x="0" y="0"/>
            <a:ext cx="8426276" cy="640080"/>
          </a:xfrm>
        </p:spPr>
        <p:txBody>
          <a:bodyPr/>
          <a:lstStyle/>
          <a:p>
            <a:r>
              <a:rPr lang="en-US" dirty="0"/>
              <a:t>Calculating the Confidence Interval</a:t>
            </a:r>
          </a:p>
        </p:txBody>
      </p:sp>
      <p:sp>
        <p:nvSpPr>
          <p:cNvPr id="3" name="Content Placeholder 2">
            <a:extLst>
              <a:ext uri="{FF2B5EF4-FFF2-40B4-BE49-F238E27FC236}">
                <a16:creationId xmlns:a16="http://schemas.microsoft.com/office/drawing/2014/main" id="{0E638BA1-5338-40A1-800A-32E33D88D3B6}"/>
              </a:ext>
            </a:extLst>
          </p:cNvPr>
          <p:cNvSpPr>
            <a:spLocks noGrp="1"/>
          </p:cNvSpPr>
          <p:nvPr>
            <p:ph sz="half" idx="13"/>
          </p:nvPr>
        </p:nvSpPr>
        <p:spPr>
          <a:xfrm>
            <a:off x="105219" y="810434"/>
            <a:ext cx="7967806" cy="3200400"/>
          </a:xfrm>
        </p:spPr>
        <p:txBody>
          <a:bodyPr/>
          <a:lstStyle/>
          <a:p>
            <a:pPr algn="l"/>
            <a:r>
              <a:rPr lang="en-US" b="1" i="0" dirty="0">
                <a:solidFill>
                  <a:srgbClr val="333333"/>
                </a:solidFill>
                <a:effectLst/>
                <a:latin typeface="Verdana" panose="020B0604030504040204" pitchFamily="34" charset="0"/>
              </a:rPr>
              <a:t>Step 3</a:t>
            </a:r>
            <a:r>
              <a:rPr lang="en-US" b="0" i="0" dirty="0">
                <a:solidFill>
                  <a:srgbClr val="333333"/>
                </a:solidFill>
                <a:effectLst/>
                <a:latin typeface="Verdana" panose="020B0604030504040204" pitchFamily="34" charset="0"/>
              </a:rPr>
              <a:t>: use that Z value in this formula for the Confidence Interval</a:t>
            </a:r>
          </a:p>
          <a:p>
            <a:endParaRPr lang="en-US" dirty="0"/>
          </a:p>
        </p:txBody>
      </p:sp>
      <p:pic>
        <p:nvPicPr>
          <p:cNvPr id="5" name="Picture 4">
            <a:extLst>
              <a:ext uri="{FF2B5EF4-FFF2-40B4-BE49-F238E27FC236}">
                <a16:creationId xmlns:a16="http://schemas.microsoft.com/office/drawing/2014/main" id="{615A0A7D-ECD1-4608-8DDB-F9DC3A1D6DA4}"/>
              </a:ext>
            </a:extLst>
          </p:cNvPr>
          <p:cNvPicPr>
            <a:picLocks noChangeAspect="1"/>
          </p:cNvPicPr>
          <p:nvPr/>
        </p:nvPicPr>
        <p:blipFill>
          <a:blip r:embed="rId2"/>
          <a:stretch>
            <a:fillRect/>
          </a:stretch>
        </p:blipFill>
        <p:spPr>
          <a:xfrm>
            <a:off x="3360650" y="1177903"/>
            <a:ext cx="1704975" cy="733425"/>
          </a:xfrm>
          <a:prstGeom prst="rect">
            <a:avLst/>
          </a:prstGeom>
        </p:spPr>
      </p:pic>
      <p:sp>
        <p:nvSpPr>
          <p:cNvPr id="6" name="TextBox 5">
            <a:extLst>
              <a:ext uri="{FF2B5EF4-FFF2-40B4-BE49-F238E27FC236}">
                <a16:creationId xmlns:a16="http://schemas.microsoft.com/office/drawing/2014/main" id="{A28B6B34-F37B-4F82-9498-C802902BF85B}"/>
              </a:ext>
            </a:extLst>
          </p:cNvPr>
          <p:cNvSpPr txBox="1"/>
          <p:nvPr/>
        </p:nvSpPr>
        <p:spPr>
          <a:xfrm>
            <a:off x="557407" y="2212377"/>
            <a:ext cx="6181596" cy="1862048"/>
          </a:xfrm>
          <a:prstGeom prst="rect">
            <a:avLst/>
          </a:prstGeom>
          <a:noFill/>
        </p:spPr>
        <p:txBody>
          <a:bodyPr wrap="square" rtlCol="0">
            <a:spAutoFit/>
          </a:bodyPr>
          <a:lstStyle/>
          <a:p>
            <a:pPr algn="l"/>
            <a:r>
              <a:rPr lang="en-US" sz="1100" b="1" i="0" dirty="0">
                <a:solidFill>
                  <a:srgbClr val="333333"/>
                </a:solidFill>
                <a:effectLst/>
                <a:latin typeface="Verdana" panose="020B0604030504040204" pitchFamily="34" charset="0"/>
              </a:rPr>
              <a:t>Where:</a:t>
            </a:r>
          </a:p>
          <a:p>
            <a:pPr algn="l"/>
            <a:endParaRPr lang="en-US" sz="1800" b="0" i="0" dirty="0">
              <a:solidFill>
                <a:srgbClr val="333333"/>
              </a:solidFill>
              <a:effectLst/>
              <a:latin typeface="Verdana" panose="020B0604030504040204" pitchFamily="34" charset="0"/>
            </a:endParaRPr>
          </a:p>
          <a:p>
            <a:pPr algn="l"/>
            <a:r>
              <a:rPr lang="en-US" sz="1800" b="1" i="0" dirty="0">
                <a:solidFill>
                  <a:srgbClr val="333333"/>
                </a:solidFill>
                <a:effectLst/>
                <a:latin typeface="Verdana" panose="020B0604030504040204" pitchFamily="34" charset="0"/>
              </a:rPr>
              <a:t>X</a:t>
            </a:r>
            <a:r>
              <a:rPr lang="en-US" sz="1800" b="0" i="0" dirty="0">
                <a:solidFill>
                  <a:srgbClr val="333333"/>
                </a:solidFill>
                <a:effectLst/>
                <a:latin typeface="Verdana" panose="020B0604030504040204" pitchFamily="34" charset="0"/>
              </a:rPr>
              <a:t> is the mean</a:t>
            </a:r>
          </a:p>
          <a:p>
            <a:pPr algn="l"/>
            <a:r>
              <a:rPr lang="en-US" sz="1800" b="1" i="0" dirty="0">
                <a:solidFill>
                  <a:srgbClr val="333333"/>
                </a:solidFill>
                <a:effectLst/>
                <a:latin typeface="Verdana" panose="020B0604030504040204" pitchFamily="34" charset="0"/>
              </a:rPr>
              <a:t>Z</a:t>
            </a:r>
            <a:r>
              <a:rPr lang="en-US" sz="1800" b="0" i="0" dirty="0">
                <a:solidFill>
                  <a:srgbClr val="333333"/>
                </a:solidFill>
                <a:effectLst/>
                <a:latin typeface="Verdana" panose="020B0604030504040204" pitchFamily="34" charset="0"/>
              </a:rPr>
              <a:t> is the chosen Z-value from the table above</a:t>
            </a:r>
          </a:p>
          <a:p>
            <a:pPr algn="l"/>
            <a:r>
              <a:rPr lang="en-US" sz="1800" b="1" i="0" dirty="0">
                <a:solidFill>
                  <a:srgbClr val="333333"/>
                </a:solidFill>
                <a:effectLst/>
                <a:latin typeface="Verdana" panose="020B0604030504040204" pitchFamily="34" charset="0"/>
              </a:rPr>
              <a:t>s</a:t>
            </a:r>
            <a:r>
              <a:rPr lang="en-US" sz="1800" b="0" i="0" dirty="0">
                <a:solidFill>
                  <a:srgbClr val="333333"/>
                </a:solidFill>
                <a:effectLst/>
                <a:latin typeface="Verdana" panose="020B0604030504040204" pitchFamily="34" charset="0"/>
              </a:rPr>
              <a:t> is the standard deviation</a:t>
            </a:r>
          </a:p>
          <a:p>
            <a:pPr algn="l"/>
            <a:r>
              <a:rPr lang="en-US" sz="1800" b="1" i="0" dirty="0">
                <a:solidFill>
                  <a:srgbClr val="333333"/>
                </a:solidFill>
                <a:effectLst/>
                <a:latin typeface="Verdana" panose="020B0604030504040204" pitchFamily="34" charset="0"/>
              </a:rPr>
              <a:t>n</a:t>
            </a:r>
            <a:r>
              <a:rPr lang="en-US" sz="1800" b="0" i="0" dirty="0">
                <a:solidFill>
                  <a:srgbClr val="333333"/>
                </a:solidFill>
                <a:effectLst/>
                <a:latin typeface="Verdana" panose="020B0604030504040204" pitchFamily="34" charset="0"/>
              </a:rPr>
              <a:t> is the number of observations</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4645DDA5-9291-4013-A752-40106F498C9E}"/>
                  </a:ext>
                </a:extLst>
              </p14:cNvPr>
              <p14:cNvContentPartPr/>
              <p14:nvPr/>
            </p14:nvContentPartPr>
            <p14:xfrm>
              <a:off x="2476440" y="480960"/>
              <a:ext cx="5529600" cy="3605760"/>
            </p14:xfrm>
          </p:contentPart>
        </mc:Choice>
        <mc:Fallback>
          <p:pic>
            <p:nvPicPr>
              <p:cNvPr id="4" name="Ink 3">
                <a:extLst>
                  <a:ext uri="{FF2B5EF4-FFF2-40B4-BE49-F238E27FC236}">
                    <a16:creationId xmlns:a16="http://schemas.microsoft.com/office/drawing/2014/main" id="{4645DDA5-9291-4013-A752-40106F498C9E}"/>
                  </a:ext>
                </a:extLst>
              </p:cNvPr>
              <p:cNvPicPr/>
              <p:nvPr/>
            </p:nvPicPr>
            <p:blipFill>
              <a:blip r:embed="rId4"/>
              <a:stretch>
                <a:fillRect/>
              </a:stretch>
            </p:blipFill>
            <p:spPr>
              <a:xfrm>
                <a:off x="2467080" y="471600"/>
                <a:ext cx="5548320" cy="3624480"/>
              </a:xfrm>
              <a:prstGeom prst="rect">
                <a:avLst/>
              </a:prstGeom>
            </p:spPr>
          </p:pic>
        </mc:Fallback>
      </mc:AlternateContent>
    </p:spTree>
    <p:extLst>
      <p:ext uri="{BB962C8B-B14F-4D97-AF65-F5344CB8AC3E}">
        <p14:creationId xmlns:p14="http://schemas.microsoft.com/office/powerpoint/2010/main" val="3707658921"/>
      </p:ext>
    </p:extLst>
  </p:cSld>
  <p:clrMapOvr>
    <a:masterClrMapping/>
  </p:clrMapOvr>
  <p:transition spd="med">
    <p:wipe dir="r"/>
  </p:transition>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83D9C2-670F-4E70-9C53-CE88153C551E}"/>
              </a:ext>
            </a:extLst>
          </p:cNvPr>
          <p:cNvSpPr>
            <a:spLocks noGrp="1"/>
          </p:cNvSpPr>
          <p:nvPr>
            <p:ph type="title"/>
          </p:nvPr>
        </p:nvSpPr>
        <p:spPr>
          <a:xfrm>
            <a:off x="0" y="0"/>
            <a:ext cx="7912709" cy="640080"/>
          </a:xfrm>
        </p:spPr>
        <p:txBody>
          <a:bodyPr/>
          <a:lstStyle/>
          <a:p>
            <a:r>
              <a:rPr lang="en-US" dirty="0"/>
              <a:t>Calculating the Confidence Interval</a:t>
            </a:r>
          </a:p>
        </p:txBody>
      </p:sp>
      <p:sp>
        <p:nvSpPr>
          <p:cNvPr id="3" name="Content Placeholder 2">
            <a:extLst>
              <a:ext uri="{FF2B5EF4-FFF2-40B4-BE49-F238E27FC236}">
                <a16:creationId xmlns:a16="http://schemas.microsoft.com/office/drawing/2014/main" id="{627CC880-5417-4365-ADF9-8BC157C06B80}"/>
              </a:ext>
            </a:extLst>
          </p:cNvPr>
          <p:cNvSpPr>
            <a:spLocks noGrp="1"/>
          </p:cNvSpPr>
          <p:nvPr>
            <p:ph sz="half" idx="13"/>
          </p:nvPr>
        </p:nvSpPr>
        <p:spPr>
          <a:xfrm>
            <a:off x="164108" y="971550"/>
            <a:ext cx="7748601" cy="3200400"/>
          </a:xfrm>
        </p:spPr>
        <p:txBody>
          <a:bodyPr/>
          <a:lstStyle/>
          <a:p>
            <a:r>
              <a:rPr lang="en-US" b="0" i="0" dirty="0">
                <a:solidFill>
                  <a:srgbClr val="333333"/>
                </a:solidFill>
                <a:effectLst/>
                <a:latin typeface="Verdana" panose="020B0604030504040204" pitchFamily="34" charset="0"/>
              </a:rPr>
              <a:t>And we have:</a:t>
            </a:r>
          </a:p>
          <a:p>
            <a:pPr marL="0" indent="0">
              <a:buNone/>
            </a:pPr>
            <a:endParaRPr lang="en-US" dirty="0">
              <a:solidFill>
                <a:srgbClr val="333333"/>
              </a:solidFill>
              <a:latin typeface="Verdana" panose="020B0604030504040204" pitchFamily="34" charset="0"/>
            </a:endParaRPr>
          </a:p>
          <a:p>
            <a:endParaRPr lang="en-US" dirty="0">
              <a:solidFill>
                <a:srgbClr val="333333"/>
              </a:solidFill>
              <a:latin typeface="Verdana" panose="020B0604030504040204" pitchFamily="34" charset="0"/>
            </a:endParaRPr>
          </a:p>
          <a:p>
            <a:r>
              <a:rPr lang="en-US" dirty="0"/>
              <a:t>Which is : </a:t>
            </a:r>
          </a:p>
          <a:p>
            <a:endParaRPr lang="en-US" dirty="0"/>
          </a:p>
          <a:p>
            <a:endParaRPr lang="en-US" dirty="0"/>
          </a:p>
          <a:p>
            <a:r>
              <a:rPr lang="en-US" dirty="0"/>
              <a:t>In other words : from 168.8cm to 181.2cm</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7091D15F-9C42-4A43-932E-6E9D6D01FC13}"/>
                  </a:ext>
                </a:extLst>
              </p14:cNvPr>
              <p14:cNvContentPartPr/>
              <p14:nvPr/>
            </p14:nvContentPartPr>
            <p14:xfrm>
              <a:off x="2066760" y="914400"/>
              <a:ext cx="3719880" cy="2929320"/>
            </p14:xfrm>
          </p:contentPart>
        </mc:Choice>
        <mc:Fallback>
          <p:pic>
            <p:nvPicPr>
              <p:cNvPr id="4" name="Ink 3">
                <a:extLst>
                  <a:ext uri="{FF2B5EF4-FFF2-40B4-BE49-F238E27FC236}">
                    <a16:creationId xmlns:a16="http://schemas.microsoft.com/office/drawing/2014/main" id="{7091D15F-9C42-4A43-932E-6E9D6D01FC13}"/>
                  </a:ext>
                </a:extLst>
              </p:cNvPr>
              <p:cNvPicPr/>
              <p:nvPr/>
            </p:nvPicPr>
            <p:blipFill>
              <a:blip r:embed="rId3"/>
              <a:stretch>
                <a:fillRect/>
              </a:stretch>
            </p:blipFill>
            <p:spPr>
              <a:xfrm>
                <a:off x="2057400" y="905040"/>
                <a:ext cx="3738600" cy="2948040"/>
              </a:xfrm>
              <a:prstGeom prst="rect">
                <a:avLst/>
              </a:prstGeom>
            </p:spPr>
          </p:pic>
        </mc:Fallback>
      </mc:AlternateContent>
    </p:spTree>
    <p:extLst>
      <p:ext uri="{BB962C8B-B14F-4D97-AF65-F5344CB8AC3E}">
        <p14:creationId xmlns:p14="http://schemas.microsoft.com/office/powerpoint/2010/main" val="3796607438"/>
      </p:ext>
    </p:extLst>
  </p:cSld>
  <p:clrMapOvr>
    <a:masterClrMapping/>
  </p:clrMapOvr>
  <p:transition spd="med">
    <p:wipe dir="r"/>
  </p:transition>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4C68C2-59B9-4239-9B4A-3A58CCB07C16}"/>
              </a:ext>
            </a:extLst>
          </p:cNvPr>
          <p:cNvSpPr>
            <a:spLocks noGrp="1"/>
          </p:cNvSpPr>
          <p:nvPr>
            <p:ph type="title"/>
          </p:nvPr>
        </p:nvSpPr>
        <p:spPr>
          <a:xfrm>
            <a:off x="0" y="0"/>
            <a:ext cx="8113125" cy="640080"/>
          </a:xfrm>
        </p:spPr>
        <p:txBody>
          <a:bodyPr/>
          <a:lstStyle/>
          <a:p>
            <a:r>
              <a:rPr lang="en-US" dirty="0"/>
              <a:t>Calculating the Confidence Interval</a:t>
            </a:r>
          </a:p>
        </p:txBody>
      </p:sp>
      <p:pic>
        <p:nvPicPr>
          <p:cNvPr id="4" name="Content Placeholder 3">
            <a:extLst>
              <a:ext uri="{FF2B5EF4-FFF2-40B4-BE49-F238E27FC236}">
                <a16:creationId xmlns:a16="http://schemas.microsoft.com/office/drawing/2014/main" id="{03AF548B-15AC-4F77-9770-BB636F1EC721}"/>
              </a:ext>
            </a:extLst>
          </p:cNvPr>
          <p:cNvPicPr>
            <a:picLocks noGrp="1" noChangeAspect="1"/>
          </p:cNvPicPr>
          <p:nvPr>
            <p:ph sz="half" idx="13"/>
          </p:nvPr>
        </p:nvPicPr>
        <p:blipFill>
          <a:blip r:embed="rId2"/>
          <a:stretch>
            <a:fillRect/>
          </a:stretch>
        </p:blipFill>
        <p:spPr>
          <a:xfrm>
            <a:off x="5352420" y="1445559"/>
            <a:ext cx="3133725" cy="1590675"/>
          </a:xfrm>
          <a:prstGeom prst="rect">
            <a:avLst/>
          </a:prstGeom>
        </p:spPr>
      </p:pic>
      <p:sp>
        <p:nvSpPr>
          <p:cNvPr id="5" name="TextBox 4">
            <a:extLst>
              <a:ext uri="{FF2B5EF4-FFF2-40B4-BE49-F238E27FC236}">
                <a16:creationId xmlns:a16="http://schemas.microsoft.com/office/drawing/2014/main" id="{0D904D2C-5E24-4FBF-B493-D48E7F1C2EC7}"/>
              </a:ext>
            </a:extLst>
          </p:cNvPr>
          <p:cNvSpPr txBox="1"/>
          <p:nvPr/>
        </p:nvSpPr>
        <p:spPr>
          <a:xfrm>
            <a:off x="344466" y="1435796"/>
            <a:ext cx="3908120" cy="1600438"/>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e 95% confidence interval is : </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is says the true mean of all men (if we could measure all their heights_ is likely to be between 168.8cm and 181.2cm</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But is might not be !!</a:t>
            </a:r>
          </a:p>
        </p:txBody>
      </p:sp>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A5C9AF55-6015-40BA-BAE5-B9862BAC47CD}"/>
                  </a:ext>
                </a:extLst>
              </p14:cNvPr>
              <p14:cNvContentPartPr/>
              <p14:nvPr/>
            </p14:nvContentPartPr>
            <p14:xfrm>
              <a:off x="1324080" y="1204920"/>
              <a:ext cx="6315480" cy="2853000"/>
            </p14:xfrm>
          </p:contentPart>
        </mc:Choice>
        <mc:Fallback>
          <p:pic>
            <p:nvPicPr>
              <p:cNvPr id="3" name="Ink 2">
                <a:extLst>
                  <a:ext uri="{FF2B5EF4-FFF2-40B4-BE49-F238E27FC236}">
                    <a16:creationId xmlns:a16="http://schemas.microsoft.com/office/drawing/2014/main" id="{A5C9AF55-6015-40BA-BAE5-B9862BAC47CD}"/>
                  </a:ext>
                </a:extLst>
              </p:cNvPr>
              <p:cNvPicPr/>
              <p:nvPr/>
            </p:nvPicPr>
            <p:blipFill>
              <a:blip r:embed="rId4"/>
              <a:stretch>
                <a:fillRect/>
              </a:stretch>
            </p:blipFill>
            <p:spPr>
              <a:xfrm>
                <a:off x="1314720" y="1195560"/>
                <a:ext cx="6334200" cy="2871720"/>
              </a:xfrm>
              <a:prstGeom prst="rect">
                <a:avLst/>
              </a:prstGeom>
            </p:spPr>
          </p:pic>
        </mc:Fallback>
      </mc:AlternateContent>
    </p:spTree>
    <p:extLst>
      <p:ext uri="{BB962C8B-B14F-4D97-AF65-F5344CB8AC3E}">
        <p14:creationId xmlns:p14="http://schemas.microsoft.com/office/powerpoint/2010/main" val="1038878434"/>
      </p:ext>
    </p:extLst>
  </p:cSld>
  <p:clrMapOvr>
    <a:masterClrMapping/>
  </p:clrMapOvr>
  <p:transition spd="med">
    <p:wipe dir="r"/>
  </p:transition>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0D544-3D95-4BDB-8FAA-6B944EED4ED1}"/>
              </a:ext>
            </a:extLst>
          </p:cNvPr>
          <p:cNvSpPr>
            <a:spLocks noGrp="1"/>
          </p:cNvSpPr>
          <p:nvPr>
            <p:ph type="title"/>
          </p:nvPr>
        </p:nvSpPr>
        <p:spPr>
          <a:xfrm>
            <a:off x="43841" y="136266"/>
            <a:ext cx="6964471" cy="640080"/>
          </a:xfrm>
        </p:spPr>
        <p:txBody>
          <a:bodyPr/>
          <a:lstStyle/>
          <a:p>
            <a:r>
              <a:rPr lang="en-US" dirty="0"/>
              <a:t>Example 2 : Apple Orchid</a:t>
            </a:r>
          </a:p>
        </p:txBody>
      </p:sp>
      <p:pic>
        <p:nvPicPr>
          <p:cNvPr id="5" name="Content Placeholder 4" descr="A pile of green fruit&#10;&#10;Description automatically generated with low confidence">
            <a:extLst>
              <a:ext uri="{FF2B5EF4-FFF2-40B4-BE49-F238E27FC236}">
                <a16:creationId xmlns:a16="http://schemas.microsoft.com/office/drawing/2014/main" id="{17547D13-31EA-4BB8-AE5B-1A0B454CF8A5}"/>
              </a:ext>
            </a:extLst>
          </p:cNvPr>
          <p:cNvPicPr>
            <a:picLocks noGrp="1" noChangeAspect="1"/>
          </p:cNvPicPr>
          <p:nvPr>
            <p:ph sz="half" idx="13"/>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6714954" y="1242164"/>
            <a:ext cx="2363486" cy="1645085"/>
          </a:xfrm>
        </p:spPr>
      </p:pic>
      <p:sp>
        <p:nvSpPr>
          <p:cNvPr id="6" name="TextBox 5">
            <a:extLst>
              <a:ext uri="{FF2B5EF4-FFF2-40B4-BE49-F238E27FC236}">
                <a16:creationId xmlns:a16="http://schemas.microsoft.com/office/drawing/2014/main" id="{BD8C6548-2BCC-46AE-8BB5-9220E89FA028}"/>
              </a:ext>
            </a:extLst>
          </p:cNvPr>
          <p:cNvSpPr txBox="1"/>
          <p:nvPr/>
        </p:nvSpPr>
        <p:spPr>
          <a:xfrm>
            <a:off x="309818" y="1055978"/>
            <a:ext cx="5054252" cy="1831271"/>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Are the apples big enough?</a:t>
            </a:r>
          </a:p>
          <a:p>
            <a:pPr algn="l"/>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There are hundreds of apples on the trees, so you randomly choose just </a:t>
            </a:r>
            <a:r>
              <a:rPr lang="en-US" sz="1100" b="1" i="0" dirty="0">
                <a:solidFill>
                  <a:srgbClr val="333333"/>
                </a:solidFill>
                <a:effectLst/>
                <a:latin typeface="Verdana" panose="020B0604030504040204" pitchFamily="34" charset="0"/>
              </a:rPr>
              <a:t>46</a:t>
            </a:r>
            <a:r>
              <a:rPr lang="en-US" sz="1100" b="0" i="0" dirty="0">
                <a:solidFill>
                  <a:srgbClr val="333333"/>
                </a:solidFill>
                <a:effectLst/>
                <a:latin typeface="Verdana" panose="020B0604030504040204" pitchFamily="34" charset="0"/>
              </a:rPr>
              <a:t> apples and get:</a:t>
            </a:r>
          </a:p>
          <a:p>
            <a:pPr algn="l"/>
            <a:endParaRPr lang="en-US" sz="1100" b="0" i="0" dirty="0">
              <a:solidFill>
                <a:srgbClr val="333333"/>
              </a:solidFill>
              <a:effectLst/>
              <a:latin typeface="Verdana" panose="020B0604030504040204" pitchFamily="34" charset="0"/>
            </a:endParaRPr>
          </a:p>
          <a:p>
            <a:pPr marL="171450" indent="-171450" algn="l">
              <a:buFont typeface="Arial" panose="020B0604020202020204" pitchFamily="34" charset="0"/>
              <a:buChar char="•"/>
            </a:pPr>
            <a:r>
              <a:rPr lang="en-US" sz="1100" b="0" i="0" dirty="0">
                <a:solidFill>
                  <a:srgbClr val="333333"/>
                </a:solidFill>
                <a:effectLst/>
                <a:latin typeface="Verdana" panose="020B0604030504040204" pitchFamily="34" charset="0"/>
              </a:rPr>
              <a:t>a Mean of </a:t>
            </a:r>
            <a:r>
              <a:rPr lang="en-US" sz="1100" b="1" i="0" dirty="0">
                <a:solidFill>
                  <a:srgbClr val="333333"/>
                </a:solidFill>
                <a:effectLst/>
                <a:latin typeface="Verdana" panose="020B0604030504040204" pitchFamily="34" charset="0"/>
              </a:rPr>
              <a:t>86</a:t>
            </a:r>
            <a:endParaRPr lang="en-US" sz="1100" b="0" i="0" dirty="0">
              <a:solidFill>
                <a:srgbClr val="333333"/>
              </a:solidFill>
              <a:effectLst/>
              <a:latin typeface="Verdana" panose="020B0604030504040204" pitchFamily="34" charset="0"/>
            </a:endParaRPr>
          </a:p>
          <a:p>
            <a:pPr marL="171450" indent="-171450" algn="l">
              <a:buFont typeface="Arial" panose="020B0604020202020204" pitchFamily="34" charset="0"/>
              <a:buChar char="•"/>
            </a:pPr>
            <a:r>
              <a:rPr lang="en-US" sz="1100" b="0" i="0" dirty="0">
                <a:solidFill>
                  <a:srgbClr val="333333"/>
                </a:solidFill>
                <a:effectLst/>
                <a:latin typeface="Verdana" panose="020B0604030504040204" pitchFamily="34" charset="0"/>
              </a:rPr>
              <a:t>a Standard Deviation of </a:t>
            </a:r>
            <a:r>
              <a:rPr lang="en-US" sz="1100" b="1" i="0" dirty="0">
                <a:solidFill>
                  <a:srgbClr val="333333"/>
                </a:solidFill>
                <a:effectLst/>
                <a:latin typeface="Verdana" panose="020B0604030504040204" pitchFamily="34" charset="0"/>
              </a:rPr>
              <a:t>6.2</a:t>
            </a:r>
          </a:p>
          <a:p>
            <a:pPr algn="l"/>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So, let's calculate:</a:t>
            </a:r>
          </a:p>
          <a:p>
            <a:pPr>
              <a:spcBef>
                <a:spcPts val="0"/>
              </a:spcBef>
              <a:spcAft>
                <a:spcPts val="0"/>
              </a:spcAft>
              <a:buClr>
                <a:schemeClr val="bg1"/>
              </a:buClr>
            </a:pPr>
            <a:endParaRPr lang="en-US" sz="1400" dirty="0" err="1">
              <a:solidFill>
                <a:schemeClr val="bg2"/>
              </a:solidFill>
              <a:latin typeface="+mn-lt"/>
            </a:endParaRPr>
          </a:p>
        </p:txBody>
      </p:sp>
      <p:pic>
        <p:nvPicPr>
          <p:cNvPr id="8" name="Picture 7">
            <a:extLst>
              <a:ext uri="{FF2B5EF4-FFF2-40B4-BE49-F238E27FC236}">
                <a16:creationId xmlns:a16="http://schemas.microsoft.com/office/drawing/2014/main" id="{17210537-F062-4A28-A9BF-361911C79C82}"/>
              </a:ext>
            </a:extLst>
          </p:cNvPr>
          <p:cNvPicPr>
            <a:picLocks noChangeAspect="1"/>
          </p:cNvPicPr>
          <p:nvPr/>
        </p:nvPicPr>
        <p:blipFill>
          <a:blip r:embed="rId5"/>
          <a:stretch>
            <a:fillRect/>
          </a:stretch>
        </p:blipFill>
        <p:spPr>
          <a:xfrm>
            <a:off x="1093869" y="3178806"/>
            <a:ext cx="1743075" cy="752475"/>
          </a:xfrm>
          <a:prstGeom prst="rect">
            <a:avLst/>
          </a:prstGeom>
        </p:spPr>
      </p:pic>
      <mc:AlternateContent xmlns:mc="http://schemas.openxmlformats.org/markup-compatibility/2006">
        <mc:Choice xmlns:p14="http://schemas.microsoft.com/office/powerpoint/2010/main" Requires="p14">
          <p:contentPart p14:bwMode="auto" r:id="rId6">
            <p14:nvContentPartPr>
              <p14:cNvPr id="3" name="Ink 2">
                <a:extLst>
                  <a:ext uri="{FF2B5EF4-FFF2-40B4-BE49-F238E27FC236}">
                    <a16:creationId xmlns:a16="http://schemas.microsoft.com/office/drawing/2014/main" id="{2A13DC52-476F-4216-9C34-94F853F75297}"/>
                  </a:ext>
                </a:extLst>
              </p14:cNvPr>
              <p14:cNvContentPartPr/>
              <p14:nvPr/>
            </p14:nvContentPartPr>
            <p14:xfrm>
              <a:off x="752400" y="399960"/>
              <a:ext cx="5491440" cy="2476800"/>
            </p14:xfrm>
          </p:contentPart>
        </mc:Choice>
        <mc:Fallback>
          <p:pic>
            <p:nvPicPr>
              <p:cNvPr id="3" name="Ink 2">
                <a:extLst>
                  <a:ext uri="{FF2B5EF4-FFF2-40B4-BE49-F238E27FC236}">
                    <a16:creationId xmlns:a16="http://schemas.microsoft.com/office/drawing/2014/main" id="{2A13DC52-476F-4216-9C34-94F853F75297}"/>
                  </a:ext>
                </a:extLst>
              </p:cNvPr>
              <p:cNvPicPr/>
              <p:nvPr/>
            </p:nvPicPr>
            <p:blipFill>
              <a:blip r:embed="rId7"/>
              <a:stretch>
                <a:fillRect/>
              </a:stretch>
            </p:blipFill>
            <p:spPr>
              <a:xfrm>
                <a:off x="743040" y="390600"/>
                <a:ext cx="5510160" cy="2495520"/>
              </a:xfrm>
              <a:prstGeom prst="rect">
                <a:avLst/>
              </a:prstGeom>
            </p:spPr>
          </p:pic>
        </mc:Fallback>
      </mc:AlternateContent>
    </p:spTree>
    <p:extLst>
      <p:ext uri="{BB962C8B-B14F-4D97-AF65-F5344CB8AC3E}">
        <p14:creationId xmlns:p14="http://schemas.microsoft.com/office/powerpoint/2010/main" val="4016346131"/>
      </p:ext>
    </p:extLst>
  </p:cSld>
  <p:clrMapOvr>
    <a:masterClrMapping/>
  </p:clrMapOvr>
  <p:transition spd="med">
    <p:wipe dir="r"/>
  </p:transition>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AA5473-8694-42B5-81B2-F0B3C71D3FD1}"/>
              </a:ext>
            </a:extLst>
          </p:cNvPr>
          <p:cNvSpPr>
            <a:spLocks noGrp="1"/>
          </p:cNvSpPr>
          <p:nvPr>
            <p:ph type="title"/>
          </p:nvPr>
        </p:nvSpPr>
        <p:spPr>
          <a:xfrm>
            <a:off x="166578" y="22860"/>
            <a:ext cx="5426292" cy="640080"/>
          </a:xfrm>
        </p:spPr>
        <p:txBody>
          <a:bodyPr/>
          <a:lstStyle/>
          <a:p>
            <a:r>
              <a:rPr lang="en-US" dirty="0"/>
              <a:t>Example 2 : Apple Orchid</a:t>
            </a:r>
          </a:p>
        </p:txBody>
      </p:sp>
      <p:sp>
        <p:nvSpPr>
          <p:cNvPr id="3" name="Content Placeholder 2">
            <a:extLst>
              <a:ext uri="{FF2B5EF4-FFF2-40B4-BE49-F238E27FC236}">
                <a16:creationId xmlns:a16="http://schemas.microsoft.com/office/drawing/2014/main" id="{9EF8263D-EC76-45EB-8ED8-C2E12D55CA14}"/>
              </a:ext>
            </a:extLst>
          </p:cNvPr>
          <p:cNvSpPr>
            <a:spLocks noGrp="1"/>
          </p:cNvSpPr>
          <p:nvPr>
            <p:ph sz="half" idx="13"/>
          </p:nvPr>
        </p:nvSpPr>
        <p:spPr>
          <a:xfrm>
            <a:off x="166578" y="735278"/>
            <a:ext cx="7441713" cy="3200400"/>
          </a:xfrm>
        </p:spPr>
        <p:txBody>
          <a:bodyPr/>
          <a:lstStyle/>
          <a:p>
            <a:pPr algn="l"/>
            <a:r>
              <a:rPr lang="en-US" b="0" i="0" dirty="0">
                <a:solidFill>
                  <a:srgbClr val="333333"/>
                </a:solidFill>
                <a:effectLst/>
                <a:latin typeface="Verdana" panose="020B0604030504040204" pitchFamily="34" charset="0"/>
              </a:rPr>
              <a:t>We know:</a:t>
            </a:r>
          </a:p>
          <a:p>
            <a:pPr lvl="1">
              <a:buFont typeface="Arial" panose="020B0604020202020204" pitchFamily="34" charset="0"/>
              <a:buChar char="•"/>
            </a:pPr>
            <a:r>
              <a:rPr lang="en-US" b="1" i="0" dirty="0">
                <a:solidFill>
                  <a:srgbClr val="333333"/>
                </a:solidFill>
                <a:effectLst/>
                <a:latin typeface="Verdana" panose="020B0604030504040204" pitchFamily="34" charset="0"/>
              </a:rPr>
              <a:t>X</a:t>
            </a:r>
            <a:r>
              <a:rPr lang="en-US" b="0" i="0" dirty="0">
                <a:solidFill>
                  <a:srgbClr val="333333"/>
                </a:solidFill>
                <a:effectLst/>
                <a:latin typeface="Verdana" panose="020B0604030504040204" pitchFamily="34" charset="0"/>
              </a:rPr>
              <a:t> is the mean = 86</a:t>
            </a:r>
          </a:p>
          <a:p>
            <a:pPr lvl="1">
              <a:buFont typeface="Arial" panose="020B0604020202020204" pitchFamily="34" charset="0"/>
              <a:buChar char="•"/>
            </a:pPr>
            <a:r>
              <a:rPr lang="en-US" b="1" i="0" dirty="0">
                <a:solidFill>
                  <a:srgbClr val="333333"/>
                </a:solidFill>
                <a:effectLst/>
                <a:latin typeface="Verdana" panose="020B0604030504040204" pitchFamily="34" charset="0"/>
              </a:rPr>
              <a:t>Z</a:t>
            </a:r>
            <a:r>
              <a:rPr lang="en-US" b="0" i="0" dirty="0">
                <a:solidFill>
                  <a:srgbClr val="333333"/>
                </a:solidFill>
                <a:effectLst/>
                <a:latin typeface="Verdana" panose="020B0604030504040204" pitchFamily="34" charset="0"/>
              </a:rPr>
              <a:t> is the Z-value = 1.960 (from the table above for 95%)</a:t>
            </a:r>
          </a:p>
          <a:p>
            <a:pPr lvl="1">
              <a:buFont typeface="Arial" panose="020B0604020202020204" pitchFamily="34" charset="0"/>
              <a:buChar char="•"/>
            </a:pPr>
            <a:r>
              <a:rPr lang="en-US" b="1" i="0" dirty="0">
                <a:solidFill>
                  <a:srgbClr val="333333"/>
                </a:solidFill>
                <a:effectLst/>
                <a:latin typeface="Verdana" panose="020B0604030504040204" pitchFamily="34" charset="0"/>
              </a:rPr>
              <a:t>s</a:t>
            </a:r>
            <a:r>
              <a:rPr lang="en-US" b="0" i="0" dirty="0">
                <a:solidFill>
                  <a:srgbClr val="333333"/>
                </a:solidFill>
                <a:effectLst/>
                <a:latin typeface="Verdana" panose="020B0604030504040204" pitchFamily="34" charset="0"/>
              </a:rPr>
              <a:t> is the standard deviation = 6.2</a:t>
            </a:r>
          </a:p>
          <a:p>
            <a:pPr lvl="1">
              <a:buFont typeface="Arial" panose="020B0604020202020204" pitchFamily="34" charset="0"/>
              <a:buChar char="•"/>
            </a:pPr>
            <a:r>
              <a:rPr lang="en-US" b="1" i="0" dirty="0">
                <a:solidFill>
                  <a:srgbClr val="333333"/>
                </a:solidFill>
                <a:effectLst/>
                <a:latin typeface="Verdana" panose="020B0604030504040204" pitchFamily="34" charset="0"/>
              </a:rPr>
              <a:t>n</a:t>
            </a:r>
            <a:r>
              <a:rPr lang="en-US" b="0" i="0" dirty="0">
                <a:solidFill>
                  <a:srgbClr val="333333"/>
                </a:solidFill>
                <a:effectLst/>
                <a:latin typeface="Verdana" panose="020B0604030504040204" pitchFamily="34" charset="0"/>
              </a:rPr>
              <a:t> is the number of observations = 46</a:t>
            </a:r>
          </a:p>
          <a:p>
            <a:pPr lvl="1">
              <a:buFont typeface="Arial" panose="020B0604020202020204" pitchFamily="34" charset="0"/>
              <a:buChar char="•"/>
            </a:pPr>
            <a:endParaRPr lang="en-US" dirty="0">
              <a:solidFill>
                <a:srgbClr val="333333"/>
              </a:solidFill>
              <a:latin typeface="Verdana" panose="020B0604030504040204" pitchFamily="34" charset="0"/>
            </a:endParaRPr>
          </a:p>
          <a:p>
            <a:pPr lvl="1">
              <a:buFont typeface="Arial" panose="020B0604020202020204" pitchFamily="34" charset="0"/>
              <a:buChar char="•"/>
            </a:pPr>
            <a:endParaRPr lang="en-US" b="0" i="0" dirty="0">
              <a:solidFill>
                <a:srgbClr val="333333"/>
              </a:solidFill>
              <a:effectLst/>
              <a:latin typeface="Verdana" panose="020B0604030504040204" pitchFamily="34" charset="0"/>
            </a:endParaRPr>
          </a:p>
          <a:p>
            <a:pPr marL="342900" lvl="1" indent="0">
              <a:buNone/>
            </a:pPr>
            <a:endParaRPr lang="en-US" b="0" i="0" dirty="0">
              <a:solidFill>
                <a:srgbClr val="333333"/>
              </a:solidFill>
              <a:effectLst/>
              <a:latin typeface="Verdana" panose="020B0604030504040204" pitchFamily="34" charset="0"/>
            </a:endParaRPr>
          </a:p>
          <a:p>
            <a:endParaRPr lang="en-US" dirty="0"/>
          </a:p>
        </p:txBody>
      </p:sp>
      <p:sp>
        <p:nvSpPr>
          <p:cNvPr id="4" name="TextBox 3">
            <a:extLst>
              <a:ext uri="{FF2B5EF4-FFF2-40B4-BE49-F238E27FC236}">
                <a16:creationId xmlns:a16="http://schemas.microsoft.com/office/drawing/2014/main" id="{8032E575-B58E-4028-B8E3-3B406B50E351}"/>
              </a:ext>
            </a:extLst>
          </p:cNvPr>
          <p:cNvSpPr txBox="1"/>
          <p:nvPr/>
        </p:nvSpPr>
        <p:spPr>
          <a:xfrm>
            <a:off x="166578" y="3122112"/>
            <a:ext cx="8457592"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333333"/>
                </a:solidFill>
                <a:effectLst/>
                <a:latin typeface="Verdana" panose="020B0604030504040204" pitchFamily="34" charset="0"/>
              </a:rPr>
              <a:t>So, the true mean (of all the hundreds of apples) is </a:t>
            </a:r>
            <a:r>
              <a:rPr lang="en-US" sz="1100" b="1" i="0" dirty="0">
                <a:solidFill>
                  <a:srgbClr val="333333"/>
                </a:solidFill>
                <a:effectLst/>
                <a:latin typeface="Verdana" panose="020B0604030504040204" pitchFamily="34" charset="0"/>
              </a:rPr>
              <a:t>likely</a:t>
            </a:r>
            <a:r>
              <a:rPr lang="en-US" sz="1100" b="0" i="0" dirty="0">
                <a:solidFill>
                  <a:srgbClr val="333333"/>
                </a:solidFill>
                <a:effectLst/>
                <a:latin typeface="Verdana" panose="020B0604030504040204" pitchFamily="34" charset="0"/>
              </a:rPr>
              <a:t> to be between 84.21 and 87.79</a:t>
            </a:r>
            <a:endParaRPr lang="en-US" sz="1400" dirty="0">
              <a:solidFill>
                <a:schemeClr val="bg2"/>
              </a:solidFill>
              <a:latin typeface="+mn-lt"/>
            </a:endParaRPr>
          </a:p>
        </p:txBody>
      </p:sp>
      <mc:AlternateContent xmlns:mc="http://schemas.openxmlformats.org/markup-compatibility/2006">
        <mc:Choice xmlns:p14="http://schemas.microsoft.com/office/powerpoint/2010/main" Requires="p14">
          <p:contentPart p14:bwMode="auto" r:id="rId2">
            <p14:nvContentPartPr>
              <p14:cNvPr id="5" name="Ink 4">
                <a:extLst>
                  <a:ext uri="{FF2B5EF4-FFF2-40B4-BE49-F238E27FC236}">
                    <a16:creationId xmlns:a16="http://schemas.microsoft.com/office/drawing/2014/main" id="{F9228582-19BB-4C06-8D3D-5DF00C0A41BC}"/>
                  </a:ext>
                </a:extLst>
              </p14:cNvPr>
              <p14:cNvContentPartPr/>
              <p14:nvPr/>
            </p14:nvContentPartPr>
            <p14:xfrm>
              <a:off x="2128680" y="566640"/>
              <a:ext cx="5753520" cy="4415400"/>
            </p14:xfrm>
          </p:contentPart>
        </mc:Choice>
        <mc:Fallback>
          <p:pic>
            <p:nvPicPr>
              <p:cNvPr id="5" name="Ink 4">
                <a:extLst>
                  <a:ext uri="{FF2B5EF4-FFF2-40B4-BE49-F238E27FC236}">
                    <a16:creationId xmlns:a16="http://schemas.microsoft.com/office/drawing/2014/main" id="{F9228582-19BB-4C06-8D3D-5DF00C0A41BC}"/>
                  </a:ext>
                </a:extLst>
              </p:cNvPr>
              <p:cNvPicPr/>
              <p:nvPr/>
            </p:nvPicPr>
            <p:blipFill>
              <a:blip r:embed="rId3"/>
              <a:stretch>
                <a:fillRect/>
              </a:stretch>
            </p:blipFill>
            <p:spPr>
              <a:xfrm>
                <a:off x="2119320" y="557280"/>
                <a:ext cx="5772240" cy="4434120"/>
              </a:xfrm>
              <a:prstGeom prst="rect">
                <a:avLst/>
              </a:prstGeom>
            </p:spPr>
          </p:pic>
        </mc:Fallback>
      </mc:AlternateContent>
    </p:spTree>
    <p:extLst>
      <p:ext uri="{BB962C8B-B14F-4D97-AF65-F5344CB8AC3E}">
        <p14:creationId xmlns:p14="http://schemas.microsoft.com/office/powerpoint/2010/main" val="4226836956"/>
      </p:ext>
    </p:extLst>
  </p:cSld>
  <p:clrMapOvr>
    <a:masterClrMapping/>
  </p:clrMapOvr>
  <p:transition spd="med">
    <p:wipe dir="r"/>
  </p:transition>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8E60A0-704C-4DB4-8CA8-951CB3B8B5E5}"/>
              </a:ext>
            </a:extLst>
          </p:cNvPr>
          <p:cNvSpPr>
            <a:spLocks noGrp="1"/>
          </p:cNvSpPr>
          <p:nvPr>
            <p:ph type="title"/>
          </p:nvPr>
        </p:nvSpPr>
        <p:spPr>
          <a:xfrm>
            <a:off x="0" y="0"/>
            <a:ext cx="7292671" cy="640080"/>
          </a:xfrm>
        </p:spPr>
        <p:txBody>
          <a:bodyPr/>
          <a:lstStyle/>
          <a:p>
            <a:r>
              <a:rPr lang="en-US" dirty="0"/>
              <a:t>Example 2 : Apple Orchid – True Mean</a:t>
            </a:r>
          </a:p>
        </p:txBody>
      </p:sp>
      <p:sp>
        <p:nvSpPr>
          <p:cNvPr id="3" name="Content Placeholder 2">
            <a:extLst>
              <a:ext uri="{FF2B5EF4-FFF2-40B4-BE49-F238E27FC236}">
                <a16:creationId xmlns:a16="http://schemas.microsoft.com/office/drawing/2014/main" id="{D6B174F9-BE4A-4E46-8124-C7F50C49BE7C}"/>
              </a:ext>
            </a:extLst>
          </p:cNvPr>
          <p:cNvSpPr>
            <a:spLocks noGrp="1"/>
          </p:cNvSpPr>
          <p:nvPr>
            <p:ph sz="half" idx="13"/>
          </p:nvPr>
        </p:nvSpPr>
        <p:spPr>
          <a:xfrm>
            <a:off x="105218" y="891853"/>
            <a:ext cx="7654655" cy="3200400"/>
          </a:xfrm>
        </p:spPr>
        <p:txBody>
          <a:bodyPr/>
          <a:lstStyle/>
          <a:p>
            <a:r>
              <a:rPr lang="en-US" b="0" i="0" dirty="0">
                <a:solidFill>
                  <a:srgbClr val="333333"/>
                </a:solidFill>
                <a:effectLst/>
                <a:latin typeface="Verdana" panose="020B0604030504040204" pitchFamily="34" charset="0"/>
              </a:rPr>
              <a:t>Now imagine we get to pick ALL the apples straight away, and get them ALL measured by the packing machine (this is a luxury not normally found in statistics!)</a:t>
            </a:r>
          </a:p>
          <a:p>
            <a:r>
              <a:rPr lang="en-US" b="0" i="0" dirty="0">
                <a:solidFill>
                  <a:srgbClr val="333333"/>
                </a:solidFill>
                <a:effectLst/>
                <a:latin typeface="Verdana" panose="020B0604030504040204" pitchFamily="34" charset="0"/>
              </a:rPr>
              <a:t>And the </a:t>
            </a:r>
            <a:r>
              <a:rPr lang="en-US" b="1" i="0" dirty="0">
                <a:solidFill>
                  <a:srgbClr val="333333"/>
                </a:solidFill>
                <a:effectLst/>
                <a:latin typeface="Verdana" panose="020B0604030504040204" pitchFamily="34" charset="0"/>
              </a:rPr>
              <a:t>true mean</a:t>
            </a:r>
            <a:r>
              <a:rPr lang="en-US" b="0" i="0" dirty="0">
                <a:solidFill>
                  <a:srgbClr val="333333"/>
                </a:solidFill>
                <a:effectLst/>
                <a:latin typeface="Verdana" panose="020B0604030504040204" pitchFamily="34" charset="0"/>
              </a:rPr>
              <a:t> turns out to be</a:t>
            </a:r>
            <a:r>
              <a:rPr lang="en-US" b="1" i="0" dirty="0">
                <a:solidFill>
                  <a:srgbClr val="333333"/>
                </a:solidFill>
                <a:effectLst/>
                <a:latin typeface="Verdana" panose="020B0604030504040204" pitchFamily="34" charset="0"/>
              </a:rPr>
              <a:t> 84.9</a:t>
            </a:r>
            <a:endParaRPr lang="en-US" dirty="0">
              <a:solidFill>
                <a:srgbClr val="333333"/>
              </a:solidFill>
              <a:latin typeface="Verdana" panose="020B0604030504040204" pitchFamily="34" charset="0"/>
            </a:endParaRPr>
          </a:p>
          <a:p>
            <a:r>
              <a:rPr lang="en-US" b="0" i="0" dirty="0">
                <a:solidFill>
                  <a:srgbClr val="333333"/>
                </a:solidFill>
                <a:effectLst/>
                <a:latin typeface="Verdana" panose="020B0604030504040204" pitchFamily="34" charset="0"/>
              </a:rPr>
              <a:t>Let's lay all the apples on the ground from smallest to largest:</a:t>
            </a:r>
            <a:endParaRPr lang="en-US" dirty="0"/>
          </a:p>
        </p:txBody>
      </p:sp>
      <p:pic>
        <p:nvPicPr>
          <p:cNvPr id="5" name="Picture 4">
            <a:extLst>
              <a:ext uri="{FF2B5EF4-FFF2-40B4-BE49-F238E27FC236}">
                <a16:creationId xmlns:a16="http://schemas.microsoft.com/office/drawing/2014/main" id="{FFBC7B80-2577-45A9-96F4-D517F5D6DDBB}"/>
              </a:ext>
            </a:extLst>
          </p:cNvPr>
          <p:cNvPicPr>
            <a:picLocks noChangeAspect="1"/>
          </p:cNvPicPr>
          <p:nvPr/>
        </p:nvPicPr>
        <p:blipFill>
          <a:blip r:embed="rId2"/>
          <a:stretch>
            <a:fillRect/>
          </a:stretch>
        </p:blipFill>
        <p:spPr>
          <a:xfrm>
            <a:off x="2821944" y="2509119"/>
            <a:ext cx="2138363" cy="1914525"/>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D63E9446-60D6-42D8-ACF7-68F6AFB51A24}"/>
                  </a:ext>
                </a:extLst>
              </p14:cNvPr>
              <p14:cNvContentPartPr/>
              <p14:nvPr/>
            </p14:nvContentPartPr>
            <p14:xfrm>
              <a:off x="428760" y="147600"/>
              <a:ext cx="8020440" cy="3715200"/>
            </p14:xfrm>
          </p:contentPart>
        </mc:Choice>
        <mc:Fallback>
          <p:pic>
            <p:nvPicPr>
              <p:cNvPr id="4" name="Ink 3">
                <a:extLst>
                  <a:ext uri="{FF2B5EF4-FFF2-40B4-BE49-F238E27FC236}">
                    <a16:creationId xmlns:a16="http://schemas.microsoft.com/office/drawing/2014/main" id="{D63E9446-60D6-42D8-ACF7-68F6AFB51A24}"/>
                  </a:ext>
                </a:extLst>
              </p:cNvPr>
              <p:cNvPicPr/>
              <p:nvPr/>
            </p:nvPicPr>
            <p:blipFill>
              <a:blip r:embed="rId4"/>
              <a:stretch>
                <a:fillRect/>
              </a:stretch>
            </p:blipFill>
            <p:spPr>
              <a:xfrm>
                <a:off x="419400" y="138240"/>
                <a:ext cx="8039160" cy="3733920"/>
              </a:xfrm>
              <a:prstGeom prst="rect">
                <a:avLst/>
              </a:prstGeom>
            </p:spPr>
          </p:pic>
        </mc:Fallback>
      </mc:AlternateContent>
    </p:spTree>
    <p:extLst>
      <p:ext uri="{BB962C8B-B14F-4D97-AF65-F5344CB8AC3E}">
        <p14:creationId xmlns:p14="http://schemas.microsoft.com/office/powerpoint/2010/main" val="624855704"/>
      </p:ext>
    </p:extLst>
  </p:cSld>
  <p:clrMapOvr>
    <a:masterClrMapping/>
  </p:clrMapOvr>
  <p:transition spd="med">
    <p:wipe dir="r"/>
  </p:transition>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2F2354-42A6-4191-B7DD-632A9EDE9AD9}"/>
              </a:ext>
            </a:extLst>
          </p:cNvPr>
          <p:cNvSpPr>
            <a:spLocks noGrp="1"/>
          </p:cNvSpPr>
          <p:nvPr>
            <p:ph type="title"/>
          </p:nvPr>
        </p:nvSpPr>
        <p:spPr>
          <a:xfrm>
            <a:off x="0" y="0"/>
            <a:ext cx="7724818" cy="640080"/>
          </a:xfrm>
        </p:spPr>
        <p:txBody>
          <a:bodyPr/>
          <a:lstStyle/>
          <a:p>
            <a:r>
              <a:rPr lang="en-US" dirty="0"/>
              <a:t>Example 2 : Apple Orchid – True Mean</a:t>
            </a:r>
          </a:p>
        </p:txBody>
      </p:sp>
      <p:sp>
        <p:nvSpPr>
          <p:cNvPr id="3" name="Content Placeholder 2">
            <a:extLst>
              <a:ext uri="{FF2B5EF4-FFF2-40B4-BE49-F238E27FC236}">
                <a16:creationId xmlns:a16="http://schemas.microsoft.com/office/drawing/2014/main" id="{91F28454-D62F-44CA-8482-0A4C685E370E}"/>
              </a:ext>
            </a:extLst>
          </p:cNvPr>
          <p:cNvSpPr>
            <a:spLocks noGrp="1"/>
          </p:cNvSpPr>
          <p:nvPr>
            <p:ph sz="half" idx="13"/>
          </p:nvPr>
        </p:nvSpPr>
        <p:spPr>
          <a:xfrm>
            <a:off x="192901" y="1067217"/>
            <a:ext cx="7992858" cy="3200400"/>
          </a:xfrm>
        </p:spPr>
        <p:txBody>
          <a:bodyPr/>
          <a:lstStyle/>
          <a:p>
            <a:r>
              <a:rPr lang="en-US" b="0" i="0" dirty="0">
                <a:solidFill>
                  <a:srgbClr val="333333"/>
                </a:solidFill>
                <a:effectLst/>
                <a:latin typeface="Verdana" panose="020B0604030504040204" pitchFamily="34" charset="0"/>
              </a:rPr>
              <a:t>Our result was not exact ... it is random after all ... but the true mean is inside our confidence interval of 86 ± 1.79 (in other words 84.21 to 87.79)</a:t>
            </a:r>
          </a:p>
          <a:p>
            <a:r>
              <a:rPr lang="en-US" b="0" i="0" dirty="0">
                <a:solidFill>
                  <a:srgbClr val="333333"/>
                </a:solidFill>
                <a:effectLst/>
                <a:latin typeface="Verdana" panose="020B0604030504040204" pitchFamily="34" charset="0"/>
              </a:rPr>
              <a:t>Now the true mean</a:t>
            </a:r>
            <a:r>
              <a:rPr lang="en-US" b="1" i="0" dirty="0">
                <a:solidFill>
                  <a:srgbClr val="333333"/>
                </a:solidFill>
                <a:effectLst/>
                <a:latin typeface="Verdana" panose="020B0604030504040204" pitchFamily="34" charset="0"/>
              </a:rPr>
              <a:t> might not</a:t>
            </a:r>
            <a:r>
              <a:rPr lang="en-US" b="0" i="0" dirty="0">
                <a:solidFill>
                  <a:srgbClr val="333333"/>
                </a:solidFill>
                <a:effectLst/>
                <a:latin typeface="Verdana" panose="020B0604030504040204" pitchFamily="34" charset="0"/>
              </a:rPr>
              <a:t> be inside the confidence interval, but in </a:t>
            </a:r>
            <a:r>
              <a:rPr lang="en-US" b="1" i="0" dirty="0">
                <a:solidFill>
                  <a:srgbClr val="333333"/>
                </a:solidFill>
                <a:effectLst/>
                <a:latin typeface="Verdana" panose="020B0604030504040204" pitchFamily="34" charset="0"/>
              </a:rPr>
              <a:t>95% of the cases it will be!</a:t>
            </a:r>
            <a:endParaRPr lang="en-US" dirty="0"/>
          </a:p>
        </p:txBody>
      </p:sp>
      <p:pic>
        <p:nvPicPr>
          <p:cNvPr id="4" name="Picture 3">
            <a:extLst>
              <a:ext uri="{FF2B5EF4-FFF2-40B4-BE49-F238E27FC236}">
                <a16:creationId xmlns:a16="http://schemas.microsoft.com/office/drawing/2014/main" id="{069E5917-91C9-420D-8EDF-D7CF5E6E5593}"/>
              </a:ext>
            </a:extLst>
          </p:cNvPr>
          <p:cNvPicPr>
            <a:picLocks noChangeAspect="1"/>
          </p:cNvPicPr>
          <p:nvPr/>
        </p:nvPicPr>
        <p:blipFill>
          <a:blip r:embed="rId2"/>
          <a:stretch>
            <a:fillRect/>
          </a:stretch>
        </p:blipFill>
        <p:spPr>
          <a:xfrm>
            <a:off x="2736860" y="2161759"/>
            <a:ext cx="1559567" cy="1396316"/>
          </a:xfrm>
          <a:prstGeom prst="rect">
            <a:avLst/>
          </a:prstGeom>
        </p:spPr>
      </p:pic>
      <p:sp>
        <p:nvSpPr>
          <p:cNvPr id="5" name="TextBox 4">
            <a:extLst>
              <a:ext uri="{FF2B5EF4-FFF2-40B4-BE49-F238E27FC236}">
                <a16:creationId xmlns:a16="http://schemas.microsoft.com/office/drawing/2014/main" id="{C850EEFF-FC48-4B46-9E77-48591528E96F}"/>
              </a:ext>
            </a:extLst>
          </p:cNvPr>
          <p:cNvSpPr txBox="1"/>
          <p:nvPr/>
        </p:nvSpPr>
        <p:spPr>
          <a:xfrm>
            <a:off x="68893" y="4229973"/>
            <a:ext cx="9110805" cy="369332"/>
          </a:xfrm>
          <a:prstGeom prst="rect">
            <a:avLst/>
          </a:prstGeom>
          <a:noFill/>
        </p:spPr>
        <p:txBody>
          <a:bodyPr wrap="square" rtlCol="0">
            <a:spAutoFit/>
          </a:bodyPr>
          <a:lstStyle/>
          <a:p>
            <a:pPr>
              <a:spcBef>
                <a:spcPts val="0"/>
              </a:spcBef>
              <a:spcAft>
                <a:spcPts val="0"/>
              </a:spcAft>
              <a:buClr>
                <a:schemeClr val="bg1"/>
              </a:buClr>
            </a:pPr>
            <a:r>
              <a:rPr lang="en-US" sz="1800" b="1" i="0" dirty="0">
                <a:solidFill>
                  <a:srgbClr val="2664B5"/>
                </a:solidFill>
                <a:effectLst/>
                <a:latin typeface="Verdana" panose="020B0604030504040204" pitchFamily="34" charset="0"/>
              </a:rPr>
              <a:t>95% of all "95% Confidence Intervals" will include the true mean.</a:t>
            </a:r>
            <a:endParaRPr lang="en-US" b="1" dirty="0">
              <a:solidFill>
                <a:schemeClr val="bg2"/>
              </a:solidFill>
              <a:latin typeface="+mn-lt"/>
            </a:endParaRPr>
          </a:p>
        </p:txBody>
      </p:sp>
      <mc:AlternateContent xmlns:mc="http://schemas.openxmlformats.org/markup-compatibility/2006">
        <mc:Choice xmlns:p14="http://schemas.microsoft.com/office/powerpoint/2010/main" Requires="p14">
          <p:contentPart p14:bwMode="auto" r:id="rId3">
            <p14:nvContentPartPr>
              <p14:cNvPr id="6" name="Ink 5">
                <a:extLst>
                  <a:ext uri="{FF2B5EF4-FFF2-40B4-BE49-F238E27FC236}">
                    <a16:creationId xmlns:a16="http://schemas.microsoft.com/office/drawing/2014/main" id="{A774A55A-3693-4E7E-B7CC-BAB0F8873243}"/>
                  </a:ext>
                </a:extLst>
              </p14:cNvPr>
              <p14:cNvContentPartPr/>
              <p14:nvPr/>
            </p14:nvContentPartPr>
            <p14:xfrm>
              <a:off x="495360" y="1486080"/>
              <a:ext cx="7691760" cy="833760"/>
            </p14:xfrm>
          </p:contentPart>
        </mc:Choice>
        <mc:Fallback>
          <p:pic>
            <p:nvPicPr>
              <p:cNvPr id="6" name="Ink 5">
                <a:extLst>
                  <a:ext uri="{FF2B5EF4-FFF2-40B4-BE49-F238E27FC236}">
                    <a16:creationId xmlns:a16="http://schemas.microsoft.com/office/drawing/2014/main" id="{A774A55A-3693-4E7E-B7CC-BAB0F8873243}"/>
                  </a:ext>
                </a:extLst>
              </p:cNvPr>
              <p:cNvPicPr/>
              <p:nvPr/>
            </p:nvPicPr>
            <p:blipFill>
              <a:blip r:embed="rId4"/>
              <a:stretch>
                <a:fillRect/>
              </a:stretch>
            </p:blipFill>
            <p:spPr>
              <a:xfrm>
                <a:off x="486000" y="1476720"/>
                <a:ext cx="7710480" cy="852480"/>
              </a:xfrm>
              <a:prstGeom prst="rect">
                <a:avLst/>
              </a:prstGeom>
            </p:spPr>
          </p:pic>
        </mc:Fallback>
      </mc:AlternateContent>
    </p:spTree>
    <p:extLst>
      <p:ext uri="{BB962C8B-B14F-4D97-AF65-F5344CB8AC3E}">
        <p14:creationId xmlns:p14="http://schemas.microsoft.com/office/powerpoint/2010/main" val="2113492613"/>
      </p:ext>
    </p:extLst>
  </p:cSld>
  <p:clrMapOvr>
    <a:masterClrMapping/>
  </p:clrMapOvr>
  <p:transition spd="med">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904F4-B3AA-4651-8827-B73C49F7833D}"/>
              </a:ext>
            </a:extLst>
          </p:cNvPr>
          <p:cNvSpPr>
            <a:spLocks noGrp="1"/>
          </p:cNvSpPr>
          <p:nvPr>
            <p:ph type="title"/>
          </p:nvPr>
        </p:nvSpPr>
        <p:spPr>
          <a:xfrm>
            <a:off x="92692" y="90259"/>
            <a:ext cx="7955280" cy="640080"/>
          </a:xfrm>
        </p:spPr>
        <p:txBody>
          <a:bodyPr/>
          <a:lstStyle/>
          <a:p>
            <a:r>
              <a:rPr lang="en-US" dirty="0"/>
              <a:t>Descriptive Statistics – Example</a:t>
            </a:r>
            <a:br>
              <a:rPr lang="en-US" dirty="0"/>
            </a:br>
            <a:r>
              <a:rPr lang="en-US" sz="1400" b="0" i="0" dirty="0">
                <a:solidFill>
                  <a:schemeClr val="bg2">
                    <a:lumMod val="50000"/>
                    <a:lumOff val="50000"/>
                  </a:schemeClr>
                </a:solidFill>
                <a:effectLst/>
                <a:latin typeface="Raleway" panose="020B0604020202020204" pitchFamily="2" charset="0"/>
              </a:rPr>
              <a:t>You’ve performed a survey to 40 respondents about their favorite car color. And now you have a spreadsheet with the results.</a:t>
            </a:r>
            <a:endParaRPr lang="en-US" sz="1400" dirty="0">
              <a:solidFill>
                <a:schemeClr val="bg2">
                  <a:lumMod val="50000"/>
                  <a:lumOff val="50000"/>
                </a:schemeClr>
              </a:solidFill>
            </a:endParaRPr>
          </a:p>
        </p:txBody>
      </p:sp>
      <p:pic>
        <p:nvPicPr>
          <p:cNvPr id="6" name="Picture 5">
            <a:extLst>
              <a:ext uri="{FF2B5EF4-FFF2-40B4-BE49-F238E27FC236}">
                <a16:creationId xmlns:a16="http://schemas.microsoft.com/office/drawing/2014/main" id="{B3228BA1-7BCC-4DBF-B8DF-46CA5095B60A}"/>
              </a:ext>
            </a:extLst>
          </p:cNvPr>
          <p:cNvPicPr>
            <a:picLocks noChangeAspect="1"/>
          </p:cNvPicPr>
          <p:nvPr/>
        </p:nvPicPr>
        <p:blipFill>
          <a:blip r:embed="rId2"/>
          <a:stretch>
            <a:fillRect/>
          </a:stretch>
        </p:blipFill>
        <p:spPr>
          <a:xfrm>
            <a:off x="4967601" y="1001400"/>
            <a:ext cx="3819787" cy="3870213"/>
          </a:xfrm>
          <a:prstGeom prst="rect">
            <a:avLst/>
          </a:prstGeom>
        </p:spPr>
      </p:pic>
      <p:pic>
        <p:nvPicPr>
          <p:cNvPr id="8" name="Picture 7">
            <a:extLst>
              <a:ext uri="{FF2B5EF4-FFF2-40B4-BE49-F238E27FC236}">
                <a16:creationId xmlns:a16="http://schemas.microsoft.com/office/drawing/2014/main" id="{55E05251-8E9D-4D6A-B576-9C5E754984C9}"/>
              </a:ext>
            </a:extLst>
          </p:cNvPr>
          <p:cNvPicPr>
            <a:picLocks noChangeAspect="1"/>
          </p:cNvPicPr>
          <p:nvPr/>
        </p:nvPicPr>
        <p:blipFill>
          <a:blip r:embed="rId3"/>
          <a:stretch>
            <a:fillRect/>
          </a:stretch>
        </p:blipFill>
        <p:spPr>
          <a:xfrm>
            <a:off x="0" y="1319603"/>
            <a:ext cx="4086225" cy="2905125"/>
          </a:xfrm>
          <a:prstGeom prst="rect">
            <a:avLst/>
          </a:prstGeom>
        </p:spPr>
      </p:pic>
      <p:sp>
        <p:nvSpPr>
          <p:cNvPr id="9" name="Arrow: Right 8">
            <a:extLst>
              <a:ext uri="{FF2B5EF4-FFF2-40B4-BE49-F238E27FC236}">
                <a16:creationId xmlns:a16="http://schemas.microsoft.com/office/drawing/2014/main" id="{0469365B-6D82-45DF-992A-981C62806CBC}"/>
              </a:ext>
            </a:extLst>
          </p:cNvPr>
          <p:cNvSpPr/>
          <p:nvPr/>
        </p:nvSpPr>
        <p:spPr>
          <a:xfrm>
            <a:off x="4176400" y="2571750"/>
            <a:ext cx="470757" cy="227817"/>
          </a:xfrm>
          <a:prstGeom prst="rightArrow">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0" name="TextBox 9">
            <a:extLst>
              <a:ext uri="{FF2B5EF4-FFF2-40B4-BE49-F238E27FC236}">
                <a16:creationId xmlns:a16="http://schemas.microsoft.com/office/drawing/2014/main" id="{7316BE2A-45A8-4088-860B-9805A9D5C7B4}"/>
              </a:ext>
            </a:extLst>
          </p:cNvPr>
          <p:cNvSpPr txBox="1"/>
          <p:nvPr/>
        </p:nvSpPr>
        <p:spPr>
          <a:xfrm>
            <a:off x="112734" y="4321479"/>
            <a:ext cx="4409162" cy="307777"/>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lumMod val="50000"/>
                    <a:lumOff val="50000"/>
                  </a:schemeClr>
                </a:solidFill>
                <a:latin typeface="+mn-lt"/>
              </a:rPr>
              <a:t>Descriptive statistics simply describes the data</a:t>
            </a:r>
          </a:p>
        </p:txBody>
      </p:sp>
    </p:spTree>
    <p:extLst>
      <p:ext uri="{BB962C8B-B14F-4D97-AF65-F5344CB8AC3E}">
        <p14:creationId xmlns:p14="http://schemas.microsoft.com/office/powerpoint/2010/main" val="889781105"/>
      </p:ext>
    </p:extLst>
  </p:cSld>
  <p:clrMapOvr>
    <a:masterClrMapping/>
  </p:clrMapOvr>
  <p:transition spd="med">
    <p:wipe dir="r"/>
  </p:transition>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ABF32E-BDE9-4E9F-921C-9C211F8C1F47}"/>
              </a:ext>
            </a:extLst>
          </p:cNvPr>
          <p:cNvSpPr>
            <a:spLocks noGrp="1"/>
          </p:cNvSpPr>
          <p:nvPr>
            <p:ph type="title"/>
          </p:nvPr>
        </p:nvSpPr>
        <p:spPr>
          <a:xfrm>
            <a:off x="0" y="0"/>
            <a:ext cx="7405405" cy="640080"/>
          </a:xfrm>
        </p:spPr>
        <p:txBody>
          <a:bodyPr/>
          <a:lstStyle/>
          <a:p>
            <a:r>
              <a:rPr lang="en-US" dirty="0"/>
              <a:t>Example 2 : Apple Orchid – True Mean</a:t>
            </a:r>
          </a:p>
        </p:txBody>
      </p:sp>
      <p:sp>
        <p:nvSpPr>
          <p:cNvPr id="3" name="Content Placeholder 2">
            <a:extLst>
              <a:ext uri="{FF2B5EF4-FFF2-40B4-BE49-F238E27FC236}">
                <a16:creationId xmlns:a16="http://schemas.microsoft.com/office/drawing/2014/main" id="{0021A390-1305-41FB-9234-300AEB0D0761}"/>
              </a:ext>
            </a:extLst>
          </p:cNvPr>
          <p:cNvSpPr>
            <a:spLocks noGrp="1"/>
          </p:cNvSpPr>
          <p:nvPr>
            <p:ph sz="half" idx="13"/>
          </p:nvPr>
        </p:nvSpPr>
        <p:spPr>
          <a:xfrm>
            <a:off x="167849" y="971550"/>
            <a:ext cx="8525214" cy="3200400"/>
          </a:xfrm>
        </p:spPr>
        <p:txBody>
          <a:bodyPr/>
          <a:lstStyle/>
          <a:p>
            <a:pPr algn="l"/>
            <a:r>
              <a:rPr lang="en-US" b="0" i="0" dirty="0">
                <a:solidFill>
                  <a:srgbClr val="333333"/>
                </a:solidFill>
                <a:effectLst/>
                <a:latin typeface="Verdana" panose="020B0604030504040204" pitchFamily="34" charset="0"/>
              </a:rPr>
              <a:t>That </a:t>
            </a:r>
            <a:r>
              <a:rPr lang="en-US" b="1" i="0" dirty="0">
                <a:solidFill>
                  <a:srgbClr val="333333"/>
                </a:solidFill>
                <a:effectLst/>
                <a:latin typeface="Verdana" panose="020B0604030504040204" pitchFamily="34" charset="0"/>
              </a:rPr>
              <a:t>does not include the true mean.</a:t>
            </a:r>
            <a:r>
              <a:rPr lang="en-US" b="0" i="0" dirty="0">
                <a:solidFill>
                  <a:srgbClr val="333333"/>
                </a:solidFill>
                <a:effectLst/>
                <a:latin typeface="Verdana" panose="020B0604030504040204" pitchFamily="34" charset="0"/>
              </a:rPr>
              <a:t> That can happen about 5% of the time for a 95% confidence interval.</a:t>
            </a:r>
          </a:p>
          <a:p>
            <a:pPr algn="l"/>
            <a:r>
              <a:rPr lang="en-US" b="0" i="0" dirty="0">
                <a:solidFill>
                  <a:srgbClr val="333333"/>
                </a:solidFill>
                <a:effectLst/>
                <a:latin typeface="Verdana" panose="020B0604030504040204" pitchFamily="34" charset="0"/>
              </a:rPr>
              <a:t>So how do we know if our sample is one of the "lucky" 95% or the unlucky 5%? Unless we get to measure the whole population like above, we simply </a:t>
            </a:r>
            <a:r>
              <a:rPr lang="en-US" b="1" i="0" dirty="0">
                <a:solidFill>
                  <a:srgbClr val="333333"/>
                </a:solidFill>
                <a:effectLst/>
                <a:latin typeface="Verdana" panose="020B0604030504040204" pitchFamily="34" charset="0"/>
              </a:rPr>
              <a:t>don't know</a:t>
            </a:r>
            <a:r>
              <a:rPr lang="en-US" b="0" i="0" dirty="0">
                <a:solidFill>
                  <a:srgbClr val="333333"/>
                </a:solidFill>
                <a:effectLst/>
                <a:latin typeface="Verdana" panose="020B0604030504040204" pitchFamily="34" charset="0"/>
              </a:rPr>
              <a:t>.</a:t>
            </a:r>
          </a:p>
          <a:p>
            <a:pPr algn="l"/>
            <a:r>
              <a:rPr lang="en-US" b="0" i="0" dirty="0">
                <a:solidFill>
                  <a:srgbClr val="333333"/>
                </a:solidFill>
                <a:effectLst/>
                <a:latin typeface="Verdana" panose="020B0604030504040204" pitchFamily="34" charset="0"/>
              </a:rPr>
              <a:t>This is the risk in sampling, we might have a "bad" sample</a:t>
            </a:r>
          </a:p>
          <a:p>
            <a:endParaRPr lang="en-US" dirty="0"/>
          </a:p>
        </p:txBody>
      </p:sp>
    </p:spTree>
    <p:extLst>
      <p:ext uri="{BB962C8B-B14F-4D97-AF65-F5344CB8AC3E}">
        <p14:creationId xmlns:p14="http://schemas.microsoft.com/office/powerpoint/2010/main" val="1183236552"/>
      </p:ext>
    </p:extLst>
  </p:cSld>
  <p:clrMapOvr>
    <a:masterClrMapping/>
  </p:clrMapOvr>
  <p:transition spd="med">
    <p:wipe dir="r"/>
  </p:transition>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FF2ABE-3BE8-4829-87AD-DF2FD55E2139}"/>
              </a:ext>
            </a:extLst>
          </p:cNvPr>
          <p:cNvSpPr>
            <a:spLocks noGrp="1"/>
          </p:cNvSpPr>
          <p:nvPr>
            <p:ph type="title"/>
          </p:nvPr>
        </p:nvSpPr>
        <p:spPr>
          <a:xfrm>
            <a:off x="0" y="0"/>
            <a:ext cx="4295219" cy="640080"/>
          </a:xfrm>
        </p:spPr>
        <p:txBody>
          <a:bodyPr/>
          <a:lstStyle/>
          <a:p>
            <a:r>
              <a:rPr lang="en-US" dirty="0"/>
              <a:t>Sampling Techniques</a:t>
            </a:r>
          </a:p>
        </p:txBody>
      </p:sp>
      <p:pic>
        <p:nvPicPr>
          <p:cNvPr id="5" name="Picture 4">
            <a:extLst>
              <a:ext uri="{FF2B5EF4-FFF2-40B4-BE49-F238E27FC236}">
                <a16:creationId xmlns:a16="http://schemas.microsoft.com/office/drawing/2014/main" id="{71C28B5A-5FB7-4BDA-82B0-2EE3301369A0}"/>
              </a:ext>
            </a:extLst>
          </p:cNvPr>
          <p:cNvPicPr>
            <a:picLocks noChangeAspect="1"/>
          </p:cNvPicPr>
          <p:nvPr/>
        </p:nvPicPr>
        <p:blipFill>
          <a:blip r:embed="rId2"/>
          <a:stretch>
            <a:fillRect/>
          </a:stretch>
        </p:blipFill>
        <p:spPr>
          <a:xfrm>
            <a:off x="960788" y="982487"/>
            <a:ext cx="6172927" cy="2456037"/>
          </a:xfrm>
          <a:prstGeom prst="rect">
            <a:avLst/>
          </a:prstGeom>
        </p:spPr>
      </p:pic>
      <mc:AlternateContent xmlns:mc="http://schemas.openxmlformats.org/markup-compatibility/2006">
        <mc:Choice xmlns:p14="http://schemas.microsoft.com/office/powerpoint/2010/main" Requires="p14">
          <p:contentPart p14:bwMode="auto" r:id="rId3">
            <p14:nvContentPartPr>
              <p14:cNvPr id="6" name="Ink 5">
                <a:extLst>
                  <a:ext uri="{FF2B5EF4-FFF2-40B4-BE49-F238E27FC236}">
                    <a16:creationId xmlns:a16="http://schemas.microsoft.com/office/drawing/2014/main" id="{6879DE3B-214B-4713-8708-D0386EB5B2DA}"/>
                  </a:ext>
                </a:extLst>
              </p14:cNvPr>
              <p14:cNvContentPartPr/>
              <p14:nvPr/>
            </p14:nvContentPartPr>
            <p14:xfrm>
              <a:off x="100080" y="223920"/>
              <a:ext cx="8372880" cy="4905720"/>
            </p14:xfrm>
          </p:contentPart>
        </mc:Choice>
        <mc:Fallback>
          <p:pic>
            <p:nvPicPr>
              <p:cNvPr id="6" name="Ink 5">
                <a:extLst>
                  <a:ext uri="{FF2B5EF4-FFF2-40B4-BE49-F238E27FC236}">
                    <a16:creationId xmlns:a16="http://schemas.microsoft.com/office/drawing/2014/main" id="{6879DE3B-214B-4713-8708-D0386EB5B2DA}"/>
                  </a:ext>
                </a:extLst>
              </p:cNvPr>
              <p:cNvPicPr/>
              <p:nvPr/>
            </p:nvPicPr>
            <p:blipFill>
              <a:blip r:embed="rId4"/>
              <a:stretch>
                <a:fillRect/>
              </a:stretch>
            </p:blipFill>
            <p:spPr>
              <a:xfrm>
                <a:off x="90720" y="214560"/>
                <a:ext cx="8391600" cy="4924440"/>
              </a:xfrm>
              <a:prstGeom prst="rect">
                <a:avLst/>
              </a:prstGeom>
            </p:spPr>
          </p:pic>
        </mc:Fallback>
      </mc:AlternateContent>
    </p:spTree>
    <p:extLst>
      <p:ext uri="{BB962C8B-B14F-4D97-AF65-F5344CB8AC3E}">
        <p14:creationId xmlns:p14="http://schemas.microsoft.com/office/powerpoint/2010/main" val="2500200924"/>
      </p:ext>
    </p:extLst>
  </p:cSld>
  <p:clrMapOvr>
    <a:masterClrMapping/>
  </p:clrMapOvr>
  <p:transition spd="med">
    <p:wipe dir="r"/>
  </p:transition>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BE16E-4481-4CB3-838A-77146EB684BF}"/>
              </a:ext>
            </a:extLst>
          </p:cNvPr>
          <p:cNvSpPr>
            <a:spLocks noGrp="1"/>
          </p:cNvSpPr>
          <p:nvPr>
            <p:ph type="title"/>
          </p:nvPr>
        </p:nvSpPr>
        <p:spPr>
          <a:xfrm>
            <a:off x="0" y="0"/>
            <a:ext cx="4295219" cy="640080"/>
          </a:xfrm>
        </p:spPr>
        <p:txBody>
          <a:bodyPr/>
          <a:lstStyle/>
          <a:p>
            <a:r>
              <a:rPr lang="en-US" dirty="0"/>
              <a:t>Importance of p-Value</a:t>
            </a:r>
          </a:p>
        </p:txBody>
      </p:sp>
      <p:sp>
        <p:nvSpPr>
          <p:cNvPr id="3" name="Content Placeholder 2">
            <a:extLst>
              <a:ext uri="{FF2B5EF4-FFF2-40B4-BE49-F238E27FC236}">
                <a16:creationId xmlns:a16="http://schemas.microsoft.com/office/drawing/2014/main" id="{D108A976-A6DF-4921-83B1-412A058B7907}"/>
              </a:ext>
            </a:extLst>
          </p:cNvPr>
          <p:cNvSpPr>
            <a:spLocks noGrp="1"/>
          </p:cNvSpPr>
          <p:nvPr>
            <p:ph sz="half" idx="13"/>
          </p:nvPr>
        </p:nvSpPr>
        <p:spPr>
          <a:xfrm>
            <a:off x="117744" y="703963"/>
            <a:ext cx="8562793" cy="3749040"/>
          </a:xfrm>
        </p:spPr>
        <p:txBody>
          <a:bodyPr>
            <a:normAutofit fontScale="85000" lnSpcReduction="20000"/>
          </a:bodyPr>
          <a:lstStyle/>
          <a:p>
            <a:pPr marL="0" indent="0">
              <a:buNone/>
            </a:pPr>
            <a:r>
              <a:rPr lang="en-US" dirty="0"/>
              <a:t>Let’s perform an experiment : </a:t>
            </a:r>
          </a:p>
          <a:p>
            <a:pPr marL="342900" indent="-342900">
              <a:buFont typeface="+mj-lt"/>
              <a:buAutoNum type="arabicPeriod"/>
            </a:pPr>
            <a:r>
              <a:rPr lang="en-US" dirty="0"/>
              <a:t>Flip a coin &gt; Assume we get “head</a:t>
            </a:r>
          </a:p>
          <a:p>
            <a:pPr marL="688975" lvl="1" indent="-342900"/>
            <a:r>
              <a:rPr lang="en-US" dirty="0"/>
              <a:t>P(H) = 0.5</a:t>
            </a:r>
          </a:p>
          <a:p>
            <a:pPr marL="342900" indent="-342900">
              <a:buFont typeface="+mj-lt"/>
              <a:buAutoNum type="arabicPeriod"/>
            </a:pPr>
            <a:r>
              <a:rPr lang="en-US" dirty="0"/>
              <a:t>Flip the coin again &gt; assume get “head” again</a:t>
            </a:r>
          </a:p>
          <a:p>
            <a:pPr marL="688975" lvl="1" indent="-342900"/>
            <a:r>
              <a:rPr lang="en-US" dirty="0"/>
              <a:t>P(H | H) = 0.5 X 0.5 = 0.25</a:t>
            </a:r>
          </a:p>
          <a:p>
            <a:pPr marL="346075" lvl="1" indent="0">
              <a:buNone/>
            </a:pPr>
            <a:endParaRPr lang="en-US" dirty="0"/>
          </a:p>
          <a:p>
            <a:pPr marL="0" indent="0">
              <a:buNone/>
            </a:pPr>
            <a:r>
              <a:rPr lang="en-US" b="1" dirty="0"/>
              <a:t>Now before proceeding : “ Is this a fair coin ?”</a:t>
            </a:r>
          </a:p>
          <a:p>
            <a:pPr marL="0" indent="0">
              <a:buNone/>
            </a:pPr>
            <a:r>
              <a:rPr lang="en-US" dirty="0">
                <a:solidFill>
                  <a:schemeClr val="bg1"/>
                </a:solidFill>
              </a:rPr>
              <a:t>What’s your answer ? Yes or No</a:t>
            </a:r>
          </a:p>
          <a:p>
            <a:pPr marL="0" indent="0">
              <a:buNone/>
            </a:pPr>
            <a:r>
              <a:rPr lang="en-US" dirty="0">
                <a:solidFill>
                  <a:schemeClr val="bg1"/>
                </a:solidFill>
              </a:rPr>
              <a:t>How do you support your answer ? </a:t>
            </a:r>
          </a:p>
          <a:p>
            <a:pPr marL="0" indent="0">
              <a:buNone/>
            </a:pPr>
            <a:endParaRPr lang="en-US" dirty="0"/>
          </a:p>
          <a:p>
            <a:pPr marL="0" indent="0">
              <a:buNone/>
            </a:pPr>
            <a:r>
              <a:rPr lang="en-US" dirty="0"/>
              <a:t>Here Null hypothesis = Ho = Is a fair coin !!</a:t>
            </a:r>
          </a:p>
          <a:p>
            <a:pPr marL="0" indent="0">
              <a:buNone/>
            </a:pPr>
            <a:r>
              <a:rPr lang="en-US" dirty="0"/>
              <a:t>Let’s keep on tossing our coin to figure out whether we should </a:t>
            </a:r>
          </a:p>
          <a:p>
            <a:pPr marL="342900" indent="-342900">
              <a:buAutoNum type="arabicPeriod"/>
            </a:pPr>
            <a:r>
              <a:rPr lang="en-US" dirty="0"/>
              <a:t>Reject Ho</a:t>
            </a:r>
          </a:p>
          <a:p>
            <a:pPr marL="342900" indent="-342900">
              <a:buAutoNum type="arabicPeriod"/>
            </a:pPr>
            <a:r>
              <a:rPr lang="en-US" dirty="0"/>
              <a:t>Accept Ho</a:t>
            </a:r>
          </a:p>
        </p:txBody>
      </p:sp>
      <p:pic>
        <p:nvPicPr>
          <p:cNvPr id="5" name="Picture 4">
            <a:extLst>
              <a:ext uri="{FF2B5EF4-FFF2-40B4-BE49-F238E27FC236}">
                <a16:creationId xmlns:a16="http://schemas.microsoft.com/office/drawing/2014/main" id="{53736F0E-6124-42BF-B844-5ED66E5449AD}"/>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888929" y="992062"/>
            <a:ext cx="2038350" cy="3048000"/>
          </a:xfrm>
          <a:prstGeom prst="rect">
            <a:avLst/>
          </a:prstGeom>
        </p:spPr>
      </p:pic>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EB2F28EE-C926-4FAF-A7A8-E511150BCAAC}"/>
                  </a:ext>
                </a:extLst>
              </p14:cNvPr>
              <p14:cNvContentPartPr/>
              <p14:nvPr/>
            </p14:nvContentPartPr>
            <p14:xfrm>
              <a:off x="452520" y="695160"/>
              <a:ext cx="6024960" cy="3134160"/>
            </p14:xfrm>
          </p:contentPart>
        </mc:Choice>
        <mc:Fallback>
          <p:pic>
            <p:nvPicPr>
              <p:cNvPr id="4" name="Ink 3">
                <a:extLst>
                  <a:ext uri="{FF2B5EF4-FFF2-40B4-BE49-F238E27FC236}">
                    <a16:creationId xmlns:a16="http://schemas.microsoft.com/office/drawing/2014/main" id="{EB2F28EE-C926-4FAF-A7A8-E511150BCAAC}"/>
                  </a:ext>
                </a:extLst>
              </p:cNvPr>
              <p:cNvPicPr/>
              <p:nvPr/>
            </p:nvPicPr>
            <p:blipFill>
              <a:blip r:embed="rId5"/>
              <a:stretch>
                <a:fillRect/>
              </a:stretch>
            </p:blipFill>
            <p:spPr>
              <a:xfrm>
                <a:off x="443160" y="685800"/>
                <a:ext cx="6043680" cy="3152880"/>
              </a:xfrm>
              <a:prstGeom prst="rect">
                <a:avLst/>
              </a:prstGeom>
            </p:spPr>
          </p:pic>
        </mc:Fallback>
      </mc:AlternateContent>
    </p:spTree>
    <p:extLst>
      <p:ext uri="{BB962C8B-B14F-4D97-AF65-F5344CB8AC3E}">
        <p14:creationId xmlns:p14="http://schemas.microsoft.com/office/powerpoint/2010/main" val="798158213"/>
      </p:ext>
    </p:extLst>
  </p:cSld>
  <p:clrMapOvr>
    <a:masterClrMapping/>
  </p:clrMapOvr>
  <p:transition spd="med">
    <p:wipe dir="r"/>
  </p:transition>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4E8BB-1F7E-47B3-8FD9-E425DA87F06A}"/>
              </a:ext>
            </a:extLst>
          </p:cNvPr>
          <p:cNvSpPr>
            <a:spLocks noGrp="1"/>
          </p:cNvSpPr>
          <p:nvPr>
            <p:ph type="title"/>
          </p:nvPr>
        </p:nvSpPr>
        <p:spPr>
          <a:xfrm>
            <a:off x="0" y="0"/>
            <a:ext cx="5025460" cy="640080"/>
          </a:xfrm>
        </p:spPr>
        <p:txBody>
          <a:bodyPr/>
          <a:lstStyle/>
          <a:p>
            <a:r>
              <a:rPr lang="en-US" dirty="0"/>
              <a:t>Importance of p-Value</a:t>
            </a:r>
          </a:p>
        </p:txBody>
      </p:sp>
      <p:sp>
        <p:nvSpPr>
          <p:cNvPr id="3" name="Content Placeholder 2">
            <a:extLst>
              <a:ext uri="{FF2B5EF4-FFF2-40B4-BE49-F238E27FC236}">
                <a16:creationId xmlns:a16="http://schemas.microsoft.com/office/drawing/2014/main" id="{F4A75CB9-B8B9-4142-93BA-1A68605957A3}"/>
              </a:ext>
            </a:extLst>
          </p:cNvPr>
          <p:cNvSpPr>
            <a:spLocks noGrp="1"/>
          </p:cNvSpPr>
          <p:nvPr>
            <p:ph sz="half" idx="13"/>
          </p:nvPr>
        </p:nvSpPr>
        <p:spPr>
          <a:xfrm>
            <a:off x="186637" y="691436"/>
            <a:ext cx="6502261" cy="517326"/>
          </a:xfrm>
        </p:spPr>
        <p:txBody>
          <a:bodyPr/>
          <a:lstStyle/>
          <a:p>
            <a:pPr marL="0" indent="0">
              <a:buNone/>
            </a:pPr>
            <a:r>
              <a:rPr lang="en-US" dirty="0"/>
              <a:t>3.  Flip a coin &gt; Assume we get “head” again</a:t>
            </a:r>
          </a:p>
          <a:p>
            <a:pPr marL="688975" lvl="1" indent="-342900"/>
            <a:r>
              <a:rPr lang="en-US" dirty="0"/>
              <a:t>P(H | 2H) = 0.5 X 0.5 X 0.5 = 0.125</a:t>
            </a:r>
          </a:p>
          <a:p>
            <a:pPr marL="688975" lvl="1" indent="-342900"/>
            <a:endParaRPr lang="en-US" dirty="0"/>
          </a:p>
          <a:p>
            <a:endParaRPr lang="en-US" dirty="0"/>
          </a:p>
        </p:txBody>
      </p:sp>
      <p:sp>
        <p:nvSpPr>
          <p:cNvPr id="4" name="Content Placeholder 2">
            <a:extLst>
              <a:ext uri="{FF2B5EF4-FFF2-40B4-BE49-F238E27FC236}">
                <a16:creationId xmlns:a16="http://schemas.microsoft.com/office/drawing/2014/main" id="{A09F2003-2FCA-4A7B-89BD-885EC9432B9B}"/>
              </a:ext>
            </a:extLst>
          </p:cNvPr>
          <p:cNvSpPr txBox="1">
            <a:spLocks/>
          </p:cNvSpPr>
          <p:nvPr/>
        </p:nvSpPr>
        <p:spPr>
          <a:xfrm>
            <a:off x="186636" y="1393676"/>
            <a:ext cx="6502261" cy="517326"/>
          </a:xfrm>
          <a:prstGeom prst="rect">
            <a:avLst/>
          </a:prstGeom>
        </p:spPr>
        <p:txBody>
          <a:bodyPr wrap="square" lIns="0" tIns="0" rIns="0" bIns="0">
            <a:normAutofit/>
          </a:bodyPr>
          <a:lst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b="0">
                <a:solidFill>
                  <a:srgbClr val="000000"/>
                </a:solidFill>
                <a:latin typeface="Arial" panose="020B0604020202020204" pitchFamily="34" charset="0"/>
                <a:ea typeface="Museo Sans For Dell" pitchFamily="2" charset="0"/>
                <a:cs typeface="Arial" panose="020B0604020202020204" pitchFamily="34" charset="0"/>
              </a:defRPr>
            </a:lvl1pPr>
            <a:lvl2pPr marL="574675" indent="-231775" algn="l" rtl="0" eaLnBrk="1" fontAlgn="base" hangingPunct="1">
              <a:lnSpc>
                <a:spcPct val="100000"/>
              </a:lnSpc>
              <a:spcBef>
                <a:spcPts val="300"/>
              </a:spcBef>
              <a:spcAft>
                <a:spcPts val="0"/>
              </a:spcAft>
              <a:buClr>
                <a:srgbClr val="AAAAAA"/>
              </a:buClr>
              <a:buFont typeface="Museo Sans For Dell" pitchFamily="2" charset="0"/>
              <a:buChar char="–"/>
              <a:defRPr sz="1200" b="0" baseline="0">
                <a:solidFill>
                  <a:srgbClr val="000000"/>
                </a:solidFill>
                <a:latin typeface="Arial" panose="020B0604020202020204" pitchFamily="34" charset="0"/>
                <a:ea typeface="Museo Sans For Dell" pitchFamily="2" charset="0"/>
                <a:cs typeface="Arial" panose="020B0604020202020204" pitchFamily="34"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0" baseline="0">
                <a:solidFill>
                  <a:srgbClr val="000000"/>
                </a:solidFill>
                <a:latin typeface="Arial" panose="020B0604020202020204" pitchFamily="34" charset="0"/>
                <a:ea typeface="Museo Sans For Dell" pitchFamily="2" charset="0"/>
                <a:cs typeface="Arial" panose="020B0604020202020204" pitchFamily="34"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0" baseline="0">
                <a:solidFill>
                  <a:schemeClr val="bg2"/>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b="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9pPr>
          </a:lstStyle>
          <a:p>
            <a:pPr marL="0" indent="0">
              <a:buFont typeface="Arial" pitchFamily="34" charset="0"/>
              <a:buNone/>
            </a:pPr>
            <a:r>
              <a:rPr lang="en-US" kern="0" dirty="0"/>
              <a:t>4.  Flip a coin &gt; Assume we get “head” again</a:t>
            </a:r>
          </a:p>
          <a:p>
            <a:pPr marL="688975" lvl="1" indent="-342900"/>
            <a:r>
              <a:rPr lang="en-US" kern="0" dirty="0"/>
              <a:t>P(H | 3H) = 0.5 X 0.5 X 0.5 X 0.5 = 0.0625</a:t>
            </a:r>
          </a:p>
          <a:p>
            <a:pPr marL="688975" lvl="1" indent="-342900"/>
            <a:endParaRPr lang="en-US" kern="0" dirty="0"/>
          </a:p>
          <a:p>
            <a:endParaRPr lang="en-US" kern="0" dirty="0"/>
          </a:p>
        </p:txBody>
      </p:sp>
      <p:sp>
        <p:nvSpPr>
          <p:cNvPr id="5" name="Content Placeholder 2">
            <a:extLst>
              <a:ext uri="{FF2B5EF4-FFF2-40B4-BE49-F238E27FC236}">
                <a16:creationId xmlns:a16="http://schemas.microsoft.com/office/drawing/2014/main" id="{BEABD709-C6DC-4198-900B-BD47C197815F}"/>
              </a:ext>
            </a:extLst>
          </p:cNvPr>
          <p:cNvSpPr txBox="1">
            <a:spLocks/>
          </p:cNvSpPr>
          <p:nvPr/>
        </p:nvSpPr>
        <p:spPr>
          <a:xfrm>
            <a:off x="186636" y="2095916"/>
            <a:ext cx="6502261" cy="517326"/>
          </a:xfrm>
          <a:prstGeom prst="rect">
            <a:avLst/>
          </a:prstGeom>
        </p:spPr>
        <p:txBody>
          <a:bodyPr wrap="square" lIns="0" tIns="0" rIns="0" bIns="0">
            <a:normAutofit/>
          </a:bodyPr>
          <a:lst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b="0">
                <a:solidFill>
                  <a:srgbClr val="000000"/>
                </a:solidFill>
                <a:latin typeface="Arial" panose="020B0604020202020204" pitchFamily="34" charset="0"/>
                <a:ea typeface="Museo Sans For Dell" pitchFamily="2" charset="0"/>
                <a:cs typeface="Arial" panose="020B0604020202020204" pitchFamily="34" charset="0"/>
              </a:defRPr>
            </a:lvl1pPr>
            <a:lvl2pPr marL="574675" indent="-231775" algn="l" rtl="0" eaLnBrk="1" fontAlgn="base" hangingPunct="1">
              <a:lnSpc>
                <a:spcPct val="100000"/>
              </a:lnSpc>
              <a:spcBef>
                <a:spcPts val="300"/>
              </a:spcBef>
              <a:spcAft>
                <a:spcPts val="0"/>
              </a:spcAft>
              <a:buClr>
                <a:srgbClr val="AAAAAA"/>
              </a:buClr>
              <a:buFont typeface="Museo Sans For Dell" pitchFamily="2" charset="0"/>
              <a:buChar char="–"/>
              <a:defRPr sz="1200" b="0" baseline="0">
                <a:solidFill>
                  <a:srgbClr val="000000"/>
                </a:solidFill>
                <a:latin typeface="Arial" panose="020B0604020202020204" pitchFamily="34" charset="0"/>
                <a:ea typeface="Museo Sans For Dell" pitchFamily="2" charset="0"/>
                <a:cs typeface="Arial" panose="020B0604020202020204" pitchFamily="34"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0" baseline="0">
                <a:solidFill>
                  <a:srgbClr val="000000"/>
                </a:solidFill>
                <a:latin typeface="Arial" panose="020B0604020202020204" pitchFamily="34" charset="0"/>
                <a:ea typeface="Museo Sans For Dell" pitchFamily="2" charset="0"/>
                <a:cs typeface="Arial" panose="020B0604020202020204" pitchFamily="34"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0" baseline="0">
                <a:solidFill>
                  <a:schemeClr val="bg2"/>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b="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9pPr>
          </a:lstStyle>
          <a:p>
            <a:pPr marL="0" indent="0">
              <a:buFont typeface="Arial" pitchFamily="34" charset="0"/>
              <a:buNone/>
            </a:pPr>
            <a:r>
              <a:rPr lang="en-US" kern="0" dirty="0"/>
              <a:t>5.  Flip a coin &gt; Assume we get “head” again</a:t>
            </a:r>
          </a:p>
          <a:p>
            <a:pPr marL="688975" lvl="1" indent="-342900"/>
            <a:r>
              <a:rPr lang="en-US" kern="0" dirty="0"/>
              <a:t>P(H | 4H) = 0.5 X 0.5 X 0.5 X 0.5 X 0.5 = 0.0312</a:t>
            </a:r>
          </a:p>
          <a:p>
            <a:pPr marL="688975" lvl="1" indent="-342900"/>
            <a:endParaRPr lang="en-US" kern="0" dirty="0"/>
          </a:p>
          <a:p>
            <a:endParaRPr lang="en-US" kern="0" dirty="0"/>
          </a:p>
        </p:txBody>
      </p:sp>
      <p:sp>
        <p:nvSpPr>
          <p:cNvPr id="6" name="TextBox 5">
            <a:extLst>
              <a:ext uri="{FF2B5EF4-FFF2-40B4-BE49-F238E27FC236}">
                <a16:creationId xmlns:a16="http://schemas.microsoft.com/office/drawing/2014/main" id="{9C30D7DF-560C-4416-B1BE-572D6985C661}"/>
              </a:ext>
            </a:extLst>
          </p:cNvPr>
          <p:cNvSpPr txBox="1"/>
          <p:nvPr/>
        </p:nvSpPr>
        <p:spPr>
          <a:xfrm>
            <a:off x="186636" y="2787041"/>
            <a:ext cx="4015846"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2 concepts</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b="1" dirty="0">
                <a:solidFill>
                  <a:schemeClr val="bg2"/>
                </a:solidFill>
                <a:latin typeface="+mn-lt"/>
              </a:rPr>
              <a:t>Confident level </a:t>
            </a:r>
            <a:r>
              <a:rPr lang="en-US" sz="1400" dirty="0">
                <a:solidFill>
                  <a:schemeClr val="bg2"/>
                </a:solidFill>
                <a:latin typeface="+mn-lt"/>
              </a:rPr>
              <a:t>= 97%</a:t>
            </a:r>
          </a:p>
          <a:p>
            <a:pPr>
              <a:spcBef>
                <a:spcPts val="0"/>
              </a:spcBef>
              <a:spcAft>
                <a:spcPts val="0"/>
              </a:spcAft>
              <a:buClr>
                <a:schemeClr val="bg1"/>
              </a:buClr>
            </a:pPr>
            <a:r>
              <a:rPr lang="en-US" sz="1400" b="1" dirty="0">
                <a:solidFill>
                  <a:schemeClr val="bg2"/>
                </a:solidFill>
                <a:latin typeface="+mn-lt"/>
              </a:rPr>
              <a:t>p-value or significance level </a:t>
            </a:r>
            <a:r>
              <a:rPr lang="en-US" sz="1400" dirty="0">
                <a:solidFill>
                  <a:schemeClr val="bg2"/>
                </a:solidFill>
                <a:latin typeface="+mn-lt"/>
              </a:rPr>
              <a:t>= 3%</a:t>
            </a:r>
          </a:p>
        </p:txBody>
      </p:sp>
      <p:sp>
        <p:nvSpPr>
          <p:cNvPr id="7" name="TextBox 6">
            <a:extLst>
              <a:ext uri="{FF2B5EF4-FFF2-40B4-BE49-F238E27FC236}">
                <a16:creationId xmlns:a16="http://schemas.microsoft.com/office/drawing/2014/main" id="{4A24BE1D-473B-48EA-BDDD-7F10C6C2726E}"/>
              </a:ext>
            </a:extLst>
          </p:cNvPr>
          <p:cNvSpPr txBox="1"/>
          <p:nvPr/>
        </p:nvSpPr>
        <p:spPr>
          <a:xfrm>
            <a:off x="186636" y="3971524"/>
            <a:ext cx="8030438"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e can say that chance of we getting a 5H in a row is just 3% and not getting 5H in a row is 97%</a:t>
            </a:r>
          </a:p>
        </p:txBody>
      </p:sp>
      <p:pic>
        <p:nvPicPr>
          <p:cNvPr id="9" name="Picture 8" descr="A hand with a coin in the background&#10;&#10;Description automatically generated with low confidence">
            <a:extLst>
              <a:ext uri="{FF2B5EF4-FFF2-40B4-BE49-F238E27FC236}">
                <a16:creationId xmlns:a16="http://schemas.microsoft.com/office/drawing/2014/main" id="{1D54438E-8488-4204-B572-0241F3C96624}"/>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890929" y="344563"/>
            <a:ext cx="2513226" cy="3181142"/>
          </a:xfrm>
          <a:prstGeom prst="rect">
            <a:avLst/>
          </a:prstGeom>
        </p:spPr>
      </p:pic>
      <mc:AlternateContent xmlns:mc="http://schemas.openxmlformats.org/markup-compatibility/2006">
        <mc:Choice xmlns:p14="http://schemas.microsoft.com/office/powerpoint/2010/main" Requires="p14">
          <p:contentPart p14:bwMode="auto" r:id="rId4">
            <p14:nvContentPartPr>
              <p14:cNvPr id="8" name="Ink 7">
                <a:extLst>
                  <a:ext uri="{FF2B5EF4-FFF2-40B4-BE49-F238E27FC236}">
                    <a16:creationId xmlns:a16="http://schemas.microsoft.com/office/drawing/2014/main" id="{D4C60740-9A79-4966-8304-EA07DD61350F}"/>
                  </a:ext>
                </a:extLst>
              </p14:cNvPr>
              <p14:cNvContentPartPr/>
              <p14:nvPr/>
            </p14:nvContentPartPr>
            <p14:xfrm>
              <a:off x="981000" y="895320"/>
              <a:ext cx="7210800" cy="3124440"/>
            </p14:xfrm>
          </p:contentPart>
        </mc:Choice>
        <mc:Fallback>
          <p:pic>
            <p:nvPicPr>
              <p:cNvPr id="8" name="Ink 7">
                <a:extLst>
                  <a:ext uri="{FF2B5EF4-FFF2-40B4-BE49-F238E27FC236}">
                    <a16:creationId xmlns:a16="http://schemas.microsoft.com/office/drawing/2014/main" id="{D4C60740-9A79-4966-8304-EA07DD61350F}"/>
                  </a:ext>
                </a:extLst>
              </p:cNvPr>
              <p:cNvPicPr/>
              <p:nvPr/>
            </p:nvPicPr>
            <p:blipFill>
              <a:blip r:embed="rId5"/>
              <a:stretch>
                <a:fillRect/>
              </a:stretch>
            </p:blipFill>
            <p:spPr>
              <a:xfrm>
                <a:off x="971640" y="885960"/>
                <a:ext cx="7229520" cy="3143160"/>
              </a:xfrm>
              <a:prstGeom prst="rect">
                <a:avLst/>
              </a:prstGeom>
            </p:spPr>
          </p:pic>
        </mc:Fallback>
      </mc:AlternateContent>
    </p:spTree>
    <p:extLst>
      <p:ext uri="{BB962C8B-B14F-4D97-AF65-F5344CB8AC3E}">
        <p14:creationId xmlns:p14="http://schemas.microsoft.com/office/powerpoint/2010/main" val="2615070353"/>
      </p:ext>
    </p:extLst>
  </p:cSld>
  <p:clrMapOvr>
    <a:masterClrMapping/>
  </p:clrMapOvr>
  <p:transition spd="med">
    <p:wipe dir="r"/>
  </p:transition>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4BC9655-D6FB-4052-A081-6F68A3212DAF}"/>
              </a:ext>
            </a:extLst>
          </p:cNvPr>
          <p:cNvSpPr>
            <a:spLocks noGrp="1"/>
          </p:cNvSpPr>
          <p:nvPr>
            <p:ph type="title"/>
          </p:nvPr>
        </p:nvSpPr>
        <p:spPr>
          <a:xfrm>
            <a:off x="0" y="0"/>
            <a:ext cx="5025460" cy="640080"/>
          </a:xfrm>
        </p:spPr>
        <p:txBody>
          <a:bodyPr/>
          <a:lstStyle/>
          <a:p>
            <a:r>
              <a:rPr lang="en-US" dirty="0"/>
              <a:t>Importance of p-Value</a:t>
            </a:r>
          </a:p>
        </p:txBody>
      </p:sp>
      <p:sp>
        <p:nvSpPr>
          <p:cNvPr id="5" name="Content Placeholder 4">
            <a:extLst>
              <a:ext uri="{FF2B5EF4-FFF2-40B4-BE49-F238E27FC236}">
                <a16:creationId xmlns:a16="http://schemas.microsoft.com/office/drawing/2014/main" id="{DCF882BF-2AB3-4F00-A647-31D99F9D8FA4}"/>
              </a:ext>
            </a:extLst>
          </p:cNvPr>
          <p:cNvSpPr txBox="1">
            <a:spLocks noGrp="1"/>
          </p:cNvSpPr>
          <p:nvPr>
            <p:ph sz="half" idx="13"/>
          </p:nvPr>
        </p:nvSpPr>
        <p:spPr>
          <a:xfrm>
            <a:off x="1" y="785813"/>
            <a:ext cx="7478038" cy="1661993"/>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e can say that chance of we getting a 5H in a row is just 3% and not getting 5H in a row is 97%</a:t>
            </a:r>
          </a:p>
          <a:p>
            <a:pPr>
              <a:spcBef>
                <a:spcPts val="0"/>
              </a:spcBef>
              <a:spcAft>
                <a:spcPts val="0"/>
              </a:spcAft>
              <a:buClr>
                <a:schemeClr val="bg1"/>
              </a:buClr>
            </a:pPr>
            <a:endParaRPr lang="en-US" dirty="0">
              <a:solidFill>
                <a:schemeClr val="bg2"/>
              </a:solidFill>
              <a:latin typeface="+mn-lt"/>
            </a:endParaRP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dirty="0">
                <a:solidFill>
                  <a:schemeClr val="bg2"/>
                </a:solidFill>
                <a:latin typeface="+mn-lt"/>
              </a:rPr>
              <a:t>Hence, we reject out Null Hypothesis Ho </a:t>
            </a:r>
            <a:r>
              <a:rPr lang="en-US" dirty="0" err="1">
                <a:solidFill>
                  <a:schemeClr val="bg2"/>
                </a:solidFill>
                <a:latin typeface="+mn-lt"/>
              </a:rPr>
              <a:t>i.e</a:t>
            </a:r>
            <a:r>
              <a:rPr lang="en-US" dirty="0">
                <a:solidFill>
                  <a:schemeClr val="bg2"/>
                </a:solidFill>
                <a:latin typeface="+mn-lt"/>
              </a:rPr>
              <a:t> the coin is fair</a:t>
            </a:r>
          </a:p>
          <a:p>
            <a:pPr>
              <a:spcBef>
                <a:spcPts val="0"/>
              </a:spcBef>
              <a:spcAft>
                <a:spcPts val="0"/>
              </a:spcAft>
              <a:buClr>
                <a:schemeClr val="bg1"/>
              </a:buClr>
            </a:pPr>
            <a:endParaRPr lang="en-US" sz="1400" dirty="0">
              <a:solidFill>
                <a:schemeClr val="bg2"/>
              </a:solidFill>
              <a:latin typeface="+mn-lt"/>
            </a:endParaRPr>
          </a:p>
          <a:p>
            <a:pPr lvl="1">
              <a:spcBef>
                <a:spcPts val="0"/>
              </a:spcBef>
              <a:buClr>
                <a:schemeClr val="bg1"/>
              </a:buClr>
            </a:pPr>
            <a:r>
              <a:rPr lang="en-US" dirty="0">
                <a:solidFill>
                  <a:schemeClr val="bg2"/>
                </a:solidFill>
                <a:latin typeface="+mn-lt"/>
              </a:rPr>
              <a:t>Note : when we reject Ho we accept H1 </a:t>
            </a:r>
            <a:r>
              <a:rPr lang="en-US" dirty="0" err="1">
                <a:solidFill>
                  <a:schemeClr val="bg2"/>
                </a:solidFill>
                <a:latin typeface="+mn-lt"/>
              </a:rPr>
              <a:t>i.e</a:t>
            </a:r>
            <a:r>
              <a:rPr lang="en-US" dirty="0">
                <a:solidFill>
                  <a:schemeClr val="bg2"/>
                </a:solidFill>
                <a:latin typeface="+mn-lt"/>
              </a:rPr>
              <a:t> the Alternate Hypothesis – The coin is not fair !!</a:t>
            </a:r>
          </a:p>
          <a:p>
            <a:pPr marL="342900" lvl="1" indent="0">
              <a:spcBef>
                <a:spcPts val="0"/>
              </a:spcBef>
              <a:buClr>
                <a:schemeClr val="bg1"/>
              </a:buClr>
              <a:buNone/>
            </a:pPr>
            <a:endParaRPr lang="en-US" dirty="0">
              <a:solidFill>
                <a:schemeClr val="bg2"/>
              </a:solidFill>
              <a:latin typeface="+mn-lt"/>
            </a:endParaRPr>
          </a:p>
        </p:txBody>
      </p:sp>
      <p:sp>
        <p:nvSpPr>
          <p:cNvPr id="6" name="TextBox 5">
            <a:extLst>
              <a:ext uri="{FF2B5EF4-FFF2-40B4-BE49-F238E27FC236}">
                <a16:creationId xmlns:a16="http://schemas.microsoft.com/office/drawing/2014/main" id="{92EF90D6-13B1-4700-9E78-9E35CCE8623B}"/>
              </a:ext>
            </a:extLst>
          </p:cNvPr>
          <p:cNvSpPr txBox="1"/>
          <p:nvPr/>
        </p:nvSpPr>
        <p:spPr>
          <a:xfrm>
            <a:off x="229861" y="2768252"/>
            <a:ext cx="7160495" cy="523220"/>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1"/>
                </a:solidFill>
                <a:latin typeface="+mn-lt"/>
              </a:rPr>
              <a:t>Remember : The p- value is a calculation that we make during hypothesis testing to determine if we reject the null hypothesis or fail to reject it </a:t>
            </a:r>
          </a:p>
        </p:txBody>
      </p:sp>
    </p:spTree>
    <p:extLst>
      <p:ext uri="{BB962C8B-B14F-4D97-AF65-F5344CB8AC3E}">
        <p14:creationId xmlns:p14="http://schemas.microsoft.com/office/powerpoint/2010/main" val="2912201933"/>
      </p:ext>
    </p:extLst>
  </p:cSld>
  <p:clrMapOvr>
    <a:masterClrMapping/>
  </p:clrMapOvr>
  <p:transition spd="med">
    <p:wipe dir="r"/>
  </p:transition>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iagram&#10;&#10;Description automatically generated with low confidence">
            <a:extLst>
              <a:ext uri="{FF2B5EF4-FFF2-40B4-BE49-F238E27FC236}">
                <a16:creationId xmlns:a16="http://schemas.microsoft.com/office/drawing/2014/main" id="{1D351213-FBD3-480C-A88B-DF5DA84D0032}"/>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0" y="0"/>
            <a:ext cx="9144000" cy="5143500"/>
          </a:xfrm>
          <a:prstGeom prst="rect">
            <a:avLst/>
          </a:prstGeom>
        </p:spPr>
      </p:pic>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6205" name="think-cell Slide" r:id="rId8" imgW="529" imgH="530" progId="TCLayout.ActiveDocument.1">
                  <p:embed/>
                </p:oleObj>
              </mc:Choice>
              <mc:Fallback>
                <p:oleObj name="think-cell Slide" r:id="rId8"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9"/>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33" name="Title 32">
            <a:extLst>
              <a:ext uri="{FF2B5EF4-FFF2-40B4-BE49-F238E27FC236}">
                <a16:creationId xmlns:a16="http://schemas.microsoft.com/office/drawing/2014/main" id="{2F9043AA-1BB2-49E3-B702-D663491C3B65}"/>
              </a:ext>
            </a:extLst>
          </p:cNvPr>
          <p:cNvSpPr>
            <a:spLocks noGrp="1"/>
          </p:cNvSpPr>
          <p:nvPr>
            <p:ph type="title"/>
          </p:nvPr>
        </p:nvSpPr>
        <p:spPr>
          <a:xfrm>
            <a:off x="75610" y="1382590"/>
            <a:ext cx="8992779" cy="959777"/>
          </a:xfrm>
        </p:spPr>
        <p:txBody>
          <a:bodyPr/>
          <a:lstStyle/>
          <a:p>
            <a:r>
              <a:rPr lang="en-US" sz="4800" dirty="0">
                <a:solidFill>
                  <a:schemeClr val="tx2"/>
                </a:solidFill>
              </a:rPr>
              <a:t>Linear Algebra</a:t>
            </a:r>
            <a:br>
              <a:rPr lang="en-US" sz="4800" dirty="0">
                <a:solidFill>
                  <a:schemeClr val="tx2"/>
                </a:solidFill>
              </a:rPr>
            </a:br>
            <a:br>
              <a:rPr lang="en-US" sz="4800" dirty="0">
                <a:solidFill>
                  <a:schemeClr val="tx2"/>
                </a:solidFill>
              </a:rPr>
            </a:br>
            <a:br>
              <a:rPr lang="en-US" dirty="0"/>
            </a:br>
            <a:br>
              <a:rPr lang="en-US" dirty="0"/>
            </a:br>
            <a:r>
              <a:rPr lang="en-US" dirty="0"/>
              <a:t> </a:t>
            </a:r>
          </a:p>
        </p:txBody>
      </p:sp>
    </p:spTree>
    <p:extLst>
      <p:ext uri="{BB962C8B-B14F-4D97-AF65-F5344CB8AC3E}">
        <p14:creationId xmlns:p14="http://schemas.microsoft.com/office/powerpoint/2010/main" val="1324626672"/>
      </p:ext>
    </p:extLst>
  </p:cSld>
  <p:clrMapOvr>
    <a:masterClrMapping/>
  </p:clrMapOvr>
  <p:transition spd="med">
    <p:wipe dir="r"/>
  </p:transition>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B3D82-DC6B-4013-BF1B-6AAC717D448F}"/>
              </a:ext>
            </a:extLst>
          </p:cNvPr>
          <p:cNvSpPr>
            <a:spLocks noGrp="1"/>
          </p:cNvSpPr>
          <p:nvPr>
            <p:ph type="title"/>
          </p:nvPr>
        </p:nvSpPr>
        <p:spPr>
          <a:xfrm>
            <a:off x="0" y="0"/>
            <a:ext cx="4295219" cy="640080"/>
          </a:xfrm>
        </p:spPr>
        <p:txBody>
          <a:bodyPr/>
          <a:lstStyle/>
          <a:p>
            <a:r>
              <a:rPr lang="en-US" dirty="0"/>
              <a:t>Linear Algebra</a:t>
            </a:r>
          </a:p>
        </p:txBody>
      </p:sp>
      <p:sp>
        <p:nvSpPr>
          <p:cNvPr id="3" name="Content Placeholder 2">
            <a:extLst>
              <a:ext uri="{FF2B5EF4-FFF2-40B4-BE49-F238E27FC236}">
                <a16:creationId xmlns:a16="http://schemas.microsoft.com/office/drawing/2014/main" id="{1316FB4E-A734-4B8B-A6C1-4A93467602B1}"/>
              </a:ext>
            </a:extLst>
          </p:cNvPr>
          <p:cNvSpPr>
            <a:spLocks noGrp="1"/>
          </p:cNvSpPr>
          <p:nvPr>
            <p:ph sz="half" idx="13"/>
          </p:nvPr>
        </p:nvSpPr>
        <p:spPr>
          <a:xfrm>
            <a:off x="174111" y="841749"/>
            <a:ext cx="7159877" cy="3200400"/>
          </a:xfrm>
        </p:spPr>
        <p:txBody>
          <a:bodyPr/>
          <a:lstStyle/>
          <a:p>
            <a:r>
              <a:rPr lang="en-US" dirty="0"/>
              <a:t>What is a Matrix ? </a:t>
            </a:r>
          </a:p>
          <a:p>
            <a:r>
              <a:rPr lang="en-US" dirty="0"/>
              <a:t>Matrix is a very useful topic that comes under linear algebra. It is an arrangement of elements, especially numbers, in a particular way. A matrix is a mathematical structure having rows and columns. </a:t>
            </a:r>
          </a:p>
          <a:p>
            <a:r>
              <a:rPr lang="en-US" dirty="0"/>
              <a:t>We use row to represent samples</a:t>
            </a:r>
          </a:p>
          <a:p>
            <a:r>
              <a:rPr lang="en-US" dirty="0"/>
              <a:t>Columns represent the value of the variable (or attributes)</a:t>
            </a:r>
          </a:p>
          <a:p>
            <a:r>
              <a:rPr lang="en-US" dirty="0"/>
              <a:t>It is also possible to use rows for variables and columns for sample</a:t>
            </a:r>
          </a:p>
        </p:txBody>
      </p:sp>
    </p:spTree>
    <p:extLst>
      <p:ext uri="{BB962C8B-B14F-4D97-AF65-F5344CB8AC3E}">
        <p14:creationId xmlns:p14="http://schemas.microsoft.com/office/powerpoint/2010/main" val="1378944581"/>
      </p:ext>
    </p:extLst>
  </p:cSld>
  <p:clrMapOvr>
    <a:masterClrMapping/>
  </p:clrMapOvr>
  <p:transition spd="med">
    <p:wipe dir="r"/>
  </p:transition>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C63AC-6520-4392-BBE7-E7885F95B9E9}"/>
              </a:ext>
            </a:extLst>
          </p:cNvPr>
          <p:cNvSpPr>
            <a:spLocks noGrp="1"/>
          </p:cNvSpPr>
          <p:nvPr>
            <p:ph type="title"/>
          </p:nvPr>
        </p:nvSpPr>
        <p:spPr>
          <a:xfrm>
            <a:off x="0" y="0"/>
            <a:ext cx="5960226" cy="640080"/>
          </a:xfrm>
        </p:spPr>
        <p:txBody>
          <a:bodyPr/>
          <a:lstStyle/>
          <a:p>
            <a:r>
              <a:rPr lang="en-US" dirty="0"/>
              <a:t>Data representation : examples</a:t>
            </a:r>
          </a:p>
        </p:txBody>
      </p:sp>
      <p:sp>
        <p:nvSpPr>
          <p:cNvPr id="3" name="Content Placeholder 2">
            <a:extLst>
              <a:ext uri="{FF2B5EF4-FFF2-40B4-BE49-F238E27FC236}">
                <a16:creationId xmlns:a16="http://schemas.microsoft.com/office/drawing/2014/main" id="{5892A58C-9063-4D3C-8AD9-53F62C2B17E8}"/>
              </a:ext>
            </a:extLst>
          </p:cNvPr>
          <p:cNvSpPr>
            <a:spLocks noGrp="1"/>
          </p:cNvSpPr>
          <p:nvPr>
            <p:ph sz="half" idx="13"/>
          </p:nvPr>
        </p:nvSpPr>
        <p:spPr>
          <a:xfrm>
            <a:off x="176597" y="882291"/>
            <a:ext cx="8241467" cy="1407161"/>
          </a:xfrm>
        </p:spPr>
        <p:txBody>
          <a:bodyPr/>
          <a:lstStyle/>
          <a:p>
            <a:r>
              <a:rPr lang="en-US" dirty="0"/>
              <a:t>A real life example</a:t>
            </a:r>
          </a:p>
          <a:p>
            <a:pPr lvl="1"/>
            <a:r>
              <a:rPr lang="en-US" dirty="0"/>
              <a:t>Consider a reactor which need to be controlled using multiple attributes from various sensors like Pressure (Pa). Temp (K) , Density (gm/m^3) etc.</a:t>
            </a:r>
          </a:p>
          <a:p>
            <a:pPr lvl="1"/>
            <a:r>
              <a:rPr lang="en-US" dirty="0"/>
              <a:t>Independently, the sensors have generated 1000 data points</a:t>
            </a:r>
          </a:p>
          <a:p>
            <a:pPr lvl="1"/>
            <a:endParaRPr lang="en-US" dirty="0"/>
          </a:p>
        </p:txBody>
      </p:sp>
      <p:pic>
        <p:nvPicPr>
          <p:cNvPr id="5" name="Picture 4">
            <a:extLst>
              <a:ext uri="{FF2B5EF4-FFF2-40B4-BE49-F238E27FC236}">
                <a16:creationId xmlns:a16="http://schemas.microsoft.com/office/drawing/2014/main" id="{11138200-64D4-42DC-9270-D1236E3E98A1}"/>
              </a:ext>
            </a:extLst>
          </p:cNvPr>
          <p:cNvPicPr>
            <a:picLocks noChangeAspect="1"/>
          </p:cNvPicPr>
          <p:nvPr/>
        </p:nvPicPr>
        <p:blipFill>
          <a:blip r:embed="rId2"/>
          <a:stretch>
            <a:fillRect/>
          </a:stretch>
        </p:blipFill>
        <p:spPr>
          <a:xfrm>
            <a:off x="1815488" y="2429056"/>
            <a:ext cx="3545269" cy="1518576"/>
          </a:xfrm>
          <a:prstGeom prst="rect">
            <a:avLst/>
          </a:prstGeom>
        </p:spPr>
      </p:pic>
    </p:spTree>
    <p:extLst>
      <p:ext uri="{BB962C8B-B14F-4D97-AF65-F5344CB8AC3E}">
        <p14:creationId xmlns:p14="http://schemas.microsoft.com/office/powerpoint/2010/main" val="1191213409"/>
      </p:ext>
    </p:extLst>
  </p:cSld>
  <p:clrMapOvr>
    <a:masterClrMapping/>
  </p:clrMapOvr>
  <p:transition spd="med">
    <p:wipe dir="r"/>
  </p:transition>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iagram&#10;&#10;Description automatically generated with low confidence">
            <a:extLst>
              <a:ext uri="{FF2B5EF4-FFF2-40B4-BE49-F238E27FC236}">
                <a16:creationId xmlns:a16="http://schemas.microsoft.com/office/drawing/2014/main" id="{1D351213-FBD3-480C-A88B-DF5DA84D0032}"/>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0" y="0"/>
            <a:ext cx="9144000" cy="5143500"/>
          </a:xfrm>
          <a:prstGeom prst="rect">
            <a:avLst/>
          </a:prstGeom>
        </p:spPr>
      </p:pic>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5182" name="think-cell Slide" r:id="rId8" imgW="529" imgH="530" progId="TCLayout.ActiveDocument.1">
                  <p:embed/>
                </p:oleObj>
              </mc:Choice>
              <mc:Fallback>
                <p:oleObj name="think-cell Slide" r:id="rId8"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9"/>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33" name="Title 32">
            <a:extLst>
              <a:ext uri="{FF2B5EF4-FFF2-40B4-BE49-F238E27FC236}">
                <a16:creationId xmlns:a16="http://schemas.microsoft.com/office/drawing/2014/main" id="{2F9043AA-1BB2-49E3-B702-D663491C3B65}"/>
              </a:ext>
            </a:extLst>
          </p:cNvPr>
          <p:cNvSpPr>
            <a:spLocks noGrp="1"/>
          </p:cNvSpPr>
          <p:nvPr>
            <p:ph type="title"/>
          </p:nvPr>
        </p:nvSpPr>
        <p:spPr>
          <a:xfrm>
            <a:off x="75610" y="1382590"/>
            <a:ext cx="8992779" cy="959777"/>
          </a:xfrm>
        </p:spPr>
        <p:txBody>
          <a:bodyPr/>
          <a:lstStyle/>
          <a:p>
            <a:r>
              <a:rPr lang="en-US" sz="4800" dirty="0">
                <a:solidFill>
                  <a:schemeClr val="tx2"/>
                </a:solidFill>
              </a:rPr>
              <a:t>Hypothesis Testing</a:t>
            </a:r>
            <a:br>
              <a:rPr lang="en-US" sz="4800" dirty="0">
                <a:solidFill>
                  <a:schemeClr val="tx2"/>
                </a:solidFill>
              </a:rPr>
            </a:br>
            <a:br>
              <a:rPr lang="en-US" sz="4800" dirty="0">
                <a:solidFill>
                  <a:schemeClr val="tx2"/>
                </a:solidFill>
              </a:rPr>
            </a:br>
            <a:br>
              <a:rPr lang="en-US" dirty="0"/>
            </a:br>
            <a:br>
              <a:rPr lang="en-US" dirty="0"/>
            </a:br>
            <a:r>
              <a:rPr lang="en-US" dirty="0"/>
              <a:t> </a:t>
            </a:r>
          </a:p>
        </p:txBody>
      </p:sp>
    </p:spTree>
    <p:extLst>
      <p:ext uri="{BB962C8B-B14F-4D97-AF65-F5344CB8AC3E}">
        <p14:creationId xmlns:p14="http://schemas.microsoft.com/office/powerpoint/2010/main" val="2701195836"/>
      </p:ext>
    </p:extLst>
  </p:cSld>
  <p:clrMapOvr>
    <a:masterClrMapping/>
  </p:clrMapOvr>
  <p:transition spd="med">
    <p:wipe dir="r"/>
  </p:transition>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46B4B8-AB69-4DE2-A838-D6D1F3E343ED}"/>
              </a:ext>
            </a:extLst>
          </p:cNvPr>
          <p:cNvSpPr>
            <a:spLocks noGrp="1"/>
          </p:cNvSpPr>
          <p:nvPr>
            <p:ph type="title"/>
          </p:nvPr>
        </p:nvSpPr>
        <p:spPr>
          <a:xfrm>
            <a:off x="0" y="0"/>
            <a:ext cx="8229600" cy="637794"/>
          </a:xfrm>
        </p:spPr>
        <p:txBody>
          <a:bodyPr/>
          <a:lstStyle/>
          <a:p>
            <a:r>
              <a:rPr lang="en-US" dirty="0"/>
              <a:t>Hypothesis testing</a:t>
            </a:r>
          </a:p>
        </p:txBody>
      </p:sp>
      <p:sp>
        <p:nvSpPr>
          <p:cNvPr id="3" name="TextBox 2">
            <a:extLst>
              <a:ext uri="{FF2B5EF4-FFF2-40B4-BE49-F238E27FC236}">
                <a16:creationId xmlns:a16="http://schemas.microsoft.com/office/drawing/2014/main" id="{783A7594-BE5B-4BDF-BD55-892AD0992783}"/>
              </a:ext>
            </a:extLst>
          </p:cNvPr>
          <p:cNvSpPr txBox="1"/>
          <p:nvPr/>
        </p:nvSpPr>
        <p:spPr>
          <a:xfrm>
            <a:off x="118997" y="970767"/>
            <a:ext cx="5768236" cy="3539430"/>
          </a:xfrm>
          <a:prstGeom prst="rect">
            <a:avLst/>
          </a:prstGeom>
          <a:noFill/>
        </p:spPr>
        <p:txBody>
          <a:bodyPr wrap="square" rtlCol="0">
            <a:spAutoFit/>
          </a:bodyPr>
          <a:lstStyle/>
          <a:p>
            <a:pPr marL="0" indent="0">
              <a:buNone/>
            </a:pPr>
            <a:r>
              <a:rPr lang="en-US" sz="1400" kern="1200" dirty="0">
                <a:solidFill>
                  <a:schemeClr val="bg2">
                    <a:lumMod val="50000"/>
                    <a:lumOff val="50000"/>
                  </a:schemeClr>
                </a:solidFill>
                <a:latin typeface="+mn-lt"/>
                <a:ea typeface="+mn-ea"/>
                <a:cs typeface="+mn-cs"/>
              </a:rPr>
              <a:t>A hypothesis is a </a:t>
            </a:r>
            <a:r>
              <a:rPr lang="en-US" sz="1400" b="1" kern="1200" dirty="0">
                <a:solidFill>
                  <a:schemeClr val="bg2">
                    <a:lumMod val="50000"/>
                    <a:lumOff val="50000"/>
                  </a:schemeClr>
                </a:solidFill>
                <a:latin typeface="+mn-lt"/>
                <a:ea typeface="+mn-ea"/>
                <a:cs typeface="+mn-cs"/>
              </a:rPr>
              <a:t>tentative statement </a:t>
            </a:r>
            <a:r>
              <a:rPr lang="en-US" sz="1400" kern="1200" dirty="0">
                <a:solidFill>
                  <a:schemeClr val="bg2">
                    <a:lumMod val="50000"/>
                    <a:lumOff val="50000"/>
                  </a:schemeClr>
                </a:solidFill>
                <a:latin typeface="+mn-lt"/>
                <a:ea typeface="+mn-ea"/>
                <a:cs typeface="+mn-cs"/>
              </a:rPr>
              <a:t>about the relationship between </a:t>
            </a:r>
            <a:r>
              <a:rPr lang="en-US" sz="1400" b="1" kern="1200" dirty="0">
                <a:solidFill>
                  <a:schemeClr val="bg2">
                    <a:lumMod val="50000"/>
                    <a:lumOff val="50000"/>
                  </a:schemeClr>
                </a:solidFill>
                <a:latin typeface="+mn-lt"/>
                <a:ea typeface="+mn-ea"/>
                <a:cs typeface="+mn-cs"/>
              </a:rPr>
              <a:t>two or more variables</a:t>
            </a:r>
            <a:r>
              <a:rPr lang="en-US" sz="1400" kern="1200" dirty="0">
                <a:solidFill>
                  <a:schemeClr val="bg2">
                    <a:lumMod val="50000"/>
                    <a:lumOff val="50000"/>
                  </a:schemeClr>
                </a:solidFill>
                <a:latin typeface="+mn-lt"/>
                <a:ea typeface="+mn-ea"/>
                <a:cs typeface="+mn-cs"/>
              </a:rPr>
              <a:t>. It is a specific, testable prediction about what you expect to happen in a study.</a:t>
            </a:r>
          </a:p>
          <a:p>
            <a:pPr marL="0" indent="0">
              <a:buNone/>
            </a:pPr>
            <a:endParaRPr lang="en-US" sz="1400" kern="1200" dirty="0">
              <a:solidFill>
                <a:schemeClr val="bg2">
                  <a:lumMod val="50000"/>
                  <a:lumOff val="50000"/>
                </a:schemeClr>
              </a:solidFill>
              <a:latin typeface="+mn-lt"/>
              <a:ea typeface="+mn-ea"/>
              <a:cs typeface="+mn-cs"/>
            </a:endParaRPr>
          </a:p>
          <a:p>
            <a:pPr marL="0" indent="0" algn="l" fontAlgn="base">
              <a:buNone/>
            </a:pPr>
            <a:r>
              <a:rPr lang="en-US" sz="1400" b="1" kern="1200" dirty="0">
                <a:solidFill>
                  <a:schemeClr val="accent1"/>
                </a:solidFill>
                <a:latin typeface="+mn-lt"/>
                <a:ea typeface="+mn-ea"/>
                <a:cs typeface="+mn-cs"/>
              </a:rPr>
              <a:t>A few examples:</a:t>
            </a:r>
          </a:p>
          <a:p>
            <a:pPr marL="0" indent="0" algn="l" fontAlgn="base">
              <a:buNone/>
            </a:pPr>
            <a:endParaRPr lang="en-US" sz="1400" b="1" kern="1200" dirty="0">
              <a:solidFill>
                <a:schemeClr val="accent1"/>
              </a:solidFill>
              <a:latin typeface="+mn-lt"/>
              <a:ea typeface="+mn-ea"/>
              <a:cs typeface="+mn-cs"/>
            </a:endParaRPr>
          </a:p>
          <a:p>
            <a:pPr algn="l" fontAlgn="base">
              <a:buFont typeface="Arial" panose="020B0604020202020204" pitchFamily="34" charset="0"/>
              <a:buChar char="•"/>
            </a:pPr>
            <a:r>
              <a:rPr lang="en-US" sz="1400" kern="1200" dirty="0">
                <a:solidFill>
                  <a:schemeClr val="bg2">
                    <a:lumMod val="50000"/>
                    <a:lumOff val="50000"/>
                  </a:schemeClr>
                </a:solidFill>
                <a:latin typeface="+mn-lt"/>
                <a:ea typeface="+mn-ea"/>
                <a:cs typeface="+mn-cs"/>
              </a:rPr>
              <a:t>"Students who eat breakfast will perform better on a math exam than students who do not eat breakfast.“</a:t>
            </a:r>
          </a:p>
          <a:p>
            <a:pPr algn="l" fontAlgn="base"/>
            <a:endParaRPr lang="en-US" sz="1400" kern="1200" dirty="0">
              <a:solidFill>
                <a:schemeClr val="bg2">
                  <a:lumMod val="50000"/>
                  <a:lumOff val="50000"/>
                </a:schemeClr>
              </a:solidFill>
              <a:latin typeface="+mn-lt"/>
              <a:ea typeface="+mn-ea"/>
              <a:cs typeface="+mn-cs"/>
            </a:endParaRPr>
          </a:p>
          <a:p>
            <a:pPr algn="l" fontAlgn="base">
              <a:buFont typeface="Arial" panose="020B0604020202020204" pitchFamily="34" charset="0"/>
              <a:buChar char="•"/>
            </a:pPr>
            <a:r>
              <a:rPr lang="en-US" sz="1400" kern="1200" dirty="0">
                <a:solidFill>
                  <a:schemeClr val="bg2">
                    <a:lumMod val="50000"/>
                    <a:lumOff val="50000"/>
                  </a:schemeClr>
                </a:solidFill>
                <a:latin typeface="+mn-lt"/>
                <a:ea typeface="+mn-ea"/>
                <a:cs typeface="+mn-cs"/>
              </a:rPr>
              <a:t>"Students who experience test anxiety prior to an English exam will get higher scores than students who do not experience test anxiety."​</a:t>
            </a:r>
          </a:p>
          <a:p>
            <a:pPr algn="l" fontAlgn="base"/>
            <a:endParaRPr lang="en-US" sz="1400" kern="1200" dirty="0">
              <a:solidFill>
                <a:schemeClr val="bg2">
                  <a:lumMod val="50000"/>
                  <a:lumOff val="50000"/>
                </a:schemeClr>
              </a:solidFill>
              <a:latin typeface="+mn-lt"/>
              <a:ea typeface="+mn-ea"/>
              <a:cs typeface="+mn-cs"/>
            </a:endParaRPr>
          </a:p>
          <a:p>
            <a:pPr algn="l" fontAlgn="base">
              <a:buFont typeface="Arial" panose="020B0604020202020204" pitchFamily="34" charset="0"/>
              <a:buChar char="•"/>
            </a:pPr>
            <a:r>
              <a:rPr lang="en-US" sz="1400" kern="1200" dirty="0">
                <a:solidFill>
                  <a:schemeClr val="bg2">
                    <a:lumMod val="50000"/>
                    <a:lumOff val="50000"/>
                  </a:schemeClr>
                </a:solidFill>
                <a:latin typeface="+mn-lt"/>
                <a:ea typeface="+mn-ea"/>
                <a:cs typeface="+mn-cs"/>
              </a:rPr>
              <a:t>"Motorists who talk on the phone while driving will be more likely to make errors on a driving course than those who do not talk on the phone."</a:t>
            </a:r>
          </a:p>
          <a:p>
            <a:pPr>
              <a:spcBef>
                <a:spcPts val="0"/>
              </a:spcBef>
              <a:spcAft>
                <a:spcPts val="0"/>
              </a:spcAft>
              <a:buClr>
                <a:schemeClr val="bg1"/>
              </a:buClr>
            </a:pPr>
            <a:endParaRPr lang="en-US" sz="1400" dirty="0" err="1">
              <a:solidFill>
                <a:schemeClr val="bg2"/>
              </a:solidFill>
              <a:latin typeface="+mn-lt"/>
            </a:endParaRPr>
          </a:p>
        </p:txBody>
      </p:sp>
      <p:pic>
        <p:nvPicPr>
          <p:cNvPr id="5" name="Picture 4" descr="A picture containing text&#10;&#10;Description automatically generated">
            <a:extLst>
              <a:ext uri="{FF2B5EF4-FFF2-40B4-BE49-F238E27FC236}">
                <a16:creationId xmlns:a16="http://schemas.microsoft.com/office/drawing/2014/main" id="{5E1DCF39-CE05-4DE8-AFC5-D7B634B366F1}"/>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5725231" y="1055872"/>
            <a:ext cx="3174511" cy="2285739"/>
          </a:xfrm>
          <a:prstGeom prst="rect">
            <a:avLst/>
          </a:prstGeom>
        </p:spPr>
      </p:pic>
    </p:spTree>
    <p:extLst>
      <p:ext uri="{BB962C8B-B14F-4D97-AF65-F5344CB8AC3E}">
        <p14:creationId xmlns:p14="http://schemas.microsoft.com/office/powerpoint/2010/main" val="1224971465"/>
      </p:ext>
    </p:extLst>
  </p:cSld>
  <p:clrMapOvr>
    <a:masterClrMapping/>
  </p:clrMapOvr>
  <p:transition spd="med">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0E2B6-F6CD-4C05-BF18-6EBE6281B8B8}"/>
              </a:ext>
            </a:extLst>
          </p:cNvPr>
          <p:cNvSpPr>
            <a:spLocks noGrp="1"/>
          </p:cNvSpPr>
          <p:nvPr>
            <p:ph type="title"/>
          </p:nvPr>
        </p:nvSpPr>
        <p:spPr>
          <a:xfrm>
            <a:off x="193039" y="274657"/>
            <a:ext cx="7955280" cy="640080"/>
          </a:xfrm>
        </p:spPr>
        <p:txBody>
          <a:bodyPr>
            <a:normAutofit/>
          </a:bodyPr>
          <a:lstStyle/>
          <a:p>
            <a:r>
              <a:rPr lang="en-US" dirty="0"/>
              <a:t>What is Statistics ? </a:t>
            </a:r>
          </a:p>
        </p:txBody>
      </p:sp>
      <p:pic>
        <p:nvPicPr>
          <p:cNvPr id="4" name="Picture 3">
            <a:extLst>
              <a:ext uri="{FF2B5EF4-FFF2-40B4-BE49-F238E27FC236}">
                <a16:creationId xmlns:a16="http://schemas.microsoft.com/office/drawing/2014/main" id="{695DD122-1AE0-4635-B074-79C43F8020D2}"/>
              </a:ext>
            </a:extLst>
          </p:cNvPr>
          <p:cNvPicPr>
            <a:picLocks noChangeAspect="1"/>
          </p:cNvPicPr>
          <p:nvPr/>
        </p:nvPicPr>
        <p:blipFill>
          <a:blip r:embed="rId3"/>
          <a:stretch>
            <a:fillRect/>
          </a:stretch>
        </p:blipFill>
        <p:spPr>
          <a:xfrm>
            <a:off x="93480" y="820792"/>
            <a:ext cx="8582362" cy="2424516"/>
          </a:xfrm>
          <a:prstGeom prst="rect">
            <a:avLst/>
          </a:prstGeom>
          <a:noFill/>
        </p:spPr>
      </p:pic>
      <p:sp>
        <p:nvSpPr>
          <p:cNvPr id="5" name="TextBox 4">
            <a:extLst>
              <a:ext uri="{FF2B5EF4-FFF2-40B4-BE49-F238E27FC236}">
                <a16:creationId xmlns:a16="http://schemas.microsoft.com/office/drawing/2014/main" id="{5491C1A3-7396-478E-AAB2-394B8BEDC9DE}"/>
              </a:ext>
            </a:extLst>
          </p:cNvPr>
          <p:cNvSpPr txBox="1"/>
          <p:nvPr/>
        </p:nvSpPr>
        <p:spPr>
          <a:xfrm>
            <a:off x="366432" y="3339253"/>
            <a:ext cx="8411135" cy="1260345"/>
          </a:xfrm>
          <a:prstGeom prst="rect">
            <a:avLst/>
          </a:prstGeom>
          <a:noFill/>
        </p:spPr>
        <p:txBody>
          <a:bodyPr wrap="square" rtlCol="0">
            <a:spAutoFit/>
          </a:bodyPr>
          <a:lstStyle/>
          <a:p>
            <a:pPr marL="0" marR="0">
              <a:lnSpc>
                <a:spcPct val="107000"/>
              </a:lnSpc>
              <a:spcBef>
                <a:spcPts val="0"/>
              </a:spcBef>
              <a:spcAft>
                <a:spcPts val="800"/>
              </a:spcAft>
            </a:pPr>
            <a:r>
              <a:rPr lang="en-US" dirty="0">
                <a:effectLst/>
                <a:latin typeface="Calibri" panose="020F0502020204030204" pitchFamily="34" charset="0"/>
                <a:ea typeface="DengXian" panose="02010600030101010101" pitchFamily="2" charset="-122"/>
                <a:cs typeface="Times New Roman" panose="02020603050405020304" pitchFamily="18" charset="0"/>
              </a:rPr>
              <a:t>Statistics is simply the study of data, facts, figures and measurements. Statistics is used to convert </a:t>
            </a:r>
            <a:r>
              <a:rPr lang="en-US" b="1" i="1" dirty="0">
                <a:effectLst/>
                <a:latin typeface="Calibri" panose="020F0502020204030204" pitchFamily="34" charset="0"/>
                <a:ea typeface="DengXian" panose="02010600030101010101" pitchFamily="2" charset="-122"/>
                <a:cs typeface="Times New Roman" panose="02020603050405020304" pitchFamily="18" charset="0"/>
              </a:rPr>
              <a:t>raw numerical data </a:t>
            </a:r>
            <a:r>
              <a:rPr lang="en-US" dirty="0">
                <a:effectLst/>
                <a:latin typeface="Calibri" panose="020F0502020204030204" pitchFamily="34" charset="0"/>
                <a:ea typeface="DengXian" panose="02010600030101010101" pitchFamily="2" charset="-122"/>
                <a:cs typeface="Times New Roman" panose="02020603050405020304" pitchFamily="18" charset="0"/>
              </a:rPr>
              <a:t>into </a:t>
            </a:r>
            <a:r>
              <a:rPr lang="en-US" b="1" i="1" dirty="0">
                <a:effectLst/>
                <a:latin typeface="Calibri" panose="020F0502020204030204" pitchFamily="34" charset="0"/>
                <a:ea typeface="DengXian" panose="02010600030101010101" pitchFamily="2" charset="-122"/>
                <a:cs typeface="Times New Roman" panose="02020603050405020304" pitchFamily="18" charset="0"/>
              </a:rPr>
              <a:t>useful information </a:t>
            </a:r>
            <a:r>
              <a:rPr lang="en-US" dirty="0">
                <a:effectLst/>
                <a:latin typeface="Calibri" panose="020F0502020204030204" pitchFamily="34" charset="0"/>
                <a:ea typeface="DengXian" panose="02010600030101010101" pitchFamily="2" charset="-122"/>
                <a:cs typeface="Times New Roman" panose="02020603050405020304" pitchFamily="18" charset="0"/>
              </a:rPr>
              <a:t>for relevant users. </a:t>
            </a:r>
          </a:p>
        </p:txBody>
      </p:sp>
    </p:spTree>
    <p:extLst>
      <p:ext uri="{BB962C8B-B14F-4D97-AF65-F5344CB8AC3E}">
        <p14:creationId xmlns:p14="http://schemas.microsoft.com/office/powerpoint/2010/main" val="364729349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353F6A-9246-4D32-89E2-3F5351AEB908}"/>
              </a:ext>
            </a:extLst>
          </p:cNvPr>
          <p:cNvSpPr>
            <a:spLocks noGrp="1"/>
          </p:cNvSpPr>
          <p:nvPr>
            <p:ph type="title"/>
          </p:nvPr>
        </p:nvSpPr>
        <p:spPr>
          <a:xfrm>
            <a:off x="0" y="22860"/>
            <a:ext cx="8813314" cy="640080"/>
          </a:xfrm>
        </p:spPr>
        <p:txBody>
          <a:bodyPr/>
          <a:lstStyle/>
          <a:p>
            <a:r>
              <a:rPr lang="en-US" dirty="0"/>
              <a:t>Difference between Descriptive &amp; Inferential Statistics</a:t>
            </a:r>
          </a:p>
        </p:txBody>
      </p:sp>
      <p:sp>
        <p:nvSpPr>
          <p:cNvPr id="3" name="Content Placeholder 2">
            <a:extLst>
              <a:ext uri="{FF2B5EF4-FFF2-40B4-BE49-F238E27FC236}">
                <a16:creationId xmlns:a16="http://schemas.microsoft.com/office/drawing/2014/main" id="{15960CB5-F854-43A7-A136-BE3BA4C2B693}"/>
              </a:ext>
            </a:extLst>
          </p:cNvPr>
          <p:cNvSpPr>
            <a:spLocks noGrp="1"/>
          </p:cNvSpPr>
          <p:nvPr>
            <p:ph sz="half" idx="13"/>
          </p:nvPr>
        </p:nvSpPr>
        <p:spPr/>
        <p:txBody>
          <a:bodyPr/>
          <a:lstStyle/>
          <a:p>
            <a:endParaRPr lang="en-US" dirty="0"/>
          </a:p>
        </p:txBody>
      </p:sp>
      <p:sp>
        <p:nvSpPr>
          <p:cNvPr id="4" name="Content Placeholder 3">
            <a:extLst>
              <a:ext uri="{FF2B5EF4-FFF2-40B4-BE49-F238E27FC236}">
                <a16:creationId xmlns:a16="http://schemas.microsoft.com/office/drawing/2014/main" id="{D0BD7AFE-1A0A-4FDF-8FF1-3E5CEB10A8A3}"/>
              </a:ext>
            </a:extLst>
          </p:cNvPr>
          <p:cNvSpPr>
            <a:spLocks noGrp="1"/>
          </p:cNvSpPr>
          <p:nvPr>
            <p:ph sz="half" idx="14"/>
          </p:nvPr>
        </p:nvSpPr>
        <p:spPr/>
        <p:txBody>
          <a:bodyPr/>
          <a:lstStyle/>
          <a:p>
            <a:endParaRPr lang="en-US" dirty="0"/>
          </a:p>
        </p:txBody>
      </p:sp>
    </p:spTree>
    <p:extLst>
      <p:ext uri="{BB962C8B-B14F-4D97-AF65-F5344CB8AC3E}">
        <p14:creationId xmlns:p14="http://schemas.microsoft.com/office/powerpoint/2010/main" val="1717064405"/>
      </p:ext>
    </p:extLst>
  </p:cSld>
  <p:clrMapOvr>
    <a:masterClrMapping/>
  </p:clrMapOvr>
  <p:transition spd="med">
    <p:wipe dir="r"/>
  </p:transition>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E38B80-4F7A-431C-83F8-3B00184B9F4D}"/>
              </a:ext>
            </a:extLst>
          </p:cNvPr>
          <p:cNvSpPr>
            <a:spLocks noGrp="1"/>
          </p:cNvSpPr>
          <p:nvPr>
            <p:ph type="title"/>
          </p:nvPr>
        </p:nvSpPr>
        <p:spPr>
          <a:xfrm>
            <a:off x="0" y="0"/>
            <a:ext cx="8229600" cy="637794"/>
          </a:xfrm>
        </p:spPr>
        <p:txBody>
          <a:bodyPr/>
          <a:lstStyle/>
          <a:p>
            <a:r>
              <a:rPr lang="en-US" dirty="0"/>
              <a:t>Hypothesis Testing </a:t>
            </a:r>
          </a:p>
        </p:txBody>
      </p:sp>
      <p:sp>
        <p:nvSpPr>
          <p:cNvPr id="3" name="TextBox 2">
            <a:extLst>
              <a:ext uri="{FF2B5EF4-FFF2-40B4-BE49-F238E27FC236}">
                <a16:creationId xmlns:a16="http://schemas.microsoft.com/office/drawing/2014/main" id="{80139C55-8B81-4BD5-9BCE-3AC09F631737}"/>
              </a:ext>
            </a:extLst>
          </p:cNvPr>
          <p:cNvSpPr txBox="1"/>
          <p:nvPr/>
        </p:nvSpPr>
        <p:spPr>
          <a:xfrm>
            <a:off x="97866" y="696855"/>
            <a:ext cx="7515616" cy="2285497"/>
          </a:xfrm>
          <a:prstGeom prst="rect">
            <a:avLst/>
          </a:prstGeom>
          <a:noFill/>
        </p:spPr>
        <p:txBody>
          <a:bodyPr wrap="square" rtlCol="0">
            <a:spAutoFit/>
          </a:bodyPr>
          <a:lstStyle/>
          <a:p>
            <a:pPr>
              <a:spcBef>
                <a:spcPts val="0"/>
              </a:spcBef>
              <a:spcAft>
                <a:spcPts val="0"/>
              </a:spcAft>
              <a:buClr>
                <a:schemeClr val="bg1"/>
              </a:buClr>
            </a:pPr>
            <a:r>
              <a:rPr lang="en-US" sz="18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There are two hypotheses that are made the null hypothesis denoted Ho and the alternative hypothesis denoted H1 or Ha.</a:t>
            </a:r>
          </a:p>
          <a:p>
            <a:pPr>
              <a:spcBef>
                <a:spcPts val="0"/>
              </a:spcBef>
              <a:spcAft>
                <a:spcPts val="0"/>
              </a:spcAft>
              <a:buClr>
                <a:schemeClr val="bg1"/>
              </a:buClr>
            </a:pPr>
            <a:endParaRPr lang="en-US" sz="1800" dirty="0">
              <a:solidFill>
                <a:srgbClr val="000000"/>
              </a:solidFill>
              <a:latin typeface="Times New Roman" panose="02020603050405020304" pitchFamily="18"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en-US" sz="18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The null hypothesis is the one to be tested and the alternative is everything else.</a:t>
            </a:r>
            <a:endParaRPr lang="en-US" sz="18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en-US" sz="18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In our example, the null hypothesis would be.</a:t>
            </a:r>
            <a:endParaRPr lang="en-US" sz="1800" dirty="0">
              <a:effectLst/>
              <a:latin typeface="Calibri" panose="020F0502020204030204" pitchFamily="34" charset="0"/>
              <a:ea typeface="DengXian" panose="02010600030101010101" pitchFamily="2" charset="-122"/>
              <a:cs typeface="Times New Roman" panose="02020603050405020304" pitchFamily="18" charset="0"/>
            </a:endParaRPr>
          </a:p>
          <a:p>
            <a:pPr>
              <a:spcBef>
                <a:spcPts val="0"/>
              </a:spcBef>
              <a:spcAft>
                <a:spcPts val="0"/>
              </a:spcAft>
              <a:buClr>
                <a:schemeClr val="bg1"/>
              </a:buClr>
            </a:pPr>
            <a:endParaRPr lang="en-US" sz="1800" dirty="0">
              <a:effectLst/>
              <a:latin typeface="Calibri" panose="020F0502020204030204" pitchFamily="34" charset="0"/>
              <a:ea typeface="DengXian" panose="02010600030101010101" pitchFamily="2" charset="-122"/>
              <a:cs typeface="Times New Roman" panose="02020603050405020304" pitchFamily="18" charset="0"/>
            </a:endParaRPr>
          </a:p>
          <a:p>
            <a:pPr>
              <a:spcBef>
                <a:spcPts val="0"/>
              </a:spcBef>
              <a:spcAft>
                <a:spcPts val="0"/>
              </a:spcAft>
              <a:buClr>
                <a:schemeClr val="bg1"/>
              </a:buClr>
            </a:pPr>
            <a:endParaRPr lang="en-US" sz="1800" dirty="0">
              <a:effectLst/>
              <a:latin typeface="Calibri" panose="020F0502020204030204" pitchFamily="34" charset="0"/>
              <a:ea typeface="DengXian" panose="02010600030101010101" pitchFamily="2" charset="-122"/>
              <a:cs typeface="Times New Roman" panose="02020603050405020304" pitchFamily="18"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E788D533-F181-42A6-8A1E-8E8E2F3034A8}"/>
              </a:ext>
            </a:extLst>
          </p:cNvPr>
          <p:cNvPicPr>
            <a:picLocks noChangeAspect="1"/>
          </p:cNvPicPr>
          <p:nvPr/>
        </p:nvPicPr>
        <p:blipFill>
          <a:blip r:embed="rId2"/>
          <a:stretch>
            <a:fillRect/>
          </a:stretch>
        </p:blipFill>
        <p:spPr>
          <a:xfrm>
            <a:off x="854810" y="2571750"/>
            <a:ext cx="6519979" cy="1810622"/>
          </a:xfrm>
          <a:prstGeom prst="rect">
            <a:avLst/>
          </a:prstGeom>
        </p:spPr>
      </p:pic>
    </p:spTree>
    <p:extLst>
      <p:ext uri="{BB962C8B-B14F-4D97-AF65-F5344CB8AC3E}">
        <p14:creationId xmlns:p14="http://schemas.microsoft.com/office/powerpoint/2010/main" val="4218712023"/>
      </p:ext>
    </p:extLst>
  </p:cSld>
  <p:clrMapOvr>
    <a:masterClrMapping/>
  </p:clrMapOvr>
  <p:transition spd="med">
    <p:wipe dir="r"/>
  </p:transition>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B4433-AFA0-4134-8DE8-9FD12AF10C49}"/>
              </a:ext>
            </a:extLst>
          </p:cNvPr>
          <p:cNvSpPr>
            <a:spLocks noGrp="1"/>
          </p:cNvSpPr>
          <p:nvPr>
            <p:ph type="title"/>
          </p:nvPr>
        </p:nvSpPr>
        <p:spPr>
          <a:xfrm>
            <a:off x="0" y="0"/>
            <a:ext cx="8229600" cy="637794"/>
          </a:xfrm>
        </p:spPr>
        <p:txBody>
          <a:bodyPr/>
          <a:lstStyle/>
          <a:p>
            <a:r>
              <a:rPr lang="en-US" dirty="0"/>
              <a:t>Hypothesis Testing</a:t>
            </a:r>
          </a:p>
        </p:txBody>
      </p:sp>
      <p:pic>
        <p:nvPicPr>
          <p:cNvPr id="4" name="Picture 3" descr="A picture containing person, person, sitting, indoor&#10;&#10;Description automatically generated">
            <a:extLst>
              <a:ext uri="{FF2B5EF4-FFF2-40B4-BE49-F238E27FC236}">
                <a16:creationId xmlns:a16="http://schemas.microsoft.com/office/drawing/2014/main" id="{99F63499-0450-460B-B55F-E3C5BF1C728D}"/>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8491" y="833966"/>
            <a:ext cx="5486400" cy="3717036"/>
          </a:xfrm>
          <a:prstGeom prst="rect">
            <a:avLst/>
          </a:prstGeom>
        </p:spPr>
      </p:pic>
      <p:sp>
        <p:nvSpPr>
          <p:cNvPr id="6" name="TextBox 5">
            <a:extLst>
              <a:ext uri="{FF2B5EF4-FFF2-40B4-BE49-F238E27FC236}">
                <a16:creationId xmlns:a16="http://schemas.microsoft.com/office/drawing/2014/main" id="{8D5CA0CC-9B02-4966-9B93-AFAAA5DC11B3}"/>
              </a:ext>
            </a:extLst>
          </p:cNvPr>
          <p:cNvSpPr txBox="1"/>
          <p:nvPr/>
        </p:nvSpPr>
        <p:spPr>
          <a:xfrm>
            <a:off x="5733191" y="1228600"/>
            <a:ext cx="2974932" cy="2554545"/>
          </a:xfrm>
          <a:prstGeom prst="rect">
            <a:avLst/>
          </a:prstGeom>
          <a:noFill/>
        </p:spPr>
        <p:txBody>
          <a:bodyPr wrap="square" rtlCol="0">
            <a:spAutoFit/>
          </a:bodyPr>
          <a:lstStyle/>
          <a:p>
            <a:pPr>
              <a:spcBef>
                <a:spcPts val="0"/>
              </a:spcBef>
              <a:spcAft>
                <a:spcPts val="0"/>
              </a:spcAft>
              <a:buClr>
                <a:schemeClr val="bg1"/>
              </a:buClr>
            </a:pPr>
            <a:r>
              <a:rPr lang="en-US" sz="4000" dirty="0">
                <a:solidFill>
                  <a:schemeClr val="bg1"/>
                </a:solidFill>
                <a:effectLst/>
                <a:latin typeface="Times New Roman" panose="02020603050405020304" pitchFamily="18" charset="0"/>
                <a:ea typeface="Times New Roman" panose="02020603050405020304" pitchFamily="18" charset="0"/>
              </a:rPr>
              <a:t>Ho is like</a:t>
            </a:r>
            <a:r>
              <a:rPr lang="en-US" sz="4000" dirty="0">
                <a:effectLst/>
                <a:latin typeface="Times New Roman" panose="02020603050405020304" pitchFamily="18" charset="0"/>
                <a:ea typeface="Times New Roman" panose="02020603050405020304" pitchFamily="18" charset="0"/>
              </a:rPr>
              <a:t> </a:t>
            </a:r>
            <a:r>
              <a:rPr lang="en-US" sz="4000" b="1" dirty="0">
                <a:effectLst/>
                <a:latin typeface="Times New Roman" panose="02020603050405020304" pitchFamily="18" charset="0"/>
                <a:ea typeface="Times New Roman" panose="02020603050405020304" pitchFamily="18" charset="0"/>
              </a:rPr>
              <a:t>“innocent until proven guilty”</a:t>
            </a:r>
            <a:endParaRPr lang="en-US" sz="1400" dirty="0">
              <a:solidFill>
                <a:schemeClr val="bg2"/>
              </a:solidFill>
              <a:latin typeface="+mn-lt"/>
            </a:endParaRPr>
          </a:p>
        </p:txBody>
      </p:sp>
    </p:spTree>
    <p:extLst>
      <p:ext uri="{BB962C8B-B14F-4D97-AF65-F5344CB8AC3E}">
        <p14:creationId xmlns:p14="http://schemas.microsoft.com/office/powerpoint/2010/main" val="3127898569"/>
      </p:ext>
    </p:extLst>
  </p:cSld>
  <p:clrMapOvr>
    <a:masterClrMapping/>
  </p:clrMapOvr>
  <p:transition spd="med">
    <p:wipe dir="r"/>
  </p:transition>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8C6517-247F-4050-A0B4-F7B6E788CB65}"/>
              </a:ext>
            </a:extLst>
          </p:cNvPr>
          <p:cNvSpPr>
            <a:spLocks noGrp="1"/>
          </p:cNvSpPr>
          <p:nvPr>
            <p:ph type="title"/>
          </p:nvPr>
        </p:nvSpPr>
        <p:spPr>
          <a:xfrm>
            <a:off x="0" y="0"/>
            <a:ext cx="8229600" cy="637794"/>
          </a:xfrm>
        </p:spPr>
        <p:txBody>
          <a:bodyPr/>
          <a:lstStyle/>
          <a:p>
            <a:r>
              <a:rPr lang="en-US" dirty="0"/>
              <a:t>Characteristics of Hypothesis</a:t>
            </a:r>
          </a:p>
        </p:txBody>
      </p:sp>
      <p:sp>
        <p:nvSpPr>
          <p:cNvPr id="3" name="TextBox 2">
            <a:extLst>
              <a:ext uri="{FF2B5EF4-FFF2-40B4-BE49-F238E27FC236}">
                <a16:creationId xmlns:a16="http://schemas.microsoft.com/office/drawing/2014/main" id="{83ABBB82-AE00-47FD-9355-14225974A62C}"/>
              </a:ext>
            </a:extLst>
          </p:cNvPr>
          <p:cNvSpPr txBox="1"/>
          <p:nvPr/>
        </p:nvSpPr>
        <p:spPr>
          <a:xfrm>
            <a:off x="87682" y="807929"/>
            <a:ext cx="6739003" cy="2462213"/>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e hypothesis should be clear and precise to consider it to be reliable.</a:t>
            </a:r>
          </a:p>
          <a:p>
            <a:pPr>
              <a:spcBef>
                <a:spcPts val="0"/>
              </a:spcBef>
              <a:spcAft>
                <a:spcPts val="0"/>
              </a:spcAft>
              <a:buClr>
                <a:schemeClr val="bg1"/>
              </a:buCl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If the hypothesis is a relational hypothesis, then it should be stating the relationship between variables.</a:t>
            </a:r>
          </a:p>
          <a:p>
            <a:pPr>
              <a:spcBef>
                <a:spcPts val="0"/>
              </a:spcBef>
              <a:spcAft>
                <a:spcPts val="0"/>
              </a:spcAft>
              <a:buClr>
                <a:schemeClr val="bg1"/>
              </a:buCl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e hypothesis must be specific and should have scope for conducting more tests.</a:t>
            </a:r>
          </a:p>
          <a:p>
            <a:pPr>
              <a:spcBef>
                <a:spcPts val="0"/>
              </a:spcBef>
              <a:spcAft>
                <a:spcPts val="0"/>
              </a:spcAft>
              <a:buClr>
                <a:schemeClr val="bg1"/>
              </a:buCl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e way of explanation of the hypothesis must be very simple and it should also be understood that the simplicity of the hypothesis is not related to its significance.</a:t>
            </a:r>
          </a:p>
        </p:txBody>
      </p:sp>
    </p:spTree>
    <p:extLst>
      <p:ext uri="{BB962C8B-B14F-4D97-AF65-F5344CB8AC3E}">
        <p14:creationId xmlns:p14="http://schemas.microsoft.com/office/powerpoint/2010/main" val="1023448987"/>
      </p:ext>
    </p:extLst>
  </p:cSld>
  <p:clrMapOvr>
    <a:masterClrMapping/>
  </p:clrMapOvr>
  <p:transition spd="med">
    <p:wipe dir="r"/>
  </p:transition>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FD45CB-1A1A-43F2-91B3-4C1530CC3B65}"/>
              </a:ext>
            </a:extLst>
          </p:cNvPr>
          <p:cNvSpPr>
            <a:spLocks noGrp="1"/>
          </p:cNvSpPr>
          <p:nvPr>
            <p:ph type="title"/>
          </p:nvPr>
        </p:nvSpPr>
        <p:spPr>
          <a:xfrm>
            <a:off x="0" y="0"/>
            <a:ext cx="8229600" cy="637794"/>
          </a:xfrm>
        </p:spPr>
        <p:txBody>
          <a:bodyPr/>
          <a:lstStyle/>
          <a:p>
            <a:r>
              <a:rPr lang="en-US" dirty="0"/>
              <a:t>Null hypothesis</a:t>
            </a:r>
          </a:p>
        </p:txBody>
      </p:sp>
      <p:sp>
        <p:nvSpPr>
          <p:cNvPr id="3" name="TextBox 2">
            <a:extLst>
              <a:ext uri="{FF2B5EF4-FFF2-40B4-BE49-F238E27FC236}">
                <a16:creationId xmlns:a16="http://schemas.microsoft.com/office/drawing/2014/main" id="{5C8732B3-DF0B-4291-AE42-6FD66F633EE7}"/>
              </a:ext>
            </a:extLst>
          </p:cNvPr>
          <p:cNvSpPr txBox="1"/>
          <p:nvPr/>
        </p:nvSpPr>
        <p:spPr>
          <a:xfrm>
            <a:off x="175365" y="755867"/>
            <a:ext cx="6553502" cy="1815882"/>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It is an assertion that we hold as true unless we have a sufficient statistical evidence to conclude otherwise</a:t>
            </a:r>
          </a:p>
          <a:p>
            <a:pPr>
              <a:spcBef>
                <a:spcPts val="0"/>
              </a:spcBef>
              <a:spcAft>
                <a:spcPts val="0"/>
              </a:spcAft>
              <a:buClr>
                <a:schemeClr val="bg1"/>
              </a:buClr>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Null hypotheses is denoted by Ho</a:t>
            </a:r>
          </a:p>
          <a:p>
            <a:pPr>
              <a:spcBef>
                <a:spcPts val="0"/>
              </a:spcBef>
              <a:spcAft>
                <a:spcPts val="0"/>
              </a:spcAft>
              <a:buClr>
                <a:schemeClr val="bg1"/>
              </a:buClr>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If a population mean is equal to hypothesized mean, then null hypothesis can be written as </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p:txBody>
      </p:sp>
      <p:sp>
        <p:nvSpPr>
          <p:cNvPr id="6" name="TextBox 5">
            <a:extLst>
              <a:ext uri="{FF2B5EF4-FFF2-40B4-BE49-F238E27FC236}">
                <a16:creationId xmlns:a16="http://schemas.microsoft.com/office/drawing/2014/main" id="{9DC7B69E-8742-4CB8-B4D2-A59C9C8B1A11}"/>
              </a:ext>
            </a:extLst>
          </p:cNvPr>
          <p:cNvSpPr txBox="1"/>
          <p:nvPr/>
        </p:nvSpPr>
        <p:spPr>
          <a:xfrm>
            <a:off x="2561716" y="2571749"/>
            <a:ext cx="3106167" cy="769441"/>
          </a:xfrm>
          <a:prstGeom prst="rect">
            <a:avLst/>
          </a:prstGeom>
          <a:noFill/>
        </p:spPr>
        <p:txBody>
          <a:bodyPr wrap="square" rtlCol="0">
            <a:spAutoFit/>
          </a:bodyPr>
          <a:lstStyle/>
          <a:p>
            <a:pPr>
              <a:spcBef>
                <a:spcPts val="0"/>
              </a:spcBef>
              <a:spcAft>
                <a:spcPts val="0"/>
              </a:spcAft>
              <a:buClr>
                <a:schemeClr val="bg1"/>
              </a:buClr>
            </a:pPr>
            <a:r>
              <a:rPr lang="en-US" sz="3200" b="1" dirty="0">
                <a:solidFill>
                  <a:schemeClr val="bg2"/>
                </a:solidFill>
                <a:latin typeface="+mn-lt"/>
              </a:rPr>
              <a:t>Ho : </a:t>
            </a:r>
            <a:r>
              <a:rPr lang="en-US" sz="4400" b="1" dirty="0">
                <a:solidFill>
                  <a:schemeClr val="bg2"/>
                </a:solidFill>
                <a:latin typeface="+mn-lt"/>
              </a:rPr>
              <a:t>µ</a:t>
            </a:r>
            <a:r>
              <a:rPr lang="en-US" sz="3200" b="1" dirty="0">
                <a:solidFill>
                  <a:schemeClr val="bg2"/>
                </a:solidFill>
                <a:latin typeface="+mn-lt"/>
              </a:rPr>
              <a:t> = </a:t>
            </a:r>
            <a:r>
              <a:rPr lang="en-US" sz="4400" b="1" dirty="0">
                <a:solidFill>
                  <a:schemeClr val="bg2"/>
                </a:solidFill>
                <a:latin typeface="+mn-lt"/>
              </a:rPr>
              <a:t>µ</a:t>
            </a:r>
            <a:r>
              <a:rPr lang="en-US" sz="3200" b="1" dirty="0">
                <a:solidFill>
                  <a:schemeClr val="bg2"/>
                </a:solidFill>
                <a:latin typeface="+mn-lt"/>
              </a:rPr>
              <a:t>o </a:t>
            </a:r>
          </a:p>
        </p:txBody>
      </p:sp>
    </p:spTree>
    <p:extLst>
      <p:ext uri="{BB962C8B-B14F-4D97-AF65-F5344CB8AC3E}">
        <p14:creationId xmlns:p14="http://schemas.microsoft.com/office/powerpoint/2010/main" val="988468279"/>
      </p:ext>
    </p:extLst>
  </p:cSld>
  <p:clrMapOvr>
    <a:masterClrMapping/>
  </p:clrMapOvr>
  <p:transition spd="med">
    <p:wipe dir="r"/>
  </p:transition>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D035E6-7B5D-4008-8305-5242ADECE9CE}"/>
              </a:ext>
            </a:extLst>
          </p:cNvPr>
          <p:cNvSpPr>
            <a:spLocks noGrp="1"/>
          </p:cNvSpPr>
          <p:nvPr>
            <p:ph type="title"/>
          </p:nvPr>
        </p:nvSpPr>
        <p:spPr>
          <a:xfrm>
            <a:off x="0" y="23718"/>
            <a:ext cx="8229600" cy="637794"/>
          </a:xfrm>
        </p:spPr>
        <p:txBody>
          <a:bodyPr/>
          <a:lstStyle/>
          <a:p>
            <a:r>
              <a:rPr lang="en-US" dirty="0"/>
              <a:t>Alternate Hypothesis</a:t>
            </a:r>
          </a:p>
        </p:txBody>
      </p:sp>
      <p:sp>
        <p:nvSpPr>
          <p:cNvPr id="5" name="TextBox 4">
            <a:extLst>
              <a:ext uri="{FF2B5EF4-FFF2-40B4-BE49-F238E27FC236}">
                <a16:creationId xmlns:a16="http://schemas.microsoft.com/office/drawing/2014/main" id="{6D5A94A9-9594-4777-A35F-54E59F11362E}"/>
              </a:ext>
            </a:extLst>
          </p:cNvPr>
          <p:cNvSpPr txBox="1"/>
          <p:nvPr/>
        </p:nvSpPr>
        <p:spPr>
          <a:xfrm>
            <a:off x="175365" y="755868"/>
            <a:ext cx="7991414" cy="954107"/>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The Alternate hypothesis is negation of null hypothesis and is denoted by Ha or H1</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If Null is given as  </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p:txBody>
      </p:sp>
      <p:pic>
        <p:nvPicPr>
          <p:cNvPr id="6" name="Picture 5">
            <a:extLst>
              <a:ext uri="{FF2B5EF4-FFF2-40B4-BE49-F238E27FC236}">
                <a16:creationId xmlns:a16="http://schemas.microsoft.com/office/drawing/2014/main" id="{1A5EACF5-78AA-46CC-A723-53C41A375414}"/>
              </a:ext>
            </a:extLst>
          </p:cNvPr>
          <p:cNvPicPr>
            <a:picLocks noChangeAspect="1"/>
          </p:cNvPicPr>
          <p:nvPr/>
        </p:nvPicPr>
        <p:blipFill>
          <a:blip r:embed="rId2"/>
          <a:stretch>
            <a:fillRect/>
          </a:stretch>
        </p:blipFill>
        <p:spPr>
          <a:xfrm>
            <a:off x="2291903" y="1582375"/>
            <a:ext cx="1652848" cy="686088"/>
          </a:xfrm>
          <a:prstGeom prst="rect">
            <a:avLst/>
          </a:prstGeom>
        </p:spPr>
      </p:pic>
      <p:sp>
        <p:nvSpPr>
          <p:cNvPr id="7" name="TextBox 6">
            <a:extLst>
              <a:ext uri="{FF2B5EF4-FFF2-40B4-BE49-F238E27FC236}">
                <a16:creationId xmlns:a16="http://schemas.microsoft.com/office/drawing/2014/main" id="{4110321E-835A-45A3-B6EA-B92B0C13BB56}"/>
              </a:ext>
            </a:extLst>
          </p:cNvPr>
          <p:cNvSpPr txBox="1"/>
          <p:nvPr/>
        </p:nvSpPr>
        <p:spPr>
          <a:xfrm>
            <a:off x="263046" y="2397830"/>
            <a:ext cx="6288065"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en alternate hypothesis can be written as </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p:txBody>
      </p:sp>
      <p:pic>
        <p:nvPicPr>
          <p:cNvPr id="9" name="Picture 8">
            <a:extLst>
              <a:ext uri="{FF2B5EF4-FFF2-40B4-BE49-F238E27FC236}">
                <a16:creationId xmlns:a16="http://schemas.microsoft.com/office/drawing/2014/main" id="{62834C50-3D34-4C4E-BBFD-4DA1E61CFC4D}"/>
              </a:ext>
            </a:extLst>
          </p:cNvPr>
          <p:cNvPicPr>
            <a:picLocks noChangeAspect="1"/>
          </p:cNvPicPr>
          <p:nvPr/>
        </p:nvPicPr>
        <p:blipFill>
          <a:blip r:embed="rId3"/>
          <a:stretch>
            <a:fillRect/>
          </a:stretch>
        </p:blipFill>
        <p:spPr>
          <a:xfrm>
            <a:off x="2384902" y="2921049"/>
            <a:ext cx="1466851" cy="1524001"/>
          </a:xfrm>
          <a:prstGeom prst="rect">
            <a:avLst/>
          </a:prstGeom>
        </p:spPr>
      </p:pic>
    </p:spTree>
    <p:extLst>
      <p:ext uri="{BB962C8B-B14F-4D97-AF65-F5344CB8AC3E}">
        <p14:creationId xmlns:p14="http://schemas.microsoft.com/office/powerpoint/2010/main" val="2305712686"/>
      </p:ext>
    </p:extLst>
  </p:cSld>
  <p:clrMapOvr>
    <a:masterClrMapping/>
  </p:clrMapOvr>
  <p:transition spd="med">
    <p:wipe dir="r"/>
  </p:transition>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F727AB-13F4-456F-B866-F6B98AC11331}"/>
              </a:ext>
            </a:extLst>
          </p:cNvPr>
          <p:cNvSpPr>
            <a:spLocks noGrp="1"/>
          </p:cNvSpPr>
          <p:nvPr>
            <p:ph type="title"/>
          </p:nvPr>
        </p:nvSpPr>
        <p:spPr>
          <a:xfrm>
            <a:off x="0" y="0"/>
            <a:ext cx="8229600" cy="637794"/>
          </a:xfrm>
        </p:spPr>
        <p:txBody>
          <a:bodyPr/>
          <a:lstStyle/>
          <a:p>
            <a:r>
              <a:rPr lang="en-US" dirty="0"/>
              <a:t>Level of Significance and Confidence Interval</a:t>
            </a:r>
          </a:p>
        </p:txBody>
      </p:sp>
      <p:sp>
        <p:nvSpPr>
          <p:cNvPr id="4" name="TextBox 3">
            <a:extLst>
              <a:ext uri="{FF2B5EF4-FFF2-40B4-BE49-F238E27FC236}">
                <a16:creationId xmlns:a16="http://schemas.microsoft.com/office/drawing/2014/main" id="{82D3DB49-8862-4712-B71F-E7994F038ADE}"/>
              </a:ext>
            </a:extLst>
          </p:cNvPr>
          <p:cNvSpPr txBox="1"/>
          <p:nvPr/>
        </p:nvSpPr>
        <p:spPr>
          <a:xfrm>
            <a:off x="175365" y="755868"/>
            <a:ext cx="7741084" cy="1384995"/>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Significance mean the percentage of risk to reject a null hypothesis when it is true, and it is denoted by </a:t>
            </a:r>
            <a:r>
              <a:rPr lang="el-GR" sz="1400" dirty="0">
                <a:solidFill>
                  <a:schemeClr val="bg2"/>
                </a:solidFill>
                <a:latin typeface="+mn-lt"/>
              </a:rPr>
              <a:t>α</a:t>
            </a:r>
            <a:r>
              <a:rPr lang="en-US" sz="1400" dirty="0">
                <a:solidFill>
                  <a:schemeClr val="bg2"/>
                </a:solidFill>
                <a:latin typeface="+mn-lt"/>
              </a:rPr>
              <a:t>. Generally taken as 1%, 5%, 10% . </a:t>
            </a:r>
            <a:r>
              <a:rPr lang="en-US" sz="1400" b="1" i="1" dirty="0">
                <a:solidFill>
                  <a:schemeClr val="bg2"/>
                </a:solidFill>
                <a:latin typeface="+mn-lt"/>
              </a:rPr>
              <a:t>Its value is often 5%</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1- </a:t>
            </a:r>
            <a:r>
              <a:rPr lang="el-GR" sz="1400" dirty="0">
                <a:solidFill>
                  <a:schemeClr val="bg2"/>
                </a:solidFill>
                <a:latin typeface="+mn-lt"/>
              </a:rPr>
              <a:t>α</a:t>
            </a:r>
            <a:r>
              <a:rPr lang="en-US" sz="1400" dirty="0">
                <a:solidFill>
                  <a:schemeClr val="bg2"/>
                </a:solidFill>
                <a:latin typeface="+mn-lt"/>
              </a:rPr>
              <a:t>) is the confidence interval in which the null hypothesis will exist when it is true,</a:t>
            </a:r>
          </a:p>
          <a:p>
            <a:pPr>
              <a:spcBef>
                <a:spcPts val="0"/>
              </a:spcBef>
              <a:spcAft>
                <a:spcPts val="0"/>
              </a:spcAft>
              <a:buClr>
                <a:schemeClr val="bg1"/>
              </a:buClr>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p:txBody>
      </p:sp>
    </p:spTree>
    <p:extLst>
      <p:ext uri="{BB962C8B-B14F-4D97-AF65-F5344CB8AC3E}">
        <p14:creationId xmlns:p14="http://schemas.microsoft.com/office/powerpoint/2010/main" val="2918655441"/>
      </p:ext>
    </p:extLst>
  </p:cSld>
  <p:clrMapOvr>
    <a:masterClrMapping/>
  </p:clrMapOvr>
  <p:transition spd="med">
    <p:wipe dir="r"/>
  </p:transition>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563CC6-4A06-4DE4-989E-729E2C10721F}"/>
              </a:ext>
            </a:extLst>
          </p:cNvPr>
          <p:cNvSpPr>
            <a:spLocks noGrp="1"/>
          </p:cNvSpPr>
          <p:nvPr>
            <p:ph type="title"/>
          </p:nvPr>
        </p:nvSpPr>
        <p:spPr/>
        <p:txBody>
          <a:bodyPr/>
          <a:lstStyle/>
          <a:p>
            <a:r>
              <a:rPr lang="en-US" dirty="0"/>
              <a:t>Risk of rejecting a Null Hypothesis</a:t>
            </a:r>
          </a:p>
        </p:txBody>
      </p:sp>
      <p:pic>
        <p:nvPicPr>
          <p:cNvPr id="6" name="Picture 5">
            <a:extLst>
              <a:ext uri="{FF2B5EF4-FFF2-40B4-BE49-F238E27FC236}">
                <a16:creationId xmlns:a16="http://schemas.microsoft.com/office/drawing/2014/main" id="{A2F7BB1F-BD10-4CA2-9821-239579BB28D2}"/>
              </a:ext>
            </a:extLst>
          </p:cNvPr>
          <p:cNvPicPr>
            <a:picLocks noChangeAspect="1"/>
          </p:cNvPicPr>
          <p:nvPr/>
        </p:nvPicPr>
        <p:blipFill>
          <a:blip r:embed="rId2"/>
          <a:stretch>
            <a:fillRect/>
          </a:stretch>
        </p:blipFill>
        <p:spPr>
          <a:xfrm>
            <a:off x="1481901" y="1247556"/>
            <a:ext cx="5615246" cy="2444945"/>
          </a:xfrm>
          <a:prstGeom prst="rect">
            <a:avLst/>
          </a:prstGeom>
        </p:spPr>
      </p:pic>
    </p:spTree>
    <p:extLst>
      <p:ext uri="{BB962C8B-B14F-4D97-AF65-F5344CB8AC3E}">
        <p14:creationId xmlns:p14="http://schemas.microsoft.com/office/powerpoint/2010/main" val="696544914"/>
      </p:ext>
    </p:extLst>
  </p:cSld>
  <p:clrMapOvr>
    <a:masterClrMapping/>
  </p:clrMapOvr>
  <p:transition spd="med">
    <p:wipe dir="r"/>
  </p:transition>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D0D435-2A14-4500-95E5-C36F1DA109B9}"/>
              </a:ext>
            </a:extLst>
          </p:cNvPr>
          <p:cNvSpPr>
            <a:spLocks noGrp="1"/>
          </p:cNvSpPr>
          <p:nvPr>
            <p:ph type="title"/>
          </p:nvPr>
        </p:nvSpPr>
        <p:spPr>
          <a:xfrm>
            <a:off x="0" y="0"/>
            <a:ext cx="8229600" cy="637794"/>
          </a:xfrm>
        </p:spPr>
        <p:txBody>
          <a:bodyPr/>
          <a:lstStyle/>
          <a:p>
            <a:r>
              <a:rPr lang="en-US" dirty="0"/>
              <a:t>Type 1 &amp; Type 2 Error</a:t>
            </a:r>
          </a:p>
        </p:txBody>
      </p:sp>
      <p:pic>
        <p:nvPicPr>
          <p:cNvPr id="4" name="Picture 3">
            <a:extLst>
              <a:ext uri="{FF2B5EF4-FFF2-40B4-BE49-F238E27FC236}">
                <a16:creationId xmlns:a16="http://schemas.microsoft.com/office/drawing/2014/main" id="{97AF25F5-611C-42FE-B364-5B5305848078}"/>
              </a:ext>
            </a:extLst>
          </p:cNvPr>
          <p:cNvPicPr>
            <a:picLocks noChangeAspect="1"/>
          </p:cNvPicPr>
          <p:nvPr/>
        </p:nvPicPr>
        <p:blipFill>
          <a:blip r:embed="rId2"/>
          <a:stretch>
            <a:fillRect/>
          </a:stretch>
        </p:blipFill>
        <p:spPr>
          <a:xfrm>
            <a:off x="1606671" y="978203"/>
            <a:ext cx="6050556" cy="2636425"/>
          </a:xfrm>
          <a:prstGeom prst="rect">
            <a:avLst/>
          </a:prstGeom>
        </p:spPr>
      </p:pic>
    </p:spTree>
    <p:extLst>
      <p:ext uri="{BB962C8B-B14F-4D97-AF65-F5344CB8AC3E}">
        <p14:creationId xmlns:p14="http://schemas.microsoft.com/office/powerpoint/2010/main" val="4025378249"/>
      </p:ext>
    </p:extLst>
  </p:cSld>
  <p:clrMapOvr>
    <a:masterClrMapping/>
  </p:clrMapOvr>
  <p:transition spd="med">
    <p:wipe dir="r"/>
  </p:transition>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5A1A0D-B77C-443E-AB72-2353B1C05506}"/>
              </a:ext>
            </a:extLst>
          </p:cNvPr>
          <p:cNvSpPr>
            <a:spLocks noGrp="1"/>
          </p:cNvSpPr>
          <p:nvPr>
            <p:ph type="title"/>
          </p:nvPr>
        </p:nvSpPr>
        <p:spPr>
          <a:xfrm>
            <a:off x="0" y="0"/>
            <a:ext cx="8229600" cy="637794"/>
          </a:xfrm>
        </p:spPr>
        <p:txBody>
          <a:bodyPr/>
          <a:lstStyle/>
          <a:p>
            <a:r>
              <a:rPr lang="en-US" dirty="0"/>
              <a:t>Two Tailed Test @ 5% Significance Level</a:t>
            </a:r>
          </a:p>
        </p:txBody>
      </p:sp>
    </p:spTree>
    <p:extLst>
      <p:ext uri="{BB962C8B-B14F-4D97-AF65-F5344CB8AC3E}">
        <p14:creationId xmlns:p14="http://schemas.microsoft.com/office/powerpoint/2010/main" val="3180788964"/>
      </p:ext>
    </p:extLst>
  </p:cSld>
  <p:clrMapOvr>
    <a:masterClrMapping/>
  </p:clrMapOvr>
  <p:transition spd="med">
    <p:wipe dir="r"/>
  </p:transition>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DCF496-9FFB-448A-8831-14C5BB83649C}"/>
              </a:ext>
            </a:extLst>
          </p:cNvPr>
          <p:cNvSpPr>
            <a:spLocks noGrp="1"/>
          </p:cNvSpPr>
          <p:nvPr>
            <p:ph type="title"/>
          </p:nvPr>
        </p:nvSpPr>
        <p:spPr>
          <a:xfrm>
            <a:off x="0" y="0"/>
            <a:ext cx="8229600" cy="637794"/>
          </a:xfrm>
        </p:spPr>
        <p:txBody>
          <a:bodyPr/>
          <a:lstStyle/>
          <a:p>
            <a:r>
              <a:rPr lang="en-US" dirty="0"/>
              <a:t>Hypothesis Testing Examples</a:t>
            </a:r>
          </a:p>
        </p:txBody>
      </p:sp>
      <p:sp>
        <p:nvSpPr>
          <p:cNvPr id="4" name="TextBox 3">
            <a:extLst>
              <a:ext uri="{FF2B5EF4-FFF2-40B4-BE49-F238E27FC236}">
                <a16:creationId xmlns:a16="http://schemas.microsoft.com/office/drawing/2014/main" id="{AD83BA8D-F621-4C18-B52F-3A7713FE2F1E}"/>
              </a:ext>
            </a:extLst>
          </p:cNvPr>
          <p:cNvSpPr txBox="1"/>
          <p:nvPr/>
        </p:nvSpPr>
        <p:spPr>
          <a:xfrm>
            <a:off x="83764" y="746877"/>
            <a:ext cx="6023870" cy="2677656"/>
          </a:xfrm>
          <a:prstGeom prst="rect">
            <a:avLst/>
          </a:prstGeom>
          <a:noFill/>
        </p:spPr>
        <p:txBody>
          <a:bodyPr wrap="square" rtlCol="0">
            <a:spAutoFit/>
          </a:bodyPr>
          <a:lstStyle/>
          <a:p>
            <a:pPr>
              <a:spcBef>
                <a:spcPts val="0"/>
              </a:spcBef>
              <a:spcAft>
                <a:spcPts val="0"/>
              </a:spcAft>
              <a:buClr>
                <a:schemeClr val="bg1"/>
              </a:buClr>
            </a:pPr>
            <a:r>
              <a:rPr lang="en-US" dirty="0">
                <a:solidFill>
                  <a:schemeClr val="bg2"/>
                </a:solidFill>
                <a:latin typeface="+mn-lt"/>
              </a:rPr>
              <a:t>The average IQ for the adult population is 100 with a standard deviation of 15. A researcher believed this value as changes. The researcher decided to test the IQ of 75 random adults. The average IQ of the sample is 104. Is there enough evidence to suggest the average IQ has changed ? </a:t>
            </a:r>
          </a:p>
        </p:txBody>
      </p:sp>
      <p:pic>
        <p:nvPicPr>
          <p:cNvPr id="6" name="Picture 5" descr="A picture containing text, headdress, helmet, light&#10;&#10;Description automatically generated">
            <a:extLst>
              <a:ext uri="{FF2B5EF4-FFF2-40B4-BE49-F238E27FC236}">
                <a16:creationId xmlns:a16="http://schemas.microsoft.com/office/drawing/2014/main" id="{940EEF37-950A-4261-A202-7AF35E960C0B}"/>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163475" y="746877"/>
            <a:ext cx="2980525" cy="2211400"/>
          </a:xfrm>
          <a:prstGeom prst="rect">
            <a:avLst/>
          </a:prstGeom>
        </p:spPr>
      </p:pic>
    </p:spTree>
    <p:extLst>
      <p:ext uri="{BB962C8B-B14F-4D97-AF65-F5344CB8AC3E}">
        <p14:creationId xmlns:p14="http://schemas.microsoft.com/office/powerpoint/2010/main" val="4268418747"/>
      </p:ext>
    </p:extLst>
  </p:cSld>
  <p:clrMapOvr>
    <a:masterClrMapping/>
  </p:clrMapOvr>
  <p:transition spd="med">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FC8215-06B8-4351-9335-9403B3D730B9}"/>
              </a:ext>
            </a:extLst>
          </p:cNvPr>
          <p:cNvSpPr>
            <a:spLocks noGrp="1"/>
          </p:cNvSpPr>
          <p:nvPr>
            <p:ph type="title"/>
          </p:nvPr>
        </p:nvSpPr>
        <p:spPr>
          <a:xfrm>
            <a:off x="0" y="0"/>
            <a:ext cx="7955280" cy="640080"/>
          </a:xfrm>
        </p:spPr>
        <p:txBody>
          <a:bodyPr/>
          <a:lstStyle/>
          <a:p>
            <a:r>
              <a:rPr lang="en-US" dirty="0"/>
              <a:t>Independent, Dependent &amp; Control variable</a:t>
            </a:r>
          </a:p>
        </p:txBody>
      </p:sp>
      <p:pic>
        <p:nvPicPr>
          <p:cNvPr id="8" name="Picture 7">
            <a:extLst>
              <a:ext uri="{FF2B5EF4-FFF2-40B4-BE49-F238E27FC236}">
                <a16:creationId xmlns:a16="http://schemas.microsoft.com/office/drawing/2014/main" id="{AD1BE78B-FDD2-4D9B-AFEC-AC74CC8BAC9D}"/>
              </a:ext>
            </a:extLst>
          </p:cNvPr>
          <p:cNvPicPr>
            <a:picLocks noChangeAspect="1"/>
          </p:cNvPicPr>
          <p:nvPr/>
        </p:nvPicPr>
        <p:blipFill>
          <a:blip r:embed="rId2"/>
          <a:stretch>
            <a:fillRect/>
          </a:stretch>
        </p:blipFill>
        <p:spPr>
          <a:xfrm>
            <a:off x="0" y="920893"/>
            <a:ext cx="9144000" cy="1514796"/>
          </a:xfrm>
          <a:prstGeom prst="rect">
            <a:avLst/>
          </a:prstGeom>
        </p:spPr>
      </p:pic>
      <p:sp>
        <p:nvSpPr>
          <p:cNvPr id="9" name="TextBox 8">
            <a:extLst>
              <a:ext uri="{FF2B5EF4-FFF2-40B4-BE49-F238E27FC236}">
                <a16:creationId xmlns:a16="http://schemas.microsoft.com/office/drawing/2014/main" id="{C743302E-AC6C-4AE7-821D-EAB10932335B}"/>
              </a:ext>
            </a:extLst>
          </p:cNvPr>
          <p:cNvSpPr txBox="1"/>
          <p:nvPr/>
        </p:nvSpPr>
        <p:spPr>
          <a:xfrm>
            <a:off x="48861" y="2716502"/>
            <a:ext cx="8390144" cy="1877437"/>
          </a:xfrm>
          <a:prstGeom prst="rect">
            <a:avLst/>
          </a:prstGeom>
          <a:noFill/>
        </p:spPr>
        <p:txBody>
          <a:bodyPr wrap="square" rtlCol="0">
            <a:spAutoFit/>
          </a:bodyPr>
          <a:lstStyle/>
          <a:p>
            <a:pPr algn="l"/>
            <a:r>
              <a:rPr lang="en-US" sz="1100" b="1" i="0" dirty="0">
                <a:solidFill>
                  <a:srgbClr val="000000"/>
                </a:solidFill>
                <a:effectLst/>
                <a:latin typeface="Open Sans" panose="020B0606030504020204" pitchFamily="34" charset="0"/>
              </a:rPr>
              <a:t>Importance of the Control Variables</a:t>
            </a:r>
          </a:p>
          <a:p>
            <a:pPr algn="l"/>
            <a:endParaRPr lang="en-US" sz="1100" b="0" i="0" dirty="0">
              <a:solidFill>
                <a:srgbClr val="000000"/>
              </a:solidFill>
              <a:effectLst/>
              <a:latin typeface="Open Sans" panose="020B0606030504020204" pitchFamily="34" charset="0"/>
            </a:endParaRPr>
          </a:p>
          <a:p>
            <a:pPr marL="171450" indent="-171450">
              <a:buFont typeface="Arial" panose="020B0604020202020204" pitchFamily="34" charset="0"/>
              <a:buChar char="•"/>
            </a:pPr>
            <a:r>
              <a:rPr lang="en-US" sz="1000" dirty="0">
                <a:solidFill>
                  <a:schemeClr val="bg2">
                    <a:lumMod val="50000"/>
                    <a:lumOff val="50000"/>
                  </a:schemeClr>
                </a:solidFill>
                <a:latin typeface="+mn-lt"/>
              </a:rPr>
              <a:t>Although control variables may not be measured as they are not recorded, yet they can have a significant effect on the outcome of an experiment.</a:t>
            </a:r>
          </a:p>
          <a:p>
            <a:pPr marL="171450" indent="-171450">
              <a:buFont typeface="Arial" panose="020B0604020202020204" pitchFamily="34" charset="0"/>
              <a:buChar char="•"/>
            </a:pPr>
            <a:r>
              <a:rPr lang="en-US" sz="1000" dirty="0">
                <a:solidFill>
                  <a:schemeClr val="bg2">
                    <a:lumMod val="50000"/>
                    <a:lumOff val="50000"/>
                  </a:schemeClr>
                </a:solidFill>
                <a:latin typeface="+mn-lt"/>
              </a:rPr>
              <a:t>Therefore, the lack of awareness of control variables may lead to faulty results or what is called “confounding variables”. So, recording control variables makes it easier to reproduce an experiment and to establish the relationship between the independent and dependent variables.</a:t>
            </a:r>
          </a:p>
          <a:p>
            <a:pPr marL="171450" indent="-171450">
              <a:buFont typeface="Arial" panose="020B0604020202020204" pitchFamily="34" charset="0"/>
              <a:buChar char="•"/>
            </a:pPr>
            <a:r>
              <a:rPr lang="en-US" sz="1000" dirty="0">
                <a:solidFill>
                  <a:schemeClr val="bg2">
                    <a:lumMod val="50000"/>
                    <a:lumOff val="50000"/>
                  </a:schemeClr>
                </a:solidFill>
                <a:latin typeface="+mn-lt"/>
              </a:rPr>
              <a:t>For example, suppose we are trying to determine whether a particular fertilizer influences plant growth. Here, the independent variable is the presence or absence of the fertilizer, whereas the dependent variable is the height of the plant or rate of growth.</a:t>
            </a:r>
          </a:p>
          <a:p>
            <a:pPr marL="171450" indent="-171450">
              <a:buFont typeface="Arial" panose="020B0604020202020204" pitchFamily="34" charset="0"/>
              <a:buChar char="•"/>
            </a:pPr>
            <a:r>
              <a:rPr lang="en-US" sz="1000" dirty="0">
                <a:solidFill>
                  <a:schemeClr val="bg2">
                    <a:lumMod val="50000"/>
                    <a:lumOff val="50000"/>
                  </a:schemeClr>
                </a:solidFill>
                <a:latin typeface="+mn-lt"/>
              </a:rPr>
              <a:t>If we don’t control the amount of light, for example, we perform some part of the experiment in the summer and some part during the winter, we may skew our results.</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2513017721"/>
      </p:ext>
    </p:extLst>
  </p:cSld>
  <p:clrMapOvr>
    <a:masterClrMapping/>
  </p:clrMapOvr>
  <p:transition spd="med">
    <p:wipe dir="r"/>
  </p:transition>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31D8E5-FA6E-4248-BA63-18FB34306751}"/>
              </a:ext>
            </a:extLst>
          </p:cNvPr>
          <p:cNvSpPr>
            <a:spLocks noGrp="1"/>
          </p:cNvSpPr>
          <p:nvPr>
            <p:ph type="title"/>
          </p:nvPr>
        </p:nvSpPr>
        <p:spPr>
          <a:xfrm>
            <a:off x="0" y="0"/>
            <a:ext cx="8229600" cy="637794"/>
          </a:xfrm>
        </p:spPr>
        <p:txBody>
          <a:bodyPr/>
          <a:lstStyle/>
          <a:p>
            <a:r>
              <a:rPr lang="en-US" dirty="0"/>
              <a:t>Hypothesis Testing - Steps</a:t>
            </a:r>
          </a:p>
        </p:txBody>
      </p:sp>
      <p:sp>
        <p:nvSpPr>
          <p:cNvPr id="3" name="TextBox 2">
            <a:extLst>
              <a:ext uri="{FF2B5EF4-FFF2-40B4-BE49-F238E27FC236}">
                <a16:creationId xmlns:a16="http://schemas.microsoft.com/office/drawing/2014/main" id="{6049F860-6F45-41D3-9E06-3A3B4E72DB40}"/>
              </a:ext>
            </a:extLst>
          </p:cNvPr>
          <p:cNvSpPr txBox="1"/>
          <p:nvPr/>
        </p:nvSpPr>
        <p:spPr>
          <a:xfrm>
            <a:off x="0" y="637794"/>
            <a:ext cx="8941576" cy="3244158"/>
          </a:xfrm>
          <a:prstGeom prst="rect">
            <a:avLst/>
          </a:prstGeom>
          <a:noFill/>
        </p:spPr>
        <p:txBody>
          <a:bodyPr wrap="square" rtlCol="0">
            <a:spAutoFit/>
          </a:bodyPr>
          <a:lstStyle/>
          <a:p>
            <a:pPr marL="342900" indent="-342900">
              <a:lnSpc>
                <a:spcPct val="150000"/>
              </a:lnSpc>
              <a:spcBef>
                <a:spcPts val="0"/>
              </a:spcBef>
              <a:spcAft>
                <a:spcPts val="0"/>
              </a:spcAft>
              <a:buClr>
                <a:schemeClr val="bg1"/>
              </a:buClr>
              <a:buAutoNum type="arabicPeriod"/>
            </a:pPr>
            <a:r>
              <a:rPr lang="en-US" sz="2800" dirty="0">
                <a:solidFill>
                  <a:schemeClr val="bg2"/>
                </a:solidFill>
                <a:latin typeface="+mn-lt"/>
              </a:rPr>
              <a:t>State null (Ho) and alternative (H1 or Ha) hypothesis</a:t>
            </a:r>
          </a:p>
          <a:p>
            <a:pPr marL="342900" indent="-342900">
              <a:lnSpc>
                <a:spcPct val="150000"/>
              </a:lnSpc>
              <a:spcBef>
                <a:spcPts val="0"/>
              </a:spcBef>
              <a:spcAft>
                <a:spcPts val="0"/>
              </a:spcAft>
              <a:buClr>
                <a:schemeClr val="bg1"/>
              </a:buClr>
              <a:buAutoNum type="arabicPeriod"/>
            </a:pPr>
            <a:r>
              <a:rPr lang="en-US" sz="2800" dirty="0">
                <a:solidFill>
                  <a:schemeClr val="bg2"/>
                </a:solidFill>
                <a:latin typeface="+mn-lt"/>
              </a:rPr>
              <a:t>Choose level of significance (</a:t>
            </a:r>
            <a:r>
              <a:rPr lang="el-GR" sz="2800" dirty="0">
                <a:solidFill>
                  <a:schemeClr val="bg2"/>
                </a:solidFill>
                <a:latin typeface="+mn-lt"/>
              </a:rPr>
              <a:t>α</a:t>
            </a:r>
            <a:r>
              <a:rPr lang="en-US" sz="2800" dirty="0">
                <a:solidFill>
                  <a:schemeClr val="bg2"/>
                </a:solidFill>
                <a:latin typeface="+mn-lt"/>
              </a:rPr>
              <a:t> )</a:t>
            </a:r>
          </a:p>
          <a:p>
            <a:pPr marL="342900" indent="-342900">
              <a:lnSpc>
                <a:spcPct val="150000"/>
              </a:lnSpc>
              <a:spcBef>
                <a:spcPts val="0"/>
              </a:spcBef>
              <a:spcAft>
                <a:spcPts val="0"/>
              </a:spcAft>
              <a:buClr>
                <a:schemeClr val="bg1"/>
              </a:buClr>
              <a:buAutoNum type="arabicPeriod"/>
            </a:pPr>
            <a:r>
              <a:rPr lang="en-US" sz="2800" dirty="0">
                <a:solidFill>
                  <a:schemeClr val="bg2"/>
                </a:solidFill>
                <a:latin typeface="+mn-lt"/>
              </a:rPr>
              <a:t>Find Critical values</a:t>
            </a:r>
          </a:p>
          <a:p>
            <a:pPr marL="342900" indent="-342900">
              <a:lnSpc>
                <a:spcPct val="150000"/>
              </a:lnSpc>
              <a:spcBef>
                <a:spcPts val="0"/>
              </a:spcBef>
              <a:spcAft>
                <a:spcPts val="0"/>
              </a:spcAft>
              <a:buClr>
                <a:schemeClr val="bg1"/>
              </a:buClr>
              <a:buAutoNum type="arabicPeriod"/>
            </a:pPr>
            <a:r>
              <a:rPr lang="en-US" sz="2800" dirty="0">
                <a:solidFill>
                  <a:schemeClr val="bg2"/>
                </a:solidFill>
                <a:latin typeface="+mn-lt"/>
              </a:rPr>
              <a:t>Find test statistics </a:t>
            </a:r>
          </a:p>
          <a:p>
            <a:pPr marL="342900" indent="-342900">
              <a:lnSpc>
                <a:spcPct val="150000"/>
              </a:lnSpc>
              <a:spcBef>
                <a:spcPts val="0"/>
              </a:spcBef>
              <a:spcAft>
                <a:spcPts val="0"/>
              </a:spcAft>
              <a:buClr>
                <a:schemeClr val="bg1"/>
              </a:buClr>
              <a:buAutoNum type="arabicPeriod"/>
            </a:pPr>
            <a:r>
              <a:rPr lang="en-US" sz="2800" dirty="0">
                <a:solidFill>
                  <a:schemeClr val="bg2"/>
                </a:solidFill>
                <a:latin typeface="+mn-lt"/>
              </a:rPr>
              <a:t>Draw you conclusion</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C086578E-9105-4820-9514-6A0D8059F6C7}"/>
                  </a:ext>
                </a:extLst>
              </p14:cNvPr>
              <p14:cNvContentPartPr/>
              <p14:nvPr/>
            </p14:nvContentPartPr>
            <p14:xfrm>
              <a:off x="1852560" y="766800"/>
              <a:ext cx="7048800" cy="3938760"/>
            </p14:xfrm>
          </p:contentPart>
        </mc:Choice>
        <mc:Fallback>
          <p:pic>
            <p:nvPicPr>
              <p:cNvPr id="4" name="Ink 3">
                <a:extLst>
                  <a:ext uri="{FF2B5EF4-FFF2-40B4-BE49-F238E27FC236}">
                    <a16:creationId xmlns:a16="http://schemas.microsoft.com/office/drawing/2014/main" id="{C086578E-9105-4820-9514-6A0D8059F6C7}"/>
                  </a:ext>
                </a:extLst>
              </p:cNvPr>
              <p:cNvPicPr/>
              <p:nvPr/>
            </p:nvPicPr>
            <p:blipFill>
              <a:blip r:embed="rId3"/>
              <a:stretch>
                <a:fillRect/>
              </a:stretch>
            </p:blipFill>
            <p:spPr>
              <a:xfrm>
                <a:off x="1843200" y="757440"/>
                <a:ext cx="7067520" cy="3957480"/>
              </a:xfrm>
              <a:prstGeom prst="rect">
                <a:avLst/>
              </a:prstGeom>
            </p:spPr>
          </p:pic>
        </mc:Fallback>
      </mc:AlternateContent>
    </p:spTree>
    <p:extLst>
      <p:ext uri="{BB962C8B-B14F-4D97-AF65-F5344CB8AC3E}">
        <p14:creationId xmlns:p14="http://schemas.microsoft.com/office/powerpoint/2010/main" val="204049777"/>
      </p:ext>
    </p:extLst>
  </p:cSld>
  <p:clrMapOvr>
    <a:masterClrMapping/>
  </p:clrMapOvr>
  <p:transition spd="med">
    <p:wipe dir="r"/>
  </p:transition>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D1BAA2-D019-49AC-ABEE-0868D81CFFA9}"/>
              </a:ext>
            </a:extLst>
          </p:cNvPr>
          <p:cNvSpPr>
            <a:spLocks noGrp="1"/>
          </p:cNvSpPr>
          <p:nvPr>
            <p:ph type="title"/>
          </p:nvPr>
        </p:nvSpPr>
        <p:spPr>
          <a:xfrm>
            <a:off x="0" y="0"/>
            <a:ext cx="8229600" cy="637794"/>
          </a:xfrm>
        </p:spPr>
        <p:txBody>
          <a:bodyPr/>
          <a:lstStyle/>
          <a:p>
            <a:r>
              <a:rPr lang="en-US" dirty="0"/>
              <a:t>Hypothesis testing : Example 1</a:t>
            </a:r>
          </a:p>
        </p:txBody>
      </p:sp>
      <p:sp>
        <p:nvSpPr>
          <p:cNvPr id="3" name="TextBox 2">
            <a:extLst>
              <a:ext uri="{FF2B5EF4-FFF2-40B4-BE49-F238E27FC236}">
                <a16:creationId xmlns:a16="http://schemas.microsoft.com/office/drawing/2014/main" id="{62FB1BB1-6F3D-42D6-B7DB-1C2D1FBED6C6}"/>
              </a:ext>
            </a:extLst>
          </p:cNvPr>
          <p:cNvSpPr txBox="1"/>
          <p:nvPr/>
        </p:nvSpPr>
        <p:spPr>
          <a:xfrm>
            <a:off x="181484" y="637794"/>
            <a:ext cx="4390516" cy="307777"/>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solidFill>
                <a:latin typeface="+mn-lt"/>
              </a:rPr>
              <a:t>Step 1: State Null &amp; Alternative Hypothesis</a:t>
            </a:r>
          </a:p>
        </p:txBody>
      </p:sp>
      <p:sp>
        <p:nvSpPr>
          <p:cNvPr id="4" name="TextBox 3">
            <a:extLst>
              <a:ext uri="{FF2B5EF4-FFF2-40B4-BE49-F238E27FC236}">
                <a16:creationId xmlns:a16="http://schemas.microsoft.com/office/drawing/2014/main" id="{1D61FC9B-4B76-4752-9017-EF8FB387F56F}"/>
              </a:ext>
            </a:extLst>
          </p:cNvPr>
          <p:cNvSpPr txBox="1"/>
          <p:nvPr/>
        </p:nvSpPr>
        <p:spPr>
          <a:xfrm>
            <a:off x="307127" y="1465832"/>
            <a:ext cx="3462155"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Average IQ of the adult population is 100 </a:t>
            </a:r>
          </a:p>
        </p:txBody>
      </p:sp>
      <p:sp>
        <p:nvSpPr>
          <p:cNvPr id="5" name="TextBox 4">
            <a:extLst>
              <a:ext uri="{FF2B5EF4-FFF2-40B4-BE49-F238E27FC236}">
                <a16:creationId xmlns:a16="http://schemas.microsoft.com/office/drawing/2014/main" id="{4628530F-12AE-4E1C-8898-D94771F7BC8A}"/>
              </a:ext>
            </a:extLst>
          </p:cNvPr>
          <p:cNvSpPr txBox="1"/>
          <p:nvPr/>
        </p:nvSpPr>
        <p:spPr>
          <a:xfrm>
            <a:off x="397869" y="1033063"/>
            <a:ext cx="2868842"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o : </a:t>
            </a:r>
            <a:r>
              <a:rPr lang="el-GR" sz="1400" dirty="0">
                <a:solidFill>
                  <a:schemeClr val="bg2"/>
                </a:solidFill>
                <a:latin typeface="+mn-lt"/>
              </a:rPr>
              <a:t>μ</a:t>
            </a:r>
            <a:r>
              <a:rPr lang="en-US" sz="1400" dirty="0">
                <a:solidFill>
                  <a:schemeClr val="bg2"/>
                </a:solidFill>
                <a:latin typeface="+mn-lt"/>
              </a:rPr>
              <a:t> = 100</a:t>
            </a:r>
          </a:p>
        </p:txBody>
      </p:sp>
      <p:sp>
        <p:nvSpPr>
          <p:cNvPr id="6" name="TextBox 5">
            <a:extLst>
              <a:ext uri="{FF2B5EF4-FFF2-40B4-BE49-F238E27FC236}">
                <a16:creationId xmlns:a16="http://schemas.microsoft.com/office/drawing/2014/main" id="{204FFC55-8734-4FCB-97C1-271D7B1910D1}"/>
              </a:ext>
            </a:extLst>
          </p:cNvPr>
          <p:cNvSpPr txBox="1"/>
          <p:nvPr/>
        </p:nvSpPr>
        <p:spPr>
          <a:xfrm>
            <a:off x="4822122" y="1451359"/>
            <a:ext cx="3861188"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A researcher believes this value has changed</a:t>
            </a:r>
          </a:p>
        </p:txBody>
      </p:sp>
      <p:sp>
        <p:nvSpPr>
          <p:cNvPr id="7" name="TextBox 6">
            <a:extLst>
              <a:ext uri="{FF2B5EF4-FFF2-40B4-BE49-F238E27FC236}">
                <a16:creationId xmlns:a16="http://schemas.microsoft.com/office/drawing/2014/main" id="{BF9D3648-256D-432A-8ED3-B09104C9A129}"/>
              </a:ext>
            </a:extLst>
          </p:cNvPr>
          <p:cNvSpPr txBox="1"/>
          <p:nvPr/>
        </p:nvSpPr>
        <p:spPr>
          <a:xfrm>
            <a:off x="4912864" y="1018590"/>
            <a:ext cx="2868842"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1 : </a:t>
            </a:r>
            <a:r>
              <a:rPr lang="el-GR" sz="1400" dirty="0">
                <a:solidFill>
                  <a:schemeClr val="bg2"/>
                </a:solidFill>
                <a:latin typeface="+mn-lt"/>
              </a:rPr>
              <a:t>μ</a:t>
            </a:r>
            <a:r>
              <a:rPr lang="en-US" sz="1400" dirty="0">
                <a:solidFill>
                  <a:schemeClr val="bg2"/>
                </a:solidFill>
                <a:latin typeface="+mn-lt"/>
              </a:rPr>
              <a:t> != 100</a:t>
            </a:r>
          </a:p>
        </p:txBody>
      </p:sp>
      <p:sp>
        <p:nvSpPr>
          <p:cNvPr id="8" name="TextBox 7">
            <a:extLst>
              <a:ext uri="{FF2B5EF4-FFF2-40B4-BE49-F238E27FC236}">
                <a16:creationId xmlns:a16="http://schemas.microsoft.com/office/drawing/2014/main" id="{88927D2B-DB4F-47BF-977C-68BD8C9A5935}"/>
              </a:ext>
            </a:extLst>
          </p:cNvPr>
          <p:cNvSpPr txBox="1"/>
          <p:nvPr/>
        </p:nvSpPr>
        <p:spPr>
          <a:xfrm>
            <a:off x="258265" y="2279397"/>
            <a:ext cx="6184415" cy="1600438"/>
          </a:xfrm>
          <a:prstGeom prst="rect">
            <a:avLst/>
          </a:prstGeom>
          <a:noFill/>
        </p:spPr>
        <p:txBody>
          <a:bodyPr wrap="square" rtlCol="0">
            <a:spAutoFit/>
          </a:bodyPr>
          <a:lstStyle/>
          <a:p>
            <a:pPr>
              <a:spcBef>
                <a:spcPts val="0"/>
              </a:spcBef>
              <a:spcAft>
                <a:spcPts val="0"/>
              </a:spcAft>
              <a:buClr>
                <a:schemeClr val="bg1"/>
              </a:buClr>
            </a:pPr>
            <a:r>
              <a:rPr lang="en-US" sz="1400" b="1" u="sng" dirty="0">
                <a:solidFill>
                  <a:schemeClr val="bg2"/>
                </a:solidFill>
                <a:latin typeface="+mn-lt"/>
              </a:rPr>
              <a:t>Simple Rules: </a:t>
            </a:r>
          </a:p>
          <a:p>
            <a:pPr>
              <a:spcBef>
                <a:spcPts val="0"/>
              </a:spcBef>
              <a:spcAft>
                <a:spcPts val="0"/>
              </a:spcAft>
              <a:buClr>
                <a:schemeClr val="bg1"/>
              </a:buClr>
            </a:pPr>
            <a:endParaRPr lang="en-US" sz="1400" dirty="0">
              <a:solidFill>
                <a:schemeClr val="bg2"/>
              </a:solidFill>
              <a:latin typeface="+mn-lt"/>
            </a:endParaRPr>
          </a:p>
          <a:p>
            <a:pPr marL="342900" indent="-342900">
              <a:spcBef>
                <a:spcPts val="0"/>
              </a:spcBef>
              <a:spcAft>
                <a:spcPts val="0"/>
              </a:spcAft>
              <a:buClr>
                <a:schemeClr val="bg1"/>
              </a:buClr>
              <a:buAutoNum type="arabicPeriod"/>
            </a:pPr>
            <a:r>
              <a:rPr lang="en-US" sz="1400" dirty="0">
                <a:solidFill>
                  <a:schemeClr val="bg2"/>
                </a:solidFill>
                <a:latin typeface="+mn-lt"/>
              </a:rPr>
              <a:t>Null hypothesis should always have = or &gt;= or &lt;= symbol</a:t>
            </a:r>
          </a:p>
          <a:p>
            <a:pPr marL="342900" indent="-342900">
              <a:spcBef>
                <a:spcPts val="0"/>
              </a:spcBef>
              <a:spcAft>
                <a:spcPts val="0"/>
              </a:spcAft>
              <a:buClr>
                <a:schemeClr val="bg1"/>
              </a:buClr>
              <a:buAutoNum type="arabicPeriod"/>
            </a:pPr>
            <a:r>
              <a:rPr lang="en-US" sz="1400" dirty="0">
                <a:solidFill>
                  <a:schemeClr val="bg2"/>
                </a:solidFill>
                <a:latin typeface="+mn-lt"/>
              </a:rPr>
              <a:t>Alternative hypothesis could have one of these &gt; or &lt; or != </a:t>
            </a:r>
          </a:p>
          <a:p>
            <a:pPr marL="342900" indent="-342900">
              <a:spcBef>
                <a:spcPts val="0"/>
              </a:spcBef>
              <a:spcAft>
                <a:spcPts val="0"/>
              </a:spcAft>
              <a:buClr>
                <a:schemeClr val="bg1"/>
              </a:buClr>
              <a:buAutoNum type="arabicPeriod"/>
            </a:pPr>
            <a:r>
              <a:rPr lang="en-US" sz="1400" dirty="0">
                <a:solidFill>
                  <a:schemeClr val="bg2"/>
                </a:solidFill>
                <a:latin typeface="+mn-lt"/>
              </a:rPr>
              <a:t>Alternative hypothesis is “what is being claimed”</a:t>
            </a:r>
          </a:p>
          <a:p>
            <a:pPr marL="342900" indent="-342900">
              <a:spcBef>
                <a:spcPts val="0"/>
              </a:spcBef>
              <a:spcAft>
                <a:spcPts val="0"/>
              </a:spcAft>
              <a:buClr>
                <a:schemeClr val="bg1"/>
              </a:buClr>
              <a:buAutoNum type="arabicPeriod"/>
            </a:pPr>
            <a:r>
              <a:rPr lang="en-US" sz="1400" dirty="0">
                <a:solidFill>
                  <a:schemeClr val="bg2"/>
                </a:solidFill>
                <a:latin typeface="+mn-lt"/>
              </a:rPr>
              <a:t>When H1 has != then we do a two tailed test</a:t>
            </a:r>
          </a:p>
          <a:p>
            <a:pPr marL="342900" indent="-342900">
              <a:spcBef>
                <a:spcPts val="0"/>
              </a:spcBef>
              <a:spcAft>
                <a:spcPts val="0"/>
              </a:spcAft>
              <a:buClr>
                <a:schemeClr val="bg1"/>
              </a:buClr>
              <a:buAutoNum type="arabicPeriod"/>
            </a:pPr>
            <a:r>
              <a:rPr lang="en-US" sz="1400" dirty="0">
                <a:solidFill>
                  <a:schemeClr val="bg2"/>
                </a:solidFill>
                <a:latin typeface="+mn-lt"/>
              </a:rPr>
              <a:t>When H1 has either &gt; or &lt; or &gt;= or &lt;= then we do a one tailed test</a:t>
            </a:r>
          </a:p>
        </p:txBody>
      </p:sp>
      <p:sp>
        <p:nvSpPr>
          <p:cNvPr id="9" name="TextBox 8">
            <a:extLst>
              <a:ext uri="{FF2B5EF4-FFF2-40B4-BE49-F238E27FC236}">
                <a16:creationId xmlns:a16="http://schemas.microsoft.com/office/drawing/2014/main" id="{24B59567-0D3A-4C6E-B806-E2AC2A730FD3}"/>
              </a:ext>
            </a:extLst>
          </p:cNvPr>
          <p:cNvSpPr txBox="1"/>
          <p:nvPr/>
        </p:nvSpPr>
        <p:spPr>
          <a:xfrm>
            <a:off x="258265" y="4062449"/>
            <a:ext cx="7217479" cy="276999"/>
          </a:xfrm>
          <a:prstGeom prst="rect">
            <a:avLst/>
          </a:prstGeom>
          <a:noFill/>
        </p:spPr>
        <p:txBody>
          <a:bodyPr wrap="square" rtlCol="0">
            <a:spAutoFit/>
          </a:bodyPr>
          <a:lstStyle/>
          <a:p>
            <a:pPr>
              <a:spcBef>
                <a:spcPts val="0"/>
              </a:spcBef>
              <a:spcAft>
                <a:spcPts val="0"/>
              </a:spcAft>
              <a:buClr>
                <a:schemeClr val="bg1"/>
              </a:buClr>
            </a:pPr>
            <a:r>
              <a:rPr lang="en-US" sz="1200" b="1" i="1" dirty="0">
                <a:solidFill>
                  <a:schemeClr val="bg2"/>
                </a:solidFill>
                <a:latin typeface="+mn-lt"/>
              </a:rPr>
              <a:t>**Note : Hypothesis Testing is done to prove whether Ho can be Rejected or Accepted</a:t>
            </a:r>
          </a:p>
        </p:txBody>
      </p:sp>
    </p:spTree>
    <p:extLst>
      <p:ext uri="{BB962C8B-B14F-4D97-AF65-F5344CB8AC3E}">
        <p14:creationId xmlns:p14="http://schemas.microsoft.com/office/powerpoint/2010/main" val="2700326730"/>
      </p:ext>
    </p:extLst>
  </p:cSld>
  <p:clrMapOvr>
    <a:masterClrMapping/>
  </p:clrMapOvr>
  <p:transition spd="med">
    <p:wipe dir="r"/>
  </p:transition>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315E4-0472-4F1D-B864-56A1F903B741}"/>
              </a:ext>
            </a:extLst>
          </p:cNvPr>
          <p:cNvSpPr>
            <a:spLocks noGrp="1"/>
          </p:cNvSpPr>
          <p:nvPr>
            <p:ph type="title"/>
          </p:nvPr>
        </p:nvSpPr>
        <p:spPr>
          <a:xfrm>
            <a:off x="0" y="0"/>
            <a:ext cx="8229600" cy="637794"/>
          </a:xfrm>
        </p:spPr>
        <p:txBody>
          <a:bodyPr/>
          <a:lstStyle/>
          <a:p>
            <a:r>
              <a:rPr lang="en-US" dirty="0"/>
              <a:t>Hypothesis testing : Example 1</a:t>
            </a:r>
          </a:p>
        </p:txBody>
      </p:sp>
      <p:sp>
        <p:nvSpPr>
          <p:cNvPr id="3" name="TextBox 2">
            <a:extLst>
              <a:ext uri="{FF2B5EF4-FFF2-40B4-BE49-F238E27FC236}">
                <a16:creationId xmlns:a16="http://schemas.microsoft.com/office/drawing/2014/main" id="{EE0A83F7-FEC2-47B6-A8DC-367D2360EAFC}"/>
              </a:ext>
            </a:extLst>
          </p:cNvPr>
          <p:cNvSpPr txBox="1"/>
          <p:nvPr/>
        </p:nvSpPr>
        <p:spPr>
          <a:xfrm>
            <a:off x="181484" y="637794"/>
            <a:ext cx="4390516" cy="307777"/>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solidFill>
                <a:latin typeface="+mn-lt"/>
              </a:rPr>
              <a:t>Step 2: Choose the level of Significance</a:t>
            </a:r>
          </a:p>
        </p:txBody>
      </p:sp>
      <p:pic>
        <p:nvPicPr>
          <p:cNvPr id="5" name="Picture 4">
            <a:extLst>
              <a:ext uri="{FF2B5EF4-FFF2-40B4-BE49-F238E27FC236}">
                <a16:creationId xmlns:a16="http://schemas.microsoft.com/office/drawing/2014/main" id="{CA044120-2E73-4EE5-85C3-ED19BDE864E2}"/>
              </a:ext>
            </a:extLst>
          </p:cNvPr>
          <p:cNvPicPr>
            <a:picLocks noChangeAspect="1"/>
          </p:cNvPicPr>
          <p:nvPr/>
        </p:nvPicPr>
        <p:blipFill>
          <a:blip r:embed="rId2"/>
          <a:stretch>
            <a:fillRect/>
          </a:stretch>
        </p:blipFill>
        <p:spPr>
          <a:xfrm>
            <a:off x="690505" y="1013777"/>
            <a:ext cx="2866459" cy="1864646"/>
          </a:xfrm>
          <a:prstGeom prst="rect">
            <a:avLst/>
          </a:prstGeom>
        </p:spPr>
      </p:pic>
      <p:sp>
        <p:nvSpPr>
          <p:cNvPr id="6" name="TextBox 5">
            <a:extLst>
              <a:ext uri="{FF2B5EF4-FFF2-40B4-BE49-F238E27FC236}">
                <a16:creationId xmlns:a16="http://schemas.microsoft.com/office/drawing/2014/main" id="{C064D84D-392C-4C73-8B18-11D5BEDF8E75}"/>
              </a:ext>
            </a:extLst>
          </p:cNvPr>
          <p:cNvSpPr txBox="1"/>
          <p:nvPr/>
        </p:nvSpPr>
        <p:spPr>
          <a:xfrm>
            <a:off x="4114800" y="1256427"/>
            <a:ext cx="4338695" cy="1384995"/>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is is the area under the curve (</a:t>
            </a:r>
            <a:r>
              <a:rPr lang="en-US" sz="1400" dirty="0">
                <a:solidFill>
                  <a:srgbClr val="FF0000"/>
                </a:solidFill>
                <a:latin typeface="+mn-lt"/>
              </a:rPr>
              <a:t>marked red</a:t>
            </a:r>
            <a:r>
              <a:rPr lang="en-US" sz="1400" dirty="0">
                <a:solidFill>
                  <a:schemeClr val="bg2"/>
                </a:solidFill>
                <a:latin typeface="+mn-lt"/>
              </a:rPr>
              <a:t>)</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Usually, values are 5% or 1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5% =&gt; .05</a:t>
            </a:r>
          </a:p>
          <a:p>
            <a:pPr>
              <a:spcBef>
                <a:spcPts val="0"/>
              </a:spcBef>
              <a:spcAft>
                <a:spcPts val="0"/>
              </a:spcAft>
              <a:buClr>
                <a:schemeClr val="bg1"/>
              </a:buClr>
            </a:pPr>
            <a:r>
              <a:rPr lang="en-US" sz="1400" dirty="0">
                <a:solidFill>
                  <a:schemeClr val="bg2"/>
                </a:solidFill>
                <a:latin typeface="+mn-lt"/>
              </a:rPr>
              <a:t>1% = &gt; 0.01</a:t>
            </a:r>
          </a:p>
        </p:txBody>
      </p:sp>
      <p:pic>
        <p:nvPicPr>
          <p:cNvPr id="7" name="Picture 6">
            <a:extLst>
              <a:ext uri="{FF2B5EF4-FFF2-40B4-BE49-F238E27FC236}">
                <a16:creationId xmlns:a16="http://schemas.microsoft.com/office/drawing/2014/main" id="{9B9C2D55-639D-4B75-8801-9BC3DC241246}"/>
              </a:ext>
            </a:extLst>
          </p:cNvPr>
          <p:cNvPicPr>
            <a:picLocks noChangeAspect="1"/>
          </p:cNvPicPr>
          <p:nvPr/>
        </p:nvPicPr>
        <p:blipFill>
          <a:blip r:embed="rId3"/>
          <a:stretch>
            <a:fillRect/>
          </a:stretch>
        </p:blipFill>
        <p:spPr>
          <a:xfrm>
            <a:off x="5585327" y="3005279"/>
            <a:ext cx="2868168" cy="1866900"/>
          </a:xfrm>
          <a:prstGeom prst="rect">
            <a:avLst/>
          </a:prstGeom>
        </p:spPr>
      </p:pic>
      <p:sp>
        <p:nvSpPr>
          <p:cNvPr id="8" name="TextBox 7">
            <a:extLst>
              <a:ext uri="{FF2B5EF4-FFF2-40B4-BE49-F238E27FC236}">
                <a16:creationId xmlns:a16="http://schemas.microsoft.com/office/drawing/2014/main" id="{4D961854-9A77-407B-B194-98630954D410}"/>
              </a:ext>
            </a:extLst>
          </p:cNvPr>
          <p:cNvSpPr txBox="1"/>
          <p:nvPr/>
        </p:nvSpPr>
        <p:spPr>
          <a:xfrm>
            <a:off x="558412" y="3189930"/>
            <a:ext cx="3734382"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Note : If our test statistics comes in red tail’s part then we would Reject Ho else we will Reject Ho</a:t>
            </a:r>
          </a:p>
        </p:txBody>
      </p:sp>
    </p:spTree>
    <p:extLst>
      <p:ext uri="{BB962C8B-B14F-4D97-AF65-F5344CB8AC3E}">
        <p14:creationId xmlns:p14="http://schemas.microsoft.com/office/powerpoint/2010/main" val="517651273"/>
      </p:ext>
    </p:extLst>
  </p:cSld>
  <p:clrMapOvr>
    <a:masterClrMapping/>
  </p:clrMapOvr>
  <p:transition spd="med">
    <p:wipe dir="r"/>
  </p:transition>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5095F64-07E5-485E-AD58-9A2268D180FF}"/>
              </a:ext>
            </a:extLst>
          </p:cNvPr>
          <p:cNvSpPr>
            <a:spLocks noGrp="1"/>
          </p:cNvSpPr>
          <p:nvPr>
            <p:ph type="title"/>
          </p:nvPr>
        </p:nvSpPr>
        <p:spPr>
          <a:xfrm>
            <a:off x="0" y="0"/>
            <a:ext cx="8229600" cy="637794"/>
          </a:xfrm>
        </p:spPr>
        <p:txBody>
          <a:bodyPr/>
          <a:lstStyle/>
          <a:p>
            <a:r>
              <a:rPr lang="en-US" dirty="0"/>
              <a:t>Hypothesis testing : Example 1</a:t>
            </a:r>
          </a:p>
        </p:txBody>
      </p:sp>
      <p:sp>
        <p:nvSpPr>
          <p:cNvPr id="4" name="TextBox 3">
            <a:extLst>
              <a:ext uri="{FF2B5EF4-FFF2-40B4-BE49-F238E27FC236}">
                <a16:creationId xmlns:a16="http://schemas.microsoft.com/office/drawing/2014/main" id="{E59CFFE2-E172-4B36-A905-AB9C1FC4F987}"/>
              </a:ext>
            </a:extLst>
          </p:cNvPr>
          <p:cNvSpPr txBox="1"/>
          <p:nvPr/>
        </p:nvSpPr>
        <p:spPr>
          <a:xfrm>
            <a:off x="223364" y="719281"/>
            <a:ext cx="2673399" cy="307777"/>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solidFill>
                <a:latin typeface="+mn-lt"/>
              </a:rPr>
              <a:t>Step 3 : Find Critical Values</a:t>
            </a:r>
          </a:p>
        </p:txBody>
      </p:sp>
      <p:sp>
        <p:nvSpPr>
          <p:cNvPr id="5" name="TextBox 4">
            <a:extLst>
              <a:ext uri="{FF2B5EF4-FFF2-40B4-BE49-F238E27FC236}">
                <a16:creationId xmlns:a16="http://schemas.microsoft.com/office/drawing/2014/main" id="{0CD91029-CD3D-47A6-8701-5B9AD650FBFE}"/>
              </a:ext>
            </a:extLst>
          </p:cNvPr>
          <p:cNvSpPr txBox="1"/>
          <p:nvPr/>
        </p:nvSpPr>
        <p:spPr>
          <a:xfrm>
            <a:off x="300147" y="1137765"/>
            <a:ext cx="3901905"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ere we need to find Z-value or T-value</a:t>
            </a:r>
          </a:p>
        </p:txBody>
      </p:sp>
      <p:sp>
        <p:nvSpPr>
          <p:cNvPr id="6" name="TextBox 5">
            <a:extLst>
              <a:ext uri="{FF2B5EF4-FFF2-40B4-BE49-F238E27FC236}">
                <a16:creationId xmlns:a16="http://schemas.microsoft.com/office/drawing/2014/main" id="{832CC761-E2BF-4EC0-8468-B2CDF18280EE}"/>
              </a:ext>
            </a:extLst>
          </p:cNvPr>
          <p:cNvSpPr txBox="1"/>
          <p:nvPr/>
        </p:nvSpPr>
        <p:spPr>
          <a:xfrm>
            <a:off x="5737684" y="637794"/>
            <a:ext cx="3238791" cy="1815882"/>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How do we decide between z-value or t-value ? </a:t>
            </a:r>
          </a:p>
          <a:p>
            <a:pPr>
              <a:spcBef>
                <a:spcPts val="0"/>
              </a:spcBef>
              <a:spcAft>
                <a:spcPts val="0"/>
              </a:spcAft>
              <a:buClr>
                <a:schemeClr val="bg1"/>
              </a:buClr>
            </a:pPr>
            <a:endParaRPr lang="en-US" sz="1400" dirty="0">
              <a:solidFill>
                <a:schemeClr val="bg2"/>
              </a:solidFill>
              <a:latin typeface="+mn-lt"/>
            </a:endParaRPr>
          </a:p>
          <a:p>
            <a:pPr marL="342900" indent="-342900">
              <a:spcBef>
                <a:spcPts val="0"/>
              </a:spcBef>
              <a:spcAft>
                <a:spcPts val="0"/>
              </a:spcAft>
              <a:buClr>
                <a:schemeClr val="bg1"/>
              </a:buClr>
              <a:buAutoNum type="arabicPeriod"/>
            </a:pPr>
            <a:r>
              <a:rPr lang="en-US" sz="1400" dirty="0">
                <a:solidFill>
                  <a:schemeClr val="bg2"/>
                </a:solidFill>
                <a:latin typeface="+mn-lt"/>
              </a:rPr>
              <a:t>If the Std Deviation of population is not given .</a:t>
            </a:r>
          </a:p>
          <a:p>
            <a:pPr marL="342900" indent="-342900">
              <a:spcBef>
                <a:spcPts val="0"/>
              </a:spcBef>
              <a:spcAft>
                <a:spcPts val="0"/>
              </a:spcAft>
              <a:buClr>
                <a:schemeClr val="bg1"/>
              </a:buClr>
              <a:buAutoNum type="arabicPeriod"/>
            </a:pPr>
            <a:r>
              <a:rPr lang="en-US" sz="1400" dirty="0">
                <a:solidFill>
                  <a:schemeClr val="bg2"/>
                </a:solidFill>
                <a:latin typeface="+mn-lt"/>
              </a:rPr>
              <a:t>If the Sample size &lt;30 </a:t>
            </a:r>
          </a:p>
          <a:p>
            <a:pPr marL="342900" indent="-342900">
              <a:spcBef>
                <a:spcPts val="0"/>
              </a:spcBef>
              <a:spcAft>
                <a:spcPts val="0"/>
              </a:spcAft>
              <a:buClr>
                <a:schemeClr val="bg1"/>
              </a:buClr>
              <a:buAutoNum type="arabicPeriod"/>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Then find t- value, b using a t-table</a:t>
            </a:r>
          </a:p>
        </p:txBody>
      </p:sp>
      <p:sp>
        <p:nvSpPr>
          <p:cNvPr id="7" name="Star: 5 Points 6">
            <a:extLst>
              <a:ext uri="{FF2B5EF4-FFF2-40B4-BE49-F238E27FC236}">
                <a16:creationId xmlns:a16="http://schemas.microsoft.com/office/drawing/2014/main" id="{D89879C2-04F7-4641-A76F-EBFFBE69EA5D}"/>
              </a:ext>
            </a:extLst>
          </p:cNvPr>
          <p:cNvSpPr/>
          <p:nvPr/>
        </p:nvSpPr>
        <p:spPr>
          <a:xfrm>
            <a:off x="5256053" y="549242"/>
            <a:ext cx="481631" cy="488611"/>
          </a:xfrm>
          <a:prstGeom prst="star5">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pic>
        <p:nvPicPr>
          <p:cNvPr id="9" name="Picture 8">
            <a:extLst>
              <a:ext uri="{FF2B5EF4-FFF2-40B4-BE49-F238E27FC236}">
                <a16:creationId xmlns:a16="http://schemas.microsoft.com/office/drawing/2014/main" id="{480B6689-98FA-46B9-829A-DE94D403FAA5}"/>
              </a:ext>
            </a:extLst>
          </p:cNvPr>
          <p:cNvPicPr>
            <a:picLocks noChangeAspect="1"/>
          </p:cNvPicPr>
          <p:nvPr/>
        </p:nvPicPr>
        <p:blipFill>
          <a:blip r:embed="rId2"/>
          <a:stretch>
            <a:fillRect/>
          </a:stretch>
        </p:blipFill>
        <p:spPr>
          <a:xfrm>
            <a:off x="397977" y="1661276"/>
            <a:ext cx="1891513" cy="3078344"/>
          </a:xfrm>
          <a:prstGeom prst="rect">
            <a:avLst/>
          </a:prstGeom>
        </p:spPr>
      </p:pic>
    </p:spTree>
    <p:extLst>
      <p:ext uri="{BB962C8B-B14F-4D97-AF65-F5344CB8AC3E}">
        <p14:creationId xmlns:p14="http://schemas.microsoft.com/office/powerpoint/2010/main" val="2924544652"/>
      </p:ext>
    </p:extLst>
  </p:cSld>
  <p:clrMapOvr>
    <a:masterClrMapping/>
  </p:clrMapOvr>
  <p:transition spd="med">
    <p:wipe dir="r"/>
  </p:transition>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20D712-C5CA-4169-8764-9964D5D251AF}"/>
              </a:ext>
            </a:extLst>
          </p:cNvPr>
          <p:cNvSpPr>
            <a:spLocks noGrp="1"/>
          </p:cNvSpPr>
          <p:nvPr>
            <p:ph type="title"/>
          </p:nvPr>
        </p:nvSpPr>
        <p:spPr>
          <a:xfrm>
            <a:off x="0" y="0"/>
            <a:ext cx="8229600" cy="637794"/>
          </a:xfrm>
        </p:spPr>
        <p:txBody>
          <a:bodyPr/>
          <a:lstStyle/>
          <a:p>
            <a:r>
              <a:rPr lang="en-US" dirty="0"/>
              <a:t>Hypothesis testing : Example 1</a:t>
            </a:r>
          </a:p>
        </p:txBody>
      </p:sp>
      <p:sp>
        <p:nvSpPr>
          <p:cNvPr id="3" name="TextBox 2">
            <a:extLst>
              <a:ext uri="{FF2B5EF4-FFF2-40B4-BE49-F238E27FC236}">
                <a16:creationId xmlns:a16="http://schemas.microsoft.com/office/drawing/2014/main" id="{C25C5A0B-9E40-421B-807B-0E957BC32ED7}"/>
              </a:ext>
            </a:extLst>
          </p:cNvPr>
          <p:cNvSpPr txBox="1"/>
          <p:nvPr/>
        </p:nvSpPr>
        <p:spPr>
          <a:xfrm>
            <a:off x="97722" y="704996"/>
            <a:ext cx="7280299" cy="954107"/>
          </a:xfrm>
          <a:prstGeom prst="rect">
            <a:avLst/>
          </a:prstGeom>
          <a:noFill/>
        </p:spPr>
        <p:txBody>
          <a:bodyPr wrap="square" rtlCol="0">
            <a:spAutoFit/>
          </a:bodyPr>
          <a:lstStyle/>
          <a:p>
            <a:pPr>
              <a:spcBef>
                <a:spcPts val="0"/>
              </a:spcBef>
              <a:spcAft>
                <a:spcPts val="0"/>
              </a:spcAft>
              <a:buClr>
                <a:schemeClr val="bg1"/>
              </a:buClr>
            </a:pPr>
            <a:r>
              <a:rPr lang="el-GR" b="1" dirty="0">
                <a:solidFill>
                  <a:schemeClr val="bg2"/>
                </a:solidFill>
                <a:latin typeface="+mn-lt"/>
              </a:rPr>
              <a:t>σ</a:t>
            </a:r>
            <a:r>
              <a:rPr lang="en-US" b="1" dirty="0">
                <a:solidFill>
                  <a:schemeClr val="bg2"/>
                </a:solidFill>
                <a:latin typeface="+mn-lt"/>
              </a:rPr>
              <a:t>  = 15  </a:t>
            </a:r>
            <a:r>
              <a:rPr lang="en-US" sz="1600" dirty="0">
                <a:solidFill>
                  <a:schemeClr val="bg2"/>
                </a:solidFill>
                <a:latin typeface="+mn-lt"/>
              </a:rPr>
              <a:t>(standard deviation of 15)</a:t>
            </a:r>
          </a:p>
          <a:p>
            <a:pPr>
              <a:spcBef>
                <a:spcPts val="0"/>
              </a:spcBef>
              <a:spcAft>
                <a:spcPts val="0"/>
              </a:spcAft>
              <a:buClr>
                <a:schemeClr val="bg1"/>
              </a:buClr>
            </a:pPr>
            <a:endParaRPr lang="en-US" sz="1600" dirty="0">
              <a:solidFill>
                <a:schemeClr val="bg2"/>
              </a:solidFill>
              <a:latin typeface="+mn-lt"/>
            </a:endParaRPr>
          </a:p>
          <a:p>
            <a:pPr>
              <a:spcBef>
                <a:spcPts val="0"/>
              </a:spcBef>
              <a:spcAft>
                <a:spcPts val="0"/>
              </a:spcAft>
              <a:buClr>
                <a:schemeClr val="bg1"/>
              </a:buClr>
            </a:pPr>
            <a:r>
              <a:rPr lang="en-US" sz="1600" b="1" dirty="0">
                <a:solidFill>
                  <a:schemeClr val="bg2"/>
                </a:solidFill>
                <a:latin typeface="+mn-lt"/>
              </a:rPr>
              <a:t>Sample Size &gt; 30   </a:t>
            </a:r>
            <a:r>
              <a:rPr lang="en-US" sz="1600" dirty="0">
                <a:solidFill>
                  <a:schemeClr val="bg2"/>
                </a:solidFill>
                <a:latin typeface="+mn-lt"/>
              </a:rPr>
              <a:t>( researchers decides to test the IQ of 75 random adults)</a:t>
            </a:r>
            <a:endParaRPr lang="en-US" sz="1400" dirty="0">
              <a:solidFill>
                <a:schemeClr val="bg2"/>
              </a:solidFill>
              <a:latin typeface="+mn-lt"/>
            </a:endParaRPr>
          </a:p>
        </p:txBody>
      </p:sp>
      <p:pic>
        <p:nvPicPr>
          <p:cNvPr id="4" name="Picture 3">
            <a:extLst>
              <a:ext uri="{FF2B5EF4-FFF2-40B4-BE49-F238E27FC236}">
                <a16:creationId xmlns:a16="http://schemas.microsoft.com/office/drawing/2014/main" id="{CA044120-2E73-4EE5-85C3-ED19BDE864E2}"/>
              </a:ext>
            </a:extLst>
          </p:cNvPr>
          <p:cNvPicPr>
            <a:picLocks noChangeAspect="1"/>
          </p:cNvPicPr>
          <p:nvPr/>
        </p:nvPicPr>
        <p:blipFill>
          <a:blip r:embed="rId2"/>
          <a:stretch>
            <a:fillRect/>
          </a:stretch>
        </p:blipFill>
        <p:spPr>
          <a:xfrm>
            <a:off x="1826501" y="2260660"/>
            <a:ext cx="3347928" cy="2177844"/>
          </a:xfrm>
          <a:prstGeom prst="rect">
            <a:avLst/>
          </a:prstGeom>
        </p:spPr>
      </p:pic>
      <p:pic>
        <p:nvPicPr>
          <p:cNvPr id="6" name="Picture 5">
            <a:extLst>
              <a:ext uri="{FF2B5EF4-FFF2-40B4-BE49-F238E27FC236}">
                <a16:creationId xmlns:a16="http://schemas.microsoft.com/office/drawing/2014/main" id="{6C7379BD-41AB-4214-9148-7A72D3557845}"/>
              </a:ext>
            </a:extLst>
          </p:cNvPr>
          <p:cNvPicPr>
            <a:picLocks noChangeAspect="1"/>
          </p:cNvPicPr>
          <p:nvPr/>
        </p:nvPicPr>
        <p:blipFill>
          <a:blip r:embed="rId3"/>
          <a:stretch>
            <a:fillRect/>
          </a:stretch>
        </p:blipFill>
        <p:spPr>
          <a:xfrm>
            <a:off x="442839" y="3146260"/>
            <a:ext cx="1152525" cy="676275"/>
          </a:xfrm>
          <a:prstGeom prst="rect">
            <a:avLst/>
          </a:prstGeom>
        </p:spPr>
      </p:pic>
      <p:pic>
        <p:nvPicPr>
          <p:cNvPr id="7" name="Picture 6">
            <a:extLst>
              <a:ext uri="{FF2B5EF4-FFF2-40B4-BE49-F238E27FC236}">
                <a16:creationId xmlns:a16="http://schemas.microsoft.com/office/drawing/2014/main" id="{6824B365-EA27-4BD3-9ACC-F27FA94730E9}"/>
              </a:ext>
            </a:extLst>
          </p:cNvPr>
          <p:cNvPicPr>
            <a:picLocks noChangeAspect="1"/>
          </p:cNvPicPr>
          <p:nvPr/>
        </p:nvPicPr>
        <p:blipFill>
          <a:blip r:embed="rId3"/>
          <a:stretch>
            <a:fillRect/>
          </a:stretch>
        </p:blipFill>
        <p:spPr>
          <a:xfrm>
            <a:off x="5634909" y="3146259"/>
            <a:ext cx="1152525" cy="676275"/>
          </a:xfrm>
          <a:prstGeom prst="rect">
            <a:avLst/>
          </a:prstGeom>
        </p:spPr>
      </p:pic>
      <p:cxnSp>
        <p:nvCxnSpPr>
          <p:cNvPr id="9" name="Straight Arrow Connector 8">
            <a:extLst>
              <a:ext uri="{FF2B5EF4-FFF2-40B4-BE49-F238E27FC236}">
                <a16:creationId xmlns:a16="http://schemas.microsoft.com/office/drawing/2014/main" id="{B729AD38-0FBC-4CB1-BFCA-5559283BDB24}"/>
              </a:ext>
            </a:extLst>
          </p:cNvPr>
          <p:cNvCxnSpPr/>
          <p:nvPr/>
        </p:nvCxnSpPr>
        <p:spPr>
          <a:xfrm flipV="1">
            <a:off x="5011750" y="3822535"/>
            <a:ext cx="558412" cy="400457"/>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A1D873AC-F344-420C-8866-6065D74CB422}"/>
              </a:ext>
            </a:extLst>
          </p:cNvPr>
          <p:cNvCxnSpPr/>
          <p:nvPr/>
        </p:nvCxnSpPr>
        <p:spPr>
          <a:xfrm flipH="1" flipV="1">
            <a:off x="1546398" y="3822534"/>
            <a:ext cx="509446" cy="435359"/>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69977669"/>
      </p:ext>
    </p:extLst>
  </p:cSld>
  <p:clrMapOvr>
    <a:masterClrMapping/>
  </p:clrMapOvr>
  <p:transition spd="med">
    <p:wipe dir="r"/>
  </p:transition>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C4CA8C-AA56-4D47-8141-4E2E75F2561E}"/>
              </a:ext>
            </a:extLst>
          </p:cNvPr>
          <p:cNvSpPr>
            <a:spLocks noGrp="1"/>
          </p:cNvSpPr>
          <p:nvPr>
            <p:ph type="title"/>
          </p:nvPr>
        </p:nvSpPr>
        <p:spPr>
          <a:xfrm>
            <a:off x="0" y="0"/>
            <a:ext cx="8229600" cy="637794"/>
          </a:xfrm>
        </p:spPr>
        <p:txBody>
          <a:bodyPr/>
          <a:lstStyle/>
          <a:p>
            <a:r>
              <a:rPr lang="en-US" dirty="0"/>
              <a:t>Hypothesis testing : Example 1</a:t>
            </a:r>
          </a:p>
        </p:txBody>
      </p:sp>
      <p:sp>
        <p:nvSpPr>
          <p:cNvPr id="3" name="TextBox 2">
            <a:extLst>
              <a:ext uri="{FF2B5EF4-FFF2-40B4-BE49-F238E27FC236}">
                <a16:creationId xmlns:a16="http://schemas.microsoft.com/office/drawing/2014/main" id="{2A8B8F45-DDF3-4EFD-B598-8C56DD858E37}"/>
              </a:ext>
            </a:extLst>
          </p:cNvPr>
          <p:cNvSpPr txBox="1"/>
          <p:nvPr/>
        </p:nvSpPr>
        <p:spPr>
          <a:xfrm>
            <a:off x="118663" y="691035"/>
            <a:ext cx="5144372"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tep 4 : find test statistics </a:t>
            </a:r>
            <a:r>
              <a:rPr lang="en-US" sz="1400" i="1" dirty="0" err="1">
                <a:solidFill>
                  <a:srgbClr val="FF0000"/>
                </a:solidFill>
                <a:latin typeface="+mn-lt"/>
              </a:rPr>
              <a:t>i.e</a:t>
            </a:r>
            <a:r>
              <a:rPr lang="en-US" sz="1400" i="1" dirty="0">
                <a:solidFill>
                  <a:srgbClr val="FF0000"/>
                </a:solidFill>
                <a:latin typeface="+mn-lt"/>
              </a:rPr>
              <a:t> the Z-value in this case </a:t>
            </a: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63C05793-72A7-4CE8-88A0-EEC0E08277AC}"/>
                  </a:ext>
                </a:extLst>
              </p14:cNvPr>
              <p14:cNvContentPartPr/>
              <p14:nvPr/>
            </p14:nvContentPartPr>
            <p14:xfrm>
              <a:off x="914400" y="1276200"/>
              <a:ext cx="6024960" cy="657720"/>
            </p14:xfrm>
          </p:contentPart>
        </mc:Choice>
        <mc:Fallback xmlns="">
          <p:pic>
            <p:nvPicPr>
              <p:cNvPr id="4" name="Ink 3">
                <a:extLst>
                  <a:ext uri="{FF2B5EF4-FFF2-40B4-BE49-F238E27FC236}">
                    <a16:creationId xmlns:a16="http://schemas.microsoft.com/office/drawing/2014/main" id="{63C05793-72A7-4CE8-88A0-EEC0E08277AC}"/>
                  </a:ext>
                </a:extLst>
              </p:cNvPr>
              <p:cNvPicPr/>
              <p:nvPr/>
            </p:nvPicPr>
            <p:blipFill>
              <a:blip r:embed="rId3"/>
              <a:stretch>
                <a:fillRect/>
              </a:stretch>
            </p:blipFill>
            <p:spPr>
              <a:xfrm>
                <a:off x="905040" y="1266840"/>
                <a:ext cx="6043680" cy="676440"/>
              </a:xfrm>
              <a:prstGeom prst="rect">
                <a:avLst/>
              </a:prstGeom>
            </p:spPr>
          </p:pic>
        </mc:Fallback>
      </mc:AlternateContent>
      <p:sp>
        <p:nvSpPr>
          <p:cNvPr id="5" name="Rectangle 4">
            <a:extLst>
              <a:ext uri="{FF2B5EF4-FFF2-40B4-BE49-F238E27FC236}">
                <a16:creationId xmlns:a16="http://schemas.microsoft.com/office/drawing/2014/main" id="{6FAA2351-AC32-4B38-95CD-37746AEEE9ED}"/>
              </a:ext>
            </a:extLst>
          </p:cNvPr>
          <p:cNvSpPr/>
          <p:nvPr/>
        </p:nvSpPr>
        <p:spPr>
          <a:xfrm>
            <a:off x="809698" y="1179646"/>
            <a:ext cx="1640336" cy="858559"/>
          </a:xfrm>
          <a:prstGeom prst="rect">
            <a:avLst/>
          </a:prstGeom>
          <a:noFill/>
          <a:ln w="28575" cmpd="sng">
            <a:solidFill>
              <a:srgbClr val="0070C0"/>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6" name="Rectangle 5">
            <a:extLst>
              <a:ext uri="{FF2B5EF4-FFF2-40B4-BE49-F238E27FC236}">
                <a16:creationId xmlns:a16="http://schemas.microsoft.com/office/drawing/2014/main" id="{7A60F0B1-E98A-412B-8C49-44FD2F8D42A9}"/>
              </a:ext>
            </a:extLst>
          </p:cNvPr>
          <p:cNvSpPr/>
          <p:nvPr/>
        </p:nvSpPr>
        <p:spPr>
          <a:xfrm>
            <a:off x="3054361" y="1172016"/>
            <a:ext cx="4044454" cy="858559"/>
          </a:xfrm>
          <a:prstGeom prst="rect">
            <a:avLst/>
          </a:prstGeom>
          <a:noFill/>
          <a:ln w="28575" cmpd="sng">
            <a:solidFill>
              <a:srgbClr val="0070C0"/>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7" name="TextBox 6">
            <a:extLst>
              <a:ext uri="{FF2B5EF4-FFF2-40B4-BE49-F238E27FC236}">
                <a16:creationId xmlns:a16="http://schemas.microsoft.com/office/drawing/2014/main" id="{F3B75425-6298-4251-97C2-69407F58537F}"/>
              </a:ext>
            </a:extLst>
          </p:cNvPr>
          <p:cNvSpPr txBox="1"/>
          <p:nvPr/>
        </p:nvSpPr>
        <p:spPr>
          <a:xfrm>
            <a:off x="7294260" y="1409991"/>
            <a:ext cx="1444891" cy="307777"/>
          </a:xfrm>
          <a:prstGeom prst="rect">
            <a:avLst/>
          </a:prstGeom>
          <a:noFill/>
        </p:spPr>
        <p:txBody>
          <a:bodyPr wrap="square" rtlCol="0">
            <a:spAutoFit/>
          </a:bodyPr>
          <a:lstStyle/>
          <a:p>
            <a:pPr>
              <a:spcBef>
                <a:spcPts val="0"/>
              </a:spcBef>
              <a:spcAft>
                <a:spcPts val="0"/>
              </a:spcAft>
              <a:buClr>
                <a:schemeClr val="bg1"/>
              </a:buClr>
            </a:pPr>
            <a:r>
              <a:rPr lang="en-US" sz="1400" i="1" dirty="0">
                <a:solidFill>
                  <a:schemeClr val="bg2"/>
                </a:solidFill>
                <a:latin typeface="+mn-lt"/>
              </a:rPr>
              <a:t>(Test Statistics)</a:t>
            </a:r>
          </a:p>
        </p:txBody>
      </p:sp>
      <p:sp>
        <p:nvSpPr>
          <p:cNvPr id="8" name="TextBox 7">
            <a:extLst>
              <a:ext uri="{FF2B5EF4-FFF2-40B4-BE49-F238E27FC236}">
                <a16:creationId xmlns:a16="http://schemas.microsoft.com/office/drawing/2014/main" id="{17ED0999-FCE7-485D-BB1E-EBF870E4A79D}"/>
              </a:ext>
            </a:extLst>
          </p:cNvPr>
          <p:cNvSpPr txBox="1"/>
          <p:nvPr/>
        </p:nvSpPr>
        <p:spPr>
          <a:xfrm>
            <a:off x="404849" y="2771121"/>
            <a:ext cx="3685520" cy="307777"/>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solidFill>
                <a:latin typeface="+mn-lt"/>
              </a:rPr>
              <a:t>So, our test statistics value is 2.89</a:t>
            </a:r>
          </a:p>
        </p:txBody>
      </p:sp>
      <p:pic>
        <p:nvPicPr>
          <p:cNvPr id="9" name="Picture 8">
            <a:extLst>
              <a:ext uri="{FF2B5EF4-FFF2-40B4-BE49-F238E27FC236}">
                <a16:creationId xmlns:a16="http://schemas.microsoft.com/office/drawing/2014/main" id="{391B1B9A-C7B4-4AAA-ACD2-2F56E6798D31}"/>
              </a:ext>
            </a:extLst>
          </p:cNvPr>
          <p:cNvPicPr>
            <a:picLocks noChangeAspect="1"/>
          </p:cNvPicPr>
          <p:nvPr/>
        </p:nvPicPr>
        <p:blipFill>
          <a:blip r:embed="rId4"/>
          <a:stretch>
            <a:fillRect/>
          </a:stretch>
        </p:blipFill>
        <p:spPr>
          <a:xfrm>
            <a:off x="4229122" y="2584040"/>
            <a:ext cx="3260581" cy="2122927"/>
          </a:xfrm>
          <a:prstGeom prst="rect">
            <a:avLst/>
          </a:prstGeom>
        </p:spPr>
      </p:pic>
    </p:spTree>
    <p:extLst>
      <p:ext uri="{BB962C8B-B14F-4D97-AF65-F5344CB8AC3E}">
        <p14:creationId xmlns:p14="http://schemas.microsoft.com/office/powerpoint/2010/main" val="495668007"/>
      </p:ext>
    </p:extLst>
  </p:cSld>
  <p:clrMapOvr>
    <a:masterClrMapping/>
  </p:clrMapOvr>
  <p:transition spd="med">
    <p:wipe dir="r"/>
  </p:transition>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CB8AEF-F8F2-4301-BCEE-F3929B071B7B}"/>
              </a:ext>
            </a:extLst>
          </p:cNvPr>
          <p:cNvSpPr>
            <a:spLocks noGrp="1"/>
          </p:cNvSpPr>
          <p:nvPr>
            <p:ph type="title"/>
          </p:nvPr>
        </p:nvSpPr>
        <p:spPr>
          <a:xfrm>
            <a:off x="0" y="0"/>
            <a:ext cx="8229600" cy="637794"/>
          </a:xfrm>
        </p:spPr>
        <p:txBody>
          <a:bodyPr/>
          <a:lstStyle/>
          <a:p>
            <a:r>
              <a:rPr lang="en-US" dirty="0"/>
              <a:t>Hypothesis testing : Example 1</a:t>
            </a:r>
          </a:p>
        </p:txBody>
      </p:sp>
      <p:sp>
        <p:nvSpPr>
          <p:cNvPr id="3" name="TextBox 2">
            <a:extLst>
              <a:ext uri="{FF2B5EF4-FFF2-40B4-BE49-F238E27FC236}">
                <a16:creationId xmlns:a16="http://schemas.microsoft.com/office/drawing/2014/main" id="{84CE6CD4-5A31-463D-BA48-9816D9938152}"/>
              </a:ext>
            </a:extLst>
          </p:cNvPr>
          <p:cNvSpPr txBox="1"/>
          <p:nvPr/>
        </p:nvSpPr>
        <p:spPr>
          <a:xfrm>
            <a:off x="216385" y="781778"/>
            <a:ext cx="4683682" cy="646331"/>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solidFill>
                <a:latin typeface="+mn-lt"/>
              </a:rPr>
              <a:t>Reject Ho ?</a:t>
            </a:r>
          </a:p>
          <a:p>
            <a:pPr>
              <a:spcBef>
                <a:spcPts val="0"/>
              </a:spcBef>
              <a:spcAft>
                <a:spcPts val="0"/>
              </a:spcAft>
              <a:buClr>
                <a:schemeClr val="bg1"/>
              </a:buClr>
            </a:pPr>
            <a:r>
              <a:rPr lang="en-US" sz="1800" dirty="0">
                <a:solidFill>
                  <a:schemeClr val="bg2"/>
                </a:solidFill>
                <a:latin typeface="+mn-lt"/>
              </a:rPr>
              <a:t>Accept Ho ?</a:t>
            </a:r>
          </a:p>
        </p:txBody>
      </p:sp>
      <p:sp>
        <p:nvSpPr>
          <p:cNvPr id="4" name="TextBox 3">
            <a:extLst>
              <a:ext uri="{FF2B5EF4-FFF2-40B4-BE49-F238E27FC236}">
                <a16:creationId xmlns:a16="http://schemas.microsoft.com/office/drawing/2014/main" id="{919E7F3D-5E5B-4F1C-A96F-0980A679BF0C}"/>
              </a:ext>
            </a:extLst>
          </p:cNvPr>
          <p:cNvSpPr txBox="1"/>
          <p:nvPr/>
        </p:nvSpPr>
        <p:spPr>
          <a:xfrm>
            <a:off x="509551" y="2149887"/>
            <a:ext cx="6009912"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ence, we can say with 95% confidence that there is enough evident to support the claim : “Avg IQ has changed” </a:t>
            </a:r>
          </a:p>
        </p:txBody>
      </p:sp>
      <p:sp>
        <p:nvSpPr>
          <p:cNvPr id="5" name="TextBox 4">
            <a:extLst>
              <a:ext uri="{FF2B5EF4-FFF2-40B4-BE49-F238E27FC236}">
                <a16:creationId xmlns:a16="http://schemas.microsoft.com/office/drawing/2014/main" id="{2C14FABB-8D8C-4AD5-96CB-E26E80EF4920}"/>
              </a:ext>
            </a:extLst>
          </p:cNvPr>
          <p:cNvSpPr txBox="1"/>
          <p:nvPr/>
        </p:nvSpPr>
        <p:spPr>
          <a:xfrm>
            <a:off x="2903744" y="951054"/>
            <a:ext cx="3685520" cy="307777"/>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solidFill>
                <a:latin typeface="+mn-lt"/>
              </a:rPr>
              <a:t>So, our test statistics value is 2.89</a:t>
            </a:r>
          </a:p>
        </p:txBody>
      </p:sp>
    </p:spTree>
    <p:extLst>
      <p:ext uri="{BB962C8B-B14F-4D97-AF65-F5344CB8AC3E}">
        <p14:creationId xmlns:p14="http://schemas.microsoft.com/office/powerpoint/2010/main" val="952580369"/>
      </p:ext>
    </p:extLst>
  </p:cSld>
  <p:clrMapOvr>
    <a:masterClrMapping/>
  </p:clrMapOvr>
  <p:transition spd="med">
    <p:wipe dir="r"/>
  </p:transition>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36E112-EAE8-4CBD-B9AE-481B529BAD4C}"/>
              </a:ext>
            </a:extLst>
          </p:cNvPr>
          <p:cNvSpPr>
            <a:spLocks noGrp="1"/>
          </p:cNvSpPr>
          <p:nvPr>
            <p:ph type="title"/>
          </p:nvPr>
        </p:nvSpPr>
        <p:spPr>
          <a:xfrm>
            <a:off x="0" y="0"/>
            <a:ext cx="8229600" cy="637794"/>
          </a:xfrm>
        </p:spPr>
        <p:txBody>
          <a:bodyPr/>
          <a:lstStyle/>
          <a:p>
            <a:r>
              <a:rPr lang="en-US" dirty="0"/>
              <a:t>Hypothesis testing : Example 2</a:t>
            </a:r>
          </a:p>
        </p:txBody>
      </p:sp>
      <p:sp>
        <p:nvSpPr>
          <p:cNvPr id="3" name="TextBox 2">
            <a:extLst>
              <a:ext uri="{FF2B5EF4-FFF2-40B4-BE49-F238E27FC236}">
                <a16:creationId xmlns:a16="http://schemas.microsoft.com/office/drawing/2014/main" id="{3D58D885-4EDA-4BC3-9D56-A283212D1252}"/>
              </a:ext>
            </a:extLst>
          </p:cNvPr>
          <p:cNvSpPr txBox="1"/>
          <p:nvPr/>
        </p:nvSpPr>
        <p:spPr>
          <a:xfrm>
            <a:off x="244305" y="952354"/>
            <a:ext cx="6226296" cy="1600438"/>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e average IQ of the adult population is 100. A researcher believed the average IQ of adults is lower. </a:t>
            </a:r>
          </a:p>
          <a:p>
            <a:pPr>
              <a:spcBef>
                <a:spcPts val="0"/>
              </a:spcBef>
              <a:spcAft>
                <a:spcPts val="0"/>
              </a:spcAft>
              <a:buClr>
                <a:schemeClr val="bg1"/>
              </a:buClr>
            </a:pPr>
            <a:r>
              <a:rPr lang="en-US" sz="1400" dirty="0">
                <a:solidFill>
                  <a:schemeClr val="bg2"/>
                </a:solidFill>
                <a:latin typeface="+mn-lt"/>
              </a:rPr>
              <a:t>A random sample of 5 adults are tested and scored</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	69, 79, 89, 99, 109 ( SD = 15.81)</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Is there enough evidence to suggest the average IQ is lower ? </a:t>
            </a:r>
          </a:p>
        </p:txBody>
      </p:sp>
      <p:pic>
        <p:nvPicPr>
          <p:cNvPr id="4" name="Picture 3" descr="A picture containing text, headdress, helmet, light&#10;&#10;Description automatically generated">
            <a:extLst>
              <a:ext uri="{FF2B5EF4-FFF2-40B4-BE49-F238E27FC236}">
                <a16:creationId xmlns:a16="http://schemas.microsoft.com/office/drawing/2014/main" id="{0FE9DE60-9846-437B-BE1B-E1799CF19624}"/>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163475" y="760837"/>
            <a:ext cx="2980525" cy="2211400"/>
          </a:xfrm>
          <a:prstGeom prst="rect">
            <a:avLst/>
          </a:prstGeom>
        </p:spPr>
      </p:pic>
    </p:spTree>
    <p:extLst>
      <p:ext uri="{BB962C8B-B14F-4D97-AF65-F5344CB8AC3E}">
        <p14:creationId xmlns:p14="http://schemas.microsoft.com/office/powerpoint/2010/main" val="3212989620"/>
      </p:ext>
    </p:extLst>
  </p:cSld>
  <p:clrMapOvr>
    <a:masterClrMapping/>
  </p:clrMapOvr>
  <p:transition spd="med">
    <p:wipe dir="r"/>
  </p:transition>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F7EF85-FD9A-4F72-8DEE-F2D1F4FB3CC1}"/>
              </a:ext>
            </a:extLst>
          </p:cNvPr>
          <p:cNvSpPr>
            <a:spLocks noGrp="1"/>
          </p:cNvSpPr>
          <p:nvPr>
            <p:ph type="title"/>
          </p:nvPr>
        </p:nvSpPr>
        <p:spPr>
          <a:xfrm>
            <a:off x="0" y="0"/>
            <a:ext cx="8229600" cy="637794"/>
          </a:xfrm>
        </p:spPr>
        <p:txBody>
          <a:bodyPr/>
          <a:lstStyle/>
          <a:p>
            <a:r>
              <a:rPr lang="en-US" dirty="0"/>
              <a:t>Hypothesis testing : Example 2</a:t>
            </a:r>
          </a:p>
        </p:txBody>
      </p:sp>
      <p:pic>
        <p:nvPicPr>
          <p:cNvPr id="8" name="Picture 7">
            <a:extLst>
              <a:ext uri="{FF2B5EF4-FFF2-40B4-BE49-F238E27FC236}">
                <a16:creationId xmlns:a16="http://schemas.microsoft.com/office/drawing/2014/main" id="{DA0B9D73-0CD1-4200-B284-0042E6EEECB9}"/>
              </a:ext>
            </a:extLst>
          </p:cNvPr>
          <p:cNvPicPr>
            <a:picLocks noChangeAspect="1"/>
          </p:cNvPicPr>
          <p:nvPr/>
        </p:nvPicPr>
        <p:blipFill>
          <a:blip r:embed="rId2"/>
          <a:stretch>
            <a:fillRect/>
          </a:stretch>
        </p:blipFill>
        <p:spPr>
          <a:xfrm>
            <a:off x="5076841" y="730481"/>
            <a:ext cx="3052763" cy="1966913"/>
          </a:xfrm>
          <a:prstGeom prst="rect">
            <a:avLst/>
          </a:prstGeom>
        </p:spPr>
      </p:pic>
      <p:sp>
        <p:nvSpPr>
          <p:cNvPr id="9" name="TextBox 8">
            <a:extLst>
              <a:ext uri="{FF2B5EF4-FFF2-40B4-BE49-F238E27FC236}">
                <a16:creationId xmlns:a16="http://schemas.microsoft.com/office/drawing/2014/main" id="{471FCF04-6C37-4F68-8652-C67A3284EC07}"/>
              </a:ext>
            </a:extLst>
          </p:cNvPr>
          <p:cNvSpPr txBox="1"/>
          <p:nvPr/>
        </p:nvSpPr>
        <p:spPr>
          <a:xfrm>
            <a:off x="146583" y="746650"/>
            <a:ext cx="3755323" cy="738664"/>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ü"/>
            </a:pPr>
            <a:r>
              <a:rPr lang="en-US" sz="1400" b="1" dirty="0">
                <a:solidFill>
                  <a:schemeClr val="bg2"/>
                </a:solidFill>
                <a:latin typeface="+mn-lt"/>
              </a:rPr>
              <a:t>Recall : 5 steps for Hypothesis testing</a:t>
            </a:r>
          </a:p>
          <a:p>
            <a:pPr>
              <a:spcBef>
                <a:spcPts val="0"/>
              </a:spcBef>
              <a:spcAft>
                <a:spcPts val="0"/>
              </a:spcAft>
              <a:buClr>
                <a:schemeClr val="bg1"/>
              </a:buClr>
            </a:pPr>
            <a:endParaRPr lang="en-US" sz="1400" b="1"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ü"/>
            </a:pPr>
            <a:r>
              <a:rPr lang="en-US" sz="1400" b="1" dirty="0">
                <a:solidFill>
                  <a:schemeClr val="bg2"/>
                </a:solidFill>
                <a:latin typeface="+mn-lt"/>
              </a:rPr>
              <a:t>Understand the data given</a:t>
            </a:r>
          </a:p>
        </p:txBody>
      </p:sp>
      <p:sp>
        <p:nvSpPr>
          <p:cNvPr id="10" name="TextBox 9">
            <a:extLst>
              <a:ext uri="{FF2B5EF4-FFF2-40B4-BE49-F238E27FC236}">
                <a16:creationId xmlns:a16="http://schemas.microsoft.com/office/drawing/2014/main" id="{B2FE3ED2-4E0F-4E48-A6FC-903ED6FEB0ED}"/>
              </a:ext>
            </a:extLst>
          </p:cNvPr>
          <p:cNvSpPr txBox="1"/>
          <p:nvPr/>
        </p:nvSpPr>
        <p:spPr>
          <a:xfrm>
            <a:off x="146583" y="1640336"/>
            <a:ext cx="4425417"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o : </a:t>
            </a:r>
            <a:r>
              <a:rPr lang="el-GR" sz="1400" dirty="0">
                <a:solidFill>
                  <a:schemeClr val="bg2"/>
                </a:solidFill>
                <a:latin typeface="+mn-lt"/>
              </a:rPr>
              <a:t>μ</a:t>
            </a:r>
            <a:r>
              <a:rPr lang="en-US" sz="1400" dirty="0">
                <a:solidFill>
                  <a:schemeClr val="bg2"/>
                </a:solidFill>
                <a:latin typeface="+mn-lt"/>
              </a:rPr>
              <a:t> = 100</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H1 : </a:t>
            </a:r>
            <a:r>
              <a:rPr lang="el-GR" sz="1400" dirty="0">
                <a:solidFill>
                  <a:schemeClr val="bg2"/>
                </a:solidFill>
                <a:latin typeface="+mn-lt"/>
              </a:rPr>
              <a:t>μ</a:t>
            </a:r>
            <a:r>
              <a:rPr lang="en-US" sz="1400" dirty="0">
                <a:solidFill>
                  <a:schemeClr val="bg2"/>
                </a:solidFill>
                <a:latin typeface="+mn-lt"/>
              </a:rPr>
              <a:t> &lt; 100</a:t>
            </a:r>
          </a:p>
        </p:txBody>
      </p:sp>
      <p:sp>
        <p:nvSpPr>
          <p:cNvPr id="11" name="TextBox 10">
            <a:extLst>
              <a:ext uri="{FF2B5EF4-FFF2-40B4-BE49-F238E27FC236}">
                <a16:creationId xmlns:a16="http://schemas.microsoft.com/office/drawing/2014/main" id="{DE42A7AF-8088-44F4-9CF4-F7846B8D897C}"/>
              </a:ext>
            </a:extLst>
          </p:cNvPr>
          <p:cNvSpPr txBox="1"/>
          <p:nvPr/>
        </p:nvSpPr>
        <p:spPr>
          <a:xfrm>
            <a:off x="146583" y="3092208"/>
            <a:ext cx="4202052"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tep 3 : Find Critical Values</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Here we need to find z- Value or T- value ? </a:t>
            </a:r>
          </a:p>
        </p:txBody>
      </p:sp>
      <p:sp>
        <p:nvSpPr>
          <p:cNvPr id="12" name="TextBox 11">
            <a:extLst>
              <a:ext uri="{FF2B5EF4-FFF2-40B4-BE49-F238E27FC236}">
                <a16:creationId xmlns:a16="http://schemas.microsoft.com/office/drawing/2014/main" id="{1543CC61-7109-4969-93C6-B3D98DBF4FB6}"/>
              </a:ext>
            </a:extLst>
          </p:cNvPr>
          <p:cNvSpPr txBox="1"/>
          <p:nvPr/>
        </p:nvSpPr>
        <p:spPr>
          <a:xfrm>
            <a:off x="5646943" y="3159605"/>
            <a:ext cx="2994486"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hen to use T – Values</a:t>
            </a:r>
          </a:p>
          <a:p>
            <a:pPr>
              <a:spcBef>
                <a:spcPts val="0"/>
              </a:spcBef>
              <a:spcAft>
                <a:spcPts val="0"/>
              </a:spcAft>
              <a:buClr>
                <a:schemeClr val="bg1"/>
              </a:buClr>
            </a:pPr>
            <a:endParaRPr lang="en-US" sz="1400" dirty="0">
              <a:solidFill>
                <a:schemeClr val="bg2"/>
              </a:solidFill>
              <a:latin typeface="+mn-lt"/>
            </a:endParaRPr>
          </a:p>
          <a:p>
            <a:pPr marL="342900" indent="-342900">
              <a:spcBef>
                <a:spcPts val="0"/>
              </a:spcBef>
              <a:spcAft>
                <a:spcPts val="0"/>
              </a:spcAft>
              <a:buClr>
                <a:schemeClr val="bg1"/>
              </a:buClr>
              <a:buAutoNum type="arabicPeriod"/>
            </a:pPr>
            <a:r>
              <a:rPr lang="en-US" sz="1400" dirty="0">
                <a:solidFill>
                  <a:schemeClr val="bg2"/>
                </a:solidFill>
                <a:latin typeface="+mn-lt"/>
              </a:rPr>
              <a:t>σ is unknown</a:t>
            </a:r>
          </a:p>
          <a:p>
            <a:pPr marL="342900" indent="-342900">
              <a:spcBef>
                <a:spcPts val="0"/>
              </a:spcBef>
              <a:spcAft>
                <a:spcPts val="0"/>
              </a:spcAft>
              <a:buClr>
                <a:schemeClr val="bg1"/>
              </a:buClr>
              <a:buAutoNum type="arabicPeriod"/>
            </a:pPr>
            <a:r>
              <a:rPr lang="en-US" sz="1400" dirty="0">
                <a:solidFill>
                  <a:schemeClr val="bg2"/>
                </a:solidFill>
                <a:latin typeface="+mn-lt"/>
              </a:rPr>
              <a:t> Sample size is less than 30</a:t>
            </a:r>
          </a:p>
        </p:txBody>
      </p:sp>
      <p:sp>
        <p:nvSpPr>
          <p:cNvPr id="13" name="Arrow: Right 12">
            <a:extLst>
              <a:ext uri="{FF2B5EF4-FFF2-40B4-BE49-F238E27FC236}">
                <a16:creationId xmlns:a16="http://schemas.microsoft.com/office/drawing/2014/main" id="{A5074166-853E-49C4-902C-FF3976FD1445}"/>
              </a:ext>
            </a:extLst>
          </p:cNvPr>
          <p:cNvSpPr/>
          <p:nvPr/>
        </p:nvSpPr>
        <p:spPr>
          <a:xfrm>
            <a:off x="3650621" y="3636659"/>
            <a:ext cx="1849740" cy="117431"/>
          </a:xfrm>
          <a:prstGeom prst="rightArrow">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5" name="Rectangle 14">
            <a:extLst>
              <a:ext uri="{FF2B5EF4-FFF2-40B4-BE49-F238E27FC236}">
                <a16:creationId xmlns:a16="http://schemas.microsoft.com/office/drawing/2014/main" id="{A4F3D4DE-A41D-4CD1-84E3-9A50BF2537BA}"/>
              </a:ext>
            </a:extLst>
          </p:cNvPr>
          <p:cNvSpPr/>
          <p:nvPr/>
        </p:nvSpPr>
        <p:spPr>
          <a:xfrm>
            <a:off x="5584122" y="3092208"/>
            <a:ext cx="3155029" cy="1263407"/>
          </a:xfrm>
          <a:prstGeom prst="rect">
            <a:avLst/>
          </a:prstGeom>
          <a:noFill/>
          <a:ln w="12700" cmpd="sng">
            <a:solidFill>
              <a:schemeClr val="bg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Tree>
    <p:extLst>
      <p:ext uri="{BB962C8B-B14F-4D97-AF65-F5344CB8AC3E}">
        <p14:creationId xmlns:p14="http://schemas.microsoft.com/office/powerpoint/2010/main" val="1922901165"/>
      </p:ext>
    </p:extLst>
  </p:cSld>
  <p:clrMapOvr>
    <a:masterClrMapping/>
  </p:clrMapOvr>
  <p:transition spd="med">
    <p:wipe dir="r"/>
  </p:transition>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7B3C03A-617C-4480-B335-5DCB1E5EE0CA}"/>
              </a:ext>
            </a:extLst>
          </p:cNvPr>
          <p:cNvSpPr>
            <a:spLocks noGrp="1"/>
          </p:cNvSpPr>
          <p:nvPr>
            <p:ph type="title"/>
          </p:nvPr>
        </p:nvSpPr>
        <p:spPr>
          <a:xfrm>
            <a:off x="0" y="0"/>
            <a:ext cx="8229600" cy="637794"/>
          </a:xfrm>
        </p:spPr>
        <p:txBody>
          <a:bodyPr/>
          <a:lstStyle/>
          <a:p>
            <a:r>
              <a:rPr lang="en-US" dirty="0"/>
              <a:t>Hypothesis testing : Example 2</a:t>
            </a:r>
          </a:p>
        </p:txBody>
      </p:sp>
      <p:pic>
        <p:nvPicPr>
          <p:cNvPr id="5" name="Picture 4">
            <a:extLst>
              <a:ext uri="{FF2B5EF4-FFF2-40B4-BE49-F238E27FC236}">
                <a16:creationId xmlns:a16="http://schemas.microsoft.com/office/drawing/2014/main" id="{D506B511-4FE7-444B-A7B7-C52D4FA0A166}"/>
              </a:ext>
            </a:extLst>
          </p:cNvPr>
          <p:cNvPicPr>
            <a:picLocks noChangeAspect="1"/>
          </p:cNvPicPr>
          <p:nvPr/>
        </p:nvPicPr>
        <p:blipFill>
          <a:blip r:embed="rId2"/>
          <a:stretch>
            <a:fillRect/>
          </a:stretch>
        </p:blipFill>
        <p:spPr>
          <a:xfrm>
            <a:off x="88160" y="1011394"/>
            <a:ext cx="7902417" cy="2122693"/>
          </a:xfrm>
          <a:prstGeom prst="rect">
            <a:avLst/>
          </a:prstGeom>
        </p:spPr>
      </p:pic>
      <p:sp>
        <p:nvSpPr>
          <p:cNvPr id="6" name="TextBox 5">
            <a:extLst>
              <a:ext uri="{FF2B5EF4-FFF2-40B4-BE49-F238E27FC236}">
                <a16:creationId xmlns:a16="http://schemas.microsoft.com/office/drawing/2014/main" id="{2E3F7B4C-180B-4285-A6DE-E335F8A5B9E7}"/>
              </a:ext>
            </a:extLst>
          </p:cNvPr>
          <p:cNvSpPr txBox="1"/>
          <p:nvPr/>
        </p:nvSpPr>
        <p:spPr>
          <a:xfrm>
            <a:off x="5919169" y="3636660"/>
            <a:ext cx="3043347"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Df = Degrees pf Freedom</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 (</a:t>
            </a:r>
            <a:r>
              <a:rPr lang="en-US" sz="1400" dirty="0" err="1">
                <a:solidFill>
                  <a:schemeClr val="bg2"/>
                </a:solidFill>
                <a:latin typeface="+mn-lt"/>
              </a:rPr>
              <a:t>sampleSize</a:t>
            </a:r>
            <a:r>
              <a:rPr lang="en-US" sz="1400" dirty="0">
                <a:solidFill>
                  <a:schemeClr val="bg2"/>
                </a:solidFill>
                <a:latin typeface="+mn-lt"/>
              </a:rPr>
              <a:t> – 1)</a:t>
            </a:r>
          </a:p>
        </p:txBody>
      </p:sp>
    </p:spTree>
    <p:extLst>
      <p:ext uri="{BB962C8B-B14F-4D97-AF65-F5344CB8AC3E}">
        <p14:creationId xmlns:p14="http://schemas.microsoft.com/office/powerpoint/2010/main" val="335507101"/>
      </p:ext>
    </p:extLst>
  </p:cSld>
  <p:clrMapOvr>
    <a:masterClrMapping/>
  </p:clrMapOvr>
  <p:transition spd="med">
    <p:wipe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8F0AD-7FFD-4732-86A0-DD18718379E4}"/>
              </a:ext>
            </a:extLst>
          </p:cNvPr>
          <p:cNvSpPr>
            <a:spLocks noGrp="1"/>
          </p:cNvSpPr>
          <p:nvPr>
            <p:ph type="title"/>
          </p:nvPr>
        </p:nvSpPr>
        <p:spPr>
          <a:xfrm>
            <a:off x="137160" y="22860"/>
            <a:ext cx="7955280" cy="640080"/>
          </a:xfrm>
        </p:spPr>
        <p:txBody>
          <a:bodyPr/>
          <a:lstStyle/>
          <a:p>
            <a:r>
              <a:rPr lang="en-US" dirty="0"/>
              <a:t>Types of Statistical Studies</a:t>
            </a:r>
          </a:p>
        </p:txBody>
      </p:sp>
      <p:sp>
        <p:nvSpPr>
          <p:cNvPr id="3" name="Content Placeholder 2">
            <a:extLst>
              <a:ext uri="{FF2B5EF4-FFF2-40B4-BE49-F238E27FC236}">
                <a16:creationId xmlns:a16="http://schemas.microsoft.com/office/drawing/2014/main" id="{51EABE99-0FF9-42EC-AD6B-E1B530304558}"/>
              </a:ext>
            </a:extLst>
          </p:cNvPr>
          <p:cNvSpPr>
            <a:spLocks noGrp="1"/>
          </p:cNvSpPr>
          <p:nvPr>
            <p:ph sz="half" idx="13"/>
          </p:nvPr>
        </p:nvSpPr>
        <p:spPr>
          <a:xfrm>
            <a:off x="243004" y="971550"/>
            <a:ext cx="8343587" cy="3200400"/>
          </a:xfrm>
        </p:spPr>
        <p:txBody>
          <a:bodyPr/>
          <a:lstStyle/>
          <a:p>
            <a:r>
              <a:rPr lang="en-US" dirty="0">
                <a:solidFill>
                  <a:schemeClr val="bg2">
                    <a:lumMod val="50000"/>
                    <a:lumOff val="50000"/>
                  </a:schemeClr>
                </a:solidFill>
              </a:rPr>
              <a:t>When we talk about using data to learn something about the world, we are usually talking about performing a study or an experiment </a:t>
            </a:r>
          </a:p>
          <a:p>
            <a:r>
              <a:rPr lang="en-US" dirty="0">
                <a:solidFill>
                  <a:schemeClr val="bg2">
                    <a:lumMod val="50000"/>
                    <a:lumOff val="50000"/>
                  </a:schemeClr>
                </a:solidFill>
              </a:rPr>
              <a:t>In general, there are two types of statistical studies: </a:t>
            </a:r>
            <a:r>
              <a:rPr lang="en-US" b="1" dirty="0">
                <a:solidFill>
                  <a:schemeClr val="accent1"/>
                </a:solidFill>
              </a:rPr>
              <a:t>Observational studies </a:t>
            </a:r>
            <a:r>
              <a:rPr lang="en-US" dirty="0">
                <a:solidFill>
                  <a:schemeClr val="bg2">
                    <a:lumMod val="50000"/>
                    <a:lumOff val="50000"/>
                  </a:schemeClr>
                </a:solidFill>
              </a:rPr>
              <a:t>and</a:t>
            </a:r>
            <a:r>
              <a:rPr lang="en-US" dirty="0"/>
              <a:t> </a:t>
            </a:r>
            <a:r>
              <a:rPr lang="en-US" b="1" dirty="0">
                <a:solidFill>
                  <a:schemeClr val="accent1"/>
                </a:solidFill>
              </a:rPr>
              <a:t>Experiments</a:t>
            </a:r>
          </a:p>
        </p:txBody>
      </p:sp>
      <p:sp>
        <p:nvSpPr>
          <p:cNvPr id="5" name="Oval 4">
            <a:extLst>
              <a:ext uri="{FF2B5EF4-FFF2-40B4-BE49-F238E27FC236}">
                <a16:creationId xmlns:a16="http://schemas.microsoft.com/office/drawing/2014/main" id="{C10FF536-7FE0-4E2C-8F4A-A9E4EAE14BC5}"/>
              </a:ext>
            </a:extLst>
          </p:cNvPr>
          <p:cNvSpPr/>
          <p:nvPr/>
        </p:nvSpPr>
        <p:spPr>
          <a:xfrm>
            <a:off x="945716" y="3357758"/>
            <a:ext cx="2764912" cy="814192"/>
          </a:xfrm>
          <a:prstGeom prst="ellipse">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Observational</a:t>
            </a:r>
          </a:p>
          <a:p>
            <a:pPr algn="ctr">
              <a:lnSpc>
                <a:spcPct val="90000"/>
              </a:lnSpc>
              <a:spcBef>
                <a:spcPts val="600"/>
              </a:spcBef>
              <a:spcAft>
                <a:spcPts val="0"/>
              </a:spcAft>
            </a:pPr>
            <a:r>
              <a:rPr lang="en-US" sz="2000" dirty="0">
                <a:solidFill>
                  <a:schemeClr val="tx2"/>
                </a:solidFill>
                <a:latin typeface="+mn-lt"/>
              </a:rPr>
              <a:t>Study</a:t>
            </a:r>
          </a:p>
        </p:txBody>
      </p:sp>
      <p:sp>
        <p:nvSpPr>
          <p:cNvPr id="6" name="Oval 5">
            <a:extLst>
              <a:ext uri="{FF2B5EF4-FFF2-40B4-BE49-F238E27FC236}">
                <a16:creationId xmlns:a16="http://schemas.microsoft.com/office/drawing/2014/main" id="{EF6BB1B6-3440-4E16-AA74-7538562431A4}"/>
              </a:ext>
            </a:extLst>
          </p:cNvPr>
          <p:cNvSpPr/>
          <p:nvPr/>
        </p:nvSpPr>
        <p:spPr>
          <a:xfrm>
            <a:off x="4750705" y="3370284"/>
            <a:ext cx="2545705" cy="814192"/>
          </a:xfrm>
          <a:prstGeom prst="ellipse">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Experiments</a:t>
            </a:r>
          </a:p>
        </p:txBody>
      </p:sp>
      <p:sp>
        <p:nvSpPr>
          <p:cNvPr id="7" name="Rectangle: Rounded Corners 6">
            <a:extLst>
              <a:ext uri="{FF2B5EF4-FFF2-40B4-BE49-F238E27FC236}">
                <a16:creationId xmlns:a16="http://schemas.microsoft.com/office/drawing/2014/main" id="{BAAEBE95-2F1B-4168-94E4-96BB97737860}"/>
              </a:ext>
            </a:extLst>
          </p:cNvPr>
          <p:cNvSpPr/>
          <p:nvPr/>
        </p:nvSpPr>
        <p:spPr>
          <a:xfrm>
            <a:off x="3122112" y="1999624"/>
            <a:ext cx="1985376" cy="618316"/>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Statistical Studies</a:t>
            </a:r>
          </a:p>
        </p:txBody>
      </p:sp>
      <p:cxnSp>
        <p:nvCxnSpPr>
          <p:cNvPr id="9" name="Straight Arrow Connector 8">
            <a:extLst>
              <a:ext uri="{FF2B5EF4-FFF2-40B4-BE49-F238E27FC236}">
                <a16:creationId xmlns:a16="http://schemas.microsoft.com/office/drawing/2014/main" id="{C0ACEFDC-C19C-4513-8D70-A2B3D29D65B0}"/>
              </a:ext>
            </a:extLst>
          </p:cNvPr>
          <p:cNvCxnSpPr>
            <a:cxnSpLocks/>
            <a:endCxn id="5" idx="0"/>
          </p:cNvCxnSpPr>
          <p:nvPr/>
        </p:nvCxnSpPr>
        <p:spPr>
          <a:xfrm flipH="1">
            <a:off x="2328172" y="2624203"/>
            <a:ext cx="1786628" cy="733555"/>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63CFE5AD-4E34-4C2A-9489-63A58828807D}"/>
              </a:ext>
            </a:extLst>
          </p:cNvPr>
          <p:cNvCxnSpPr>
            <a:stCxn id="7" idx="2"/>
            <a:endCxn id="6" idx="0"/>
          </p:cNvCxnSpPr>
          <p:nvPr/>
        </p:nvCxnSpPr>
        <p:spPr>
          <a:xfrm>
            <a:off x="4114800" y="2617940"/>
            <a:ext cx="1908758" cy="752344"/>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29397678"/>
      </p:ext>
    </p:extLst>
  </p:cSld>
  <p:clrMapOvr>
    <a:masterClrMapping/>
  </p:clrMapOvr>
  <p:transition spd="med">
    <p:wipe dir="r"/>
  </p:transition>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324430C-A210-494C-A416-B7B7FA3DAF0B}"/>
              </a:ext>
            </a:extLst>
          </p:cNvPr>
          <p:cNvSpPr>
            <a:spLocks noGrp="1"/>
          </p:cNvSpPr>
          <p:nvPr>
            <p:ph type="title"/>
          </p:nvPr>
        </p:nvSpPr>
        <p:spPr>
          <a:xfrm>
            <a:off x="0" y="0"/>
            <a:ext cx="8229600" cy="637794"/>
          </a:xfrm>
        </p:spPr>
        <p:txBody>
          <a:bodyPr/>
          <a:lstStyle/>
          <a:p>
            <a:r>
              <a:rPr lang="en-US" dirty="0"/>
              <a:t>Hypothesis testing : Example 2</a:t>
            </a:r>
          </a:p>
        </p:txBody>
      </p:sp>
      <p:sp>
        <p:nvSpPr>
          <p:cNvPr id="4" name="TextBox 3">
            <a:extLst>
              <a:ext uri="{FF2B5EF4-FFF2-40B4-BE49-F238E27FC236}">
                <a16:creationId xmlns:a16="http://schemas.microsoft.com/office/drawing/2014/main" id="{377799CF-EC54-4728-8658-59AFAA90A951}"/>
              </a:ext>
            </a:extLst>
          </p:cNvPr>
          <p:cNvSpPr txBox="1"/>
          <p:nvPr/>
        </p:nvSpPr>
        <p:spPr>
          <a:xfrm>
            <a:off x="132622" y="1570535"/>
            <a:ext cx="5402638"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e </a:t>
            </a:r>
            <a:r>
              <a:rPr lang="en-US" sz="1400" b="1" dirty="0">
                <a:solidFill>
                  <a:schemeClr val="bg2"/>
                </a:solidFill>
                <a:latin typeface="+mn-lt"/>
              </a:rPr>
              <a:t>C.V </a:t>
            </a:r>
            <a:r>
              <a:rPr lang="en-US" sz="1400" dirty="0">
                <a:solidFill>
                  <a:schemeClr val="bg2"/>
                </a:solidFill>
                <a:latin typeface="+mn-lt"/>
              </a:rPr>
              <a:t>: Critical value on the left is </a:t>
            </a:r>
            <a:r>
              <a:rPr lang="en-US" sz="1400" b="1" dirty="0">
                <a:solidFill>
                  <a:schemeClr val="bg2"/>
                </a:solidFill>
                <a:latin typeface="+mn-lt"/>
              </a:rPr>
              <a:t>–</a:t>
            </a:r>
            <a:r>
              <a:rPr lang="en-US" sz="1400" b="1" dirty="0" err="1">
                <a:solidFill>
                  <a:schemeClr val="bg2"/>
                </a:solidFill>
                <a:latin typeface="+mn-lt"/>
              </a:rPr>
              <a:t>ve</a:t>
            </a:r>
            <a:r>
              <a:rPr lang="en-US" sz="1400" dirty="0">
                <a:solidFill>
                  <a:schemeClr val="bg2"/>
                </a:solidFill>
                <a:latin typeface="+mn-lt"/>
              </a:rPr>
              <a:t> and the C.V on the right is </a:t>
            </a:r>
            <a:r>
              <a:rPr lang="en-US" sz="1400" b="1" dirty="0">
                <a:solidFill>
                  <a:schemeClr val="bg2"/>
                </a:solidFill>
                <a:latin typeface="+mn-lt"/>
              </a:rPr>
              <a:t>+</a:t>
            </a:r>
            <a:r>
              <a:rPr lang="en-US" sz="1400" b="1" dirty="0" err="1">
                <a:solidFill>
                  <a:schemeClr val="bg2"/>
                </a:solidFill>
                <a:latin typeface="+mn-lt"/>
              </a:rPr>
              <a:t>ve</a:t>
            </a:r>
            <a:endParaRPr lang="en-US" sz="1400" b="1" dirty="0">
              <a:solidFill>
                <a:schemeClr val="bg2"/>
              </a:solidFill>
              <a:latin typeface="+mn-lt"/>
            </a:endParaRPr>
          </a:p>
        </p:txBody>
      </p:sp>
      <p:pic>
        <p:nvPicPr>
          <p:cNvPr id="9" name="Picture 8">
            <a:extLst>
              <a:ext uri="{FF2B5EF4-FFF2-40B4-BE49-F238E27FC236}">
                <a16:creationId xmlns:a16="http://schemas.microsoft.com/office/drawing/2014/main" id="{FA89151D-19E3-45BC-9889-B2C7E72AF830}"/>
              </a:ext>
            </a:extLst>
          </p:cNvPr>
          <p:cNvPicPr>
            <a:picLocks noChangeAspect="1"/>
          </p:cNvPicPr>
          <p:nvPr/>
        </p:nvPicPr>
        <p:blipFill>
          <a:blip r:embed="rId2"/>
          <a:stretch>
            <a:fillRect/>
          </a:stretch>
        </p:blipFill>
        <p:spPr>
          <a:xfrm>
            <a:off x="5842387" y="960080"/>
            <a:ext cx="2862263" cy="1995488"/>
          </a:xfrm>
          <a:prstGeom prst="rect">
            <a:avLst/>
          </a:prstGeom>
        </p:spPr>
      </p:pic>
      <p:sp>
        <p:nvSpPr>
          <p:cNvPr id="2" name="TextBox 1">
            <a:extLst>
              <a:ext uri="{FF2B5EF4-FFF2-40B4-BE49-F238E27FC236}">
                <a16:creationId xmlns:a16="http://schemas.microsoft.com/office/drawing/2014/main" id="{90A5681D-288D-4741-9156-6B9DCBD2C0CD}"/>
              </a:ext>
            </a:extLst>
          </p:cNvPr>
          <p:cNvSpPr txBox="1"/>
          <p:nvPr/>
        </p:nvSpPr>
        <p:spPr>
          <a:xfrm>
            <a:off x="132622" y="3231811"/>
            <a:ext cx="5179274"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tep 4 : Find Test Statistics. </a:t>
            </a:r>
            <a:r>
              <a:rPr lang="en-US" sz="1400" dirty="0" err="1">
                <a:solidFill>
                  <a:schemeClr val="bg2"/>
                </a:solidFill>
                <a:latin typeface="+mn-lt"/>
              </a:rPr>
              <a:t>i.e</a:t>
            </a:r>
            <a:r>
              <a:rPr lang="en-US" sz="1400" dirty="0">
                <a:solidFill>
                  <a:schemeClr val="bg2"/>
                </a:solidFill>
                <a:latin typeface="+mn-lt"/>
              </a:rPr>
              <a:t> The t-Value in this case </a:t>
            </a:r>
          </a:p>
        </p:txBody>
      </p:sp>
      <mc:AlternateContent xmlns:mc="http://schemas.openxmlformats.org/markup-compatibility/2006" xmlns:p14="http://schemas.microsoft.com/office/powerpoint/2010/main">
        <mc:Choice Requires="p14">
          <p:contentPart p14:bwMode="auto" r:id="rId3">
            <p14:nvContentPartPr>
              <p14:cNvPr id="5" name="Ink 4">
                <a:extLst>
                  <a:ext uri="{FF2B5EF4-FFF2-40B4-BE49-F238E27FC236}">
                    <a16:creationId xmlns:a16="http://schemas.microsoft.com/office/drawing/2014/main" id="{B24EB31C-64BD-4DFE-B49D-A6D0B3BDC324}"/>
                  </a:ext>
                </a:extLst>
              </p14:cNvPr>
              <p14:cNvContentPartPr/>
              <p14:nvPr/>
            </p14:nvContentPartPr>
            <p14:xfrm>
              <a:off x="552600" y="3905280"/>
              <a:ext cx="6972480" cy="700560"/>
            </p14:xfrm>
          </p:contentPart>
        </mc:Choice>
        <mc:Fallback xmlns="">
          <p:pic>
            <p:nvPicPr>
              <p:cNvPr id="5" name="Ink 4">
                <a:extLst>
                  <a:ext uri="{FF2B5EF4-FFF2-40B4-BE49-F238E27FC236}">
                    <a16:creationId xmlns:a16="http://schemas.microsoft.com/office/drawing/2014/main" id="{B24EB31C-64BD-4DFE-B49D-A6D0B3BDC324}"/>
                  </a:ext>
                </a:extLst>
              </p:cNvPr>
              <p:cNvPicPr/>
              <p:nvPr/>
            </p:nvPicPr>
            <p:blipFill>
              <a:blip r:embed="rId4"/>
              <a:stretch>
                <a:fillRect/>
              </a:stretch>
            </p:blipFill>
            <p:spPr>
              <a:xfrm>
                <a:off x="543240" y="3895920"/>
                <a:ext cx="6991200" cy="719280"/>
              </a:xfrm>
              <a:prstGeom prst="rect">
                <a:avLst/>
              </a:prstGeom>
            </p:spPr>
          </p:pic>
        </mc:Fallback>
      </mc:AlternateContent>
      <p:sp>
        <p:nvSpPr>
          <p:cNvPr id="6" name="Rectangle 5">
            <a:extLst>
              <a:ext uri="{FF2B5EF4-FFF2-40B4-BE49-F238E27FC236}">
                <a16:creationId xmlns:a16="http://schemas.microsoft.com/office/drawing/2014/main" id="{E12EF416-AF62-454A-B546-AB177A6646C1}"/>
              </a:ext>
            </a:extLst>
          </p:cNvPr>
          <p:cNvSpPr/>
          <p:nvPr/>
        </p:nvSpPr>
        <p:spPr>
          <a:xfrm>
            <a:off x="369948" y="3727402"/>
            <a:ext cx="1717118" cy="95024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8" name="Rectangle 7">
            <a:extLst>
              <a:ext uri="{FF2B5EF4-FFF2-40B4-BE49-F238E27FC236}">
                <a16:creationId xmlns:a16="http://schemas.microsoft.com/office/drawing/2014/main" id="{DB17D7F7-564F-45CE-94A6-1FA38E66959E}"/>
              </a:ext>
            </a:extLst>
          </p:cNvPr>
          <p:cNvSpPr/>
          <p:nvPr/>
        </p:nvSpPr>
        <p:spPr>
          <a:xfrm>
            <a:off x="2854882" y="3727402"/>
            <a:ext cx="4852850" cy="95024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7" name="TextBox 6">
            <a:extLst>
              <a:ext uri="{FF2B5EF4-FFF2-40B4-BE49-F238E27FC236}">
                <a16:creationId xmlns:a16="http://schemas.microsoft.com/office/drawing/2014/main" id="{3339B887-3F49-4C39-9589-08CE209FE221}"/>
              </a:ext>
            </a:extLst>
          </p:cNvPr>
          <p:cNvSpPr txBox="1"/>
          <p:nvPr/>
        </p:nvSpPr>
        <p:spPr>
          <a:xfrm>
            <a:off x="6477583" y="4365196"/>
            <a:ext cx="1230150"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est Statistic</a:t>
            </a:r>
          </a:p>
        </p:txBody>
      </p:sp>
    </p:spTree>
    <p:extLst>
      <p:ext uri="{BB962C8B-B14F-4D97-AF65-F5344CB8AC3E}">
        <p14:creationId xmlns:p14="http://schemas.microsoft.com/office/powerpoint/2010/main" val="518888301"/>
      </p:ext>
    </p:extLst>
  </p:cSld>
  <p:clrMapOvr>
    <a:masterClrMapping/>
  </p:clrMapOvr>
  <p:transition spd="med">
    <p:wipe dir="r"/>
  </p:transition>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8C81C2-13DD-4BE6-81D4-172DE08AE26D}"/>
              </a:ext>
            </a:extLst>
          </p:cNvPr>
          <p:cNvSpPr>
            <a:spLocks noGrp="1"/>
          </p:cNvSpPr>
          <p:nvPr>
            <p:ph type="title"/>
          </p:nvPr>
        </p:nvSpPr>
        <p:spPr>
          <a:xfrm>
            <a:off x="0" y="0"/>
            <a:ext cx="8229600" cy="637794"/>
          </a:xfrm>
        </p:spPr>
        <p:txBody>
          <a:bodyPr/>
          <a:lstStyle/>
          <a:p>
            <a:r>
              <a:rPr lang="en-US" dirty="0"/>
              <a:t>Hypothesis testing : Example 2</a:t>
            </a:r>
          </a:p>
        </p:txBody>
      </p:sp>
      <p:sp>
        <p:nvSpPr>
          <p:cNvPr id="3" name="TextBox 2">
            <a:extLst>
              <a:ext uri="{FF2B5EF4-FFF2-40B4-BE49-F238E27FC236}">
                <a16:creationId xmlns:a16="http://schemas.microsoft.com/office/drawing/2014/main" id="{A2CB5F16-3623-4C55-8E27-6A7E3CDBCC52}"/>
              </a:ext>
            </a:extLst>
          </p:cNvPr>
          <p:cNvSpPr txBox="1"/>
          <p:nvPr/>
        </p:nvSpPr>
        <p:spPr>
          <a:xfrm>
            <a:off x="118663" y="677399"/>
            <a:ext cx="2205728"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tep 5 : conclusion</a:t>
            </a:r>
          </a:p>
        </p:txBody>
      </p:sp>
      <p:sp>
        <p:nvSpPr>
          <p:cNvPr id="4" name="TextBox 3">
            <a:extLst>
              <a:ext uri="{FF2B5EF4-FFF2-40B4-BE49-F238E27FC236}">
                <a16:creationId xmlns:a16="http://schemas.microsoft.com/office/drawing/2014/main" id="{953ABB66-BBED-44D3-9C51-B906CE08983E}"/>
              </a:ext>
            </a:extLst>
          </p:cNvPr>
          <p:cNvSpPr txBox="1"/>
          <p:nvPr/>
        </p:nvSpPr>
        <p:spPr>
          <a:xfrm>
            <a:off x="118663" y="1221527"/>
            <a:ext cx="2994485"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Accept Ho : µ = 100</a:t>
            </a:r>
          </a:p>
        </p:txBody>
      </p:sp>
      <p:pic>
        <p:nvPicPr>
          <p:cNvPr id="10" name="Picture 9">
            <a:extLst>
              <a:ext uri="{FF2B5EF4-FFF2-40B4-BE49-F238E27FC236}">
                <a16:creationId xmlns:a16="http://schemas.microsoft.com/office/drawing/2014/main" id="{91B52B53-2F70-4737-B41B-168FA8F31FB8}"/>
              </a:ext>
            </a:extLst>
          </p:cNvPr>
          <p:cNvPicPr>
            <a:picLocks noChangeAspect="1"/>
          </p:cNvPicPr>
          <p:nvPr/>
        </p:nvPicPr>
        <p:blipFill>
          <a:blip r:embed="rId2"/>
          <a:stretch>
            <a:fillRect/>
          </a:stretch>
        </p:blipFill>
        <p:spPr>
          <a:xfrm>
            <a:off x="5126605" y="637794"/>
            <a:ext cx="3710268" cy="2182188"/>
          </a:xfrm>
          <a:prstGeom prst="rect">
            <a:avLst/>
          </a:prstGeom>
        </p:spPr>
      </p:pic>
      <p:sp>
        <p:nvSpPr>
          <p:cNvPr id="11" name="TextBox 10">
            <a:extLst>
              <a:ext uri="{FF2B5EF4-FFF2-40B4-BE49-F238E27FC236}">
                <a16:creationId xmlns:a16="http://schemas.microsoft.com/office/drawing/2014/main" id="{33F15421-5869-42B1-87A2-1D7BB1FF3DA5}"/>
              </a:ext>
            </a:extLst>
          </p:cNvPr>
          <p:cNvSpPr txBox="1"/>
          <p:nvPr/>
        </p:nvSpPr>
        <p:spPr>
          <a:xfrm>
            <a:off x="6582283" y="3608739"/>
            <a:ext cx="1919542"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Center point of the Normal Distribution is always t = 0 or Z = 0</a:t>
            </a:r>
          </a:p>
        </p:txBody>
      </p:sp>
      <p:cxnSp>
        <p:nvCxnSpPr>
          <p:cNvPr id="13" name="Straight Arrow Connector 12">
            <a:extLst>
              <a:ext uri="{FF2B5EF4-FFF2-40B4-BE49-F238E27FC236}">
                <a16:creationId xmlns:a16="http://schemas.microsoft.com/office/drawing/2014/main" id="{7FCC79B5-0260-4819-A564-358F8F003E51}"/>
              </a:ext>
            </a:extLst>
          </p:cNvPr>
          <p:cNvCxnSpPr>
            <a:cxnSpLocks/>
            <a:endCxn id="11" idx="0"/>
          </p:cNvCxnSpPr>
          <p:nvPr/>
        </p:nvCxnSpPr>
        <p:spPr>
          <a:xfrm>
            <a:off x="7308220" y="2819982"/>
            <a:ext cx="233834" cy="788757"/>
          </a:xfrm>
          <a:prstGeom prst="straightConnector1">
            <a:avLst/>
          </a:prstGeom>
          <a:ln w="12700" cmpd="sng">
            <a:solidFill>
              <a:srgbClr val="FF0000"/>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08431ABC-2802-4BDD-BA01-E9A6435E7526}"/>
              </a:ext>
            </a:extLst>
          </p:cNvPr>
          <p:cNvSpPr txBox="1"/>
          <p:nvPr/>
        </p:nvSpPr>
        <p:spPr>
          <a:xfrm>
            <a:off x="118663" y="3608739"/>
            <a:ext cx="5863328"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ence, we say with 95% confidence that there is enough evidence to support the claim : “ Avg IQ = 100” or we lack evidence to support “ Lower IQ’s”</a:t>
            </a:r>
          </a:p>
        </p:txBody>
      </p:sp>
    </p:spTree>
    <p:extLst>
      <p:ext uri="{BB962C8B-B14F-4D97-AF65-F5344CB8AC3E}">
        <p14:creationId xmlns:p14="http://schemas.microsoft.com/office/powerpoint/2010/main" val="1589460187"/>
      </p:ext>
    </p:extLst>
  </p:cSld>
  <p:clrMapOvr>
    <a:masterClrMapping/>
  </p:clrMapOvr>
  <p:transition spd="med">
    <p:wipe dir="r"/>
  </p:transition>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8AA9AD-4913-4464-8888-F5477826C2F4}"/>
              </a:ext>
            </a:extLst>
          </p:cNvPr>
          <p:cNvSpPr>
            <a:spLocks noGrp="1"/>
          </p:cNvSpPr>
          <p:nvPr>
            <p:ph type="title"/>
          </p:nvPr>
        </p:nvSpPr>
        <p:spPr>
          <a:xfrm>
            <a:off x="0" y="0"/>
            <a:ext cx="8229600" cy="637794"/>
          </a:xfrm>
        </p:spPr>
        <p:txBody>
          <a:bodyPr/>
          <a:lstStyle/>
          <a:p>
            <a:r>
              <a:rPr lang="en-US" dirty="0"/>
              <a:t>Important Takeaways</a:t>
            </a:r>
          </a:p>
        </p:txBody>
      </p:sp>
      <p:sp>
        <p:nvSpPr>
          <p:cNvPr id="3" name="TextBox 2">
            <a:extLst>
              <a:ext uri="{FF2B5EF4-FFF2-40B4-BE49-F238E27FC236}">
                <a16:creationId xmlns:a16="http://schemas.microsoft.com/office/drawing/2014/main" id="{10726F6B-B4E9-47E5-A352-4DABF4C609FA}"/>
              </a:ext>
            </a:extLst>
          </p:cNvPr>
          <p:cNvSpPr txBox="1"/>
          <p:nvPr/>
        </p:nvSpPr>
        <p:spPr>
          <a:xfrm>
            <a:off x="404849" y="809697"/>
            <a:ext cx="8229600" cy="3607206"/>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ow to make hypothesis {Null &amp; Alternative } from a problem statement? </a:t>
            </a:r>
          </a:p>
          <a:p>
            <a:pPr>
              <a:spcBef>
                <a:spcPts val="0"/>
              </a:spcBef>
              <a:spcAft>
                <a:spcPts val="0"/>
              </a:spcAft>
              <a:buClr>
                <a:schemeClr val="bg1"/>
              </a:buClr>
            </a:pPr>
            <a:r>
              <a:rPr lang="en-US" sz="1400" dirty="0">
                <a:solidFill>
                  <a:srgbClr val="FF0000"/>
                </a:solidFill>
                <a:latin typeface="+mn-lt"/>
              </a:rPr>
              <a:t>[Understand here what statistics can and cannot do !!]</a:t>
            </a:r>
          </a:p>
          <a:p>
            <a:pPr>
              <a:spcBef>
                <a:spcPts val="0"/>
              </a:spcBef>
              <a:spcAft>
                <a:spcPts val="0"/>
              </a:spcAft>
              <a:buClr>
                <a:schemeClr val="bg1"/>
              </a:buClr>
            </a:pPr>
            <a:endParaRPr lang="en-US" sz="1400" dirty="0">
              <a:solidFill>
                <a:schemeClr val="bg2"/>
              </a:solidFill>
              <a:latin typeface="+mn-lt"/>
            </a:endParaRPr>
          </a:p>
          <a:p>
            <a:pPr marL="342900" indent="-342900">
              <a:lnSpc>
                <a:spcPct val="150000"/>
              </a:lnSpc>
              <a:spcBef>
                <a:spcPts val="0"/>
              </a:spcBef>
              <a:spcAft>
                <a:spcPts val="0"/>
              </a:spcAft>
              <a:buClr>
                <a:schemeClr val="bg1"/>
              </a:buClr>
              <a:buAutoNum type="arabicPeriod"/>
            </a:pPr>
            <a:r>
              <a:rPr lang="en-US" sz="1400" dirty="0">
                <a:solidFill>
                  <a:schemeClr val="bg2"/>
                </a:solidFill>
                <a:latin typeface="+mn-lt"/>
              </a:rPr>
              <a:t>Statistics cannot prove something true or right </a:t>
            </a:r>
          </a:p>
          <a:p>
            <a:pPr marL="342900" indent="-342900">
              <a:lnSpc>
                <a:spcPct val="150000"/>
              </a:lnSpc>
              <a:spcBef>
                <a:spcPts val="0"/>
              </a:spcBef>
              <a:spcAft>
                <a:spcPts val="0"/>
              </a:spcAft>
              <a:buClr>
                <a:schemeClr val="bg1"/>
              </a:buClr>
              <a:buAutoNum type="arabicPeriod"/>
            </a:pPr>
            <a:r>
              <a:rPr lang="en-US" sz="1400" dirty="0">
                <a:solidFill>
                  <a:schemeClr val="bg2"/>
                </a:solidFill>
                <a:latin typeface="+mn-lt"/>
              </a:rPr>
              <a:t>It can only prove an assumption or hypothesis as false</a:t>
            </a:r>
          </a:p>
          <a:p>
            <a:pPr marL="800100" lvl="1" indent="-342900">
              <a:lnSpc>
                <a:spcPct val="150000"/>
              </a:lnSpc>
              <a:spcBef>
                <a:spcPts val="0"/>
              </a:spcBef>
              <a:spcAft>
                <a:spcPts val="0"/>
              </a:spcAft>
              <a:buClr>
                <a:schemeClr val="bg1"/>
              </a:buClr>
              <a:buFont typeface="Arial" panose="020B0604020202020204" pitchFamily="34" charset="0"/>
              <a:buChar char="•"/>
            </a:pPr>
            <a:r>
              <a:rPr lang="en-US" sz="1400" dirty="0">
                <a:solidFill>
                  <a:schemeClr val="bg2"/>
                </a:solidFill>
                <a:latin typeface="+mn-lt"/>
              </a:rPr>
              <a:t>Ex: in court you are either Not guilty or guilty; its never innocent</a:t>
            </a:r>
          </a:p>
          <a:p>
            <a:pPr marL="342900" indent="-342900">
              <a:lnSpc>
                <a:spcPct val="150000"/>
              </a:lnSpc>
              <a:spcBef>
                <a:spcPts val="0"/>
              </a:spcBef>
              <a:spcAft>
                <a:spcPts val="0"/>
              </a:spcAft>
              <a:buClr>
                <a:schemeClr val="bg1"/>
              </a:buClr>
              <a:buAutoNum type="arabicPeriod"/>
            </a:pPr>
            <a:r>
              <a:rPr lang="en-US" sz="1400" dirty="0">
                <a:solidFill>
                  <a:schemeClr val="bg2"/>
                </a:solidFill>
                <a:latin typeface="+mn-lt"/>
              </a:rPr>
              <a:t>Claims or Hypothesis can be of 2 types</a:t>
            </a:r>
          </a:p>
          <a:p>
            <a:pPr marL="800100" lvl="1" indent="-342900">
              <a:lnSpc>
                <a:spcPct val="150000"/>
              </a:lnSpc>
              <a:spcBef>
                <a:spcPts val="0"/>
              </a:spcBef>
              <a:spcAft>
                <a:spcPts val="0"/>
              </a:spcAft>
              <a:buClr>
                <a:schemeClr val="bg1"/>
              </a:buClr>
              <a:buFont typeface="Arial" panose="020B0604020202020204" pitchFamily="34" charset="0"/>
              <a:buChar char="•"/>
            </a:pPr>
            <a:r>
              <a:rPr lang="en-US" sz="1400" dirty="0">
                <a:solidFill>
                  <a:schemeClr val="bg2"/>
                </a:solidFill>
                <a:latin typeface="+mn-lt"/>
              </a:rPr>
              <a:t>Based on </a:t>
            </a:r>
            <a:r>
              <a:rPr lang="en-US" sz="1400" dirty="0" err="1">
                <a:solidFill>
                  <a:schemeClr val="bg2"/>
                </a:solidFill>
                <a:latin typeface="+mn-lt"/>
              </a:rPr>
              <a:t>propotion</a:t>
            </a:r>
            <a:endParaRPr lang="en-US" sz="1400" dirty="0">
              <a:solidFill>
                <a:schemeClr val="bg2"/>
              </a:solidFill>
              <a:latin typeface="+mn-lt"/>
            </a:endParaRPr>
          </a:p>
          <a:p>
            <a:pPr marL="800100" lvl="1" indent="-342900">
              <a:lnSpc>
                <a:spcPct val="150000"/>
              </a:lnSpc>
              <a:spcBef>
                <a:spcPts val="0"/>
              </a:spcBef>
              <a:spcAft>
                <a:spcPts val="0"/>
              </a:spcAft>
              <a:buClr>
                <a:schemeClr val="bg1"/>
              </a:buClr>
              <a:buFont typeface="Arial" panose="020B0604020202020204" pitchFamily="34" charset="0"/>
              <a:buChar char="•"/>
            </a:pPr>
            <a:r>
              <a:rPr lang="en-US" sz="1400" dirty="0">
                <a:solidFill>
                  <a:schemeClr val="bg2"/>
                </a:solidFill>
                <a:latin typeface="+mn-lt"/>
              </a:rPr>
              <a:t>Based on mean</a:t>
            </a:r>
          </a:p>
          <a:p>
            <a:pPr marL="1257300" lvl="2" indent="-342900">
              <a:lnSpc>
                <a:spcPct val="150000"/>
              </a:lnSpc>
              <a:spcBef>
                <a:spcPts val="0"/>
              </a:spcBef>
              <a:spcAft>
                <a:spcPts val="0"/>
              </a:spcAft>
              <a:buClr>
                <a:schemeClr val="bg1"/>
              </a:buClr>
              <a:buFont typeface="Wingdings" panose="05000000000000000000" pitchFamily="2" charset="2"/>
              <a:buChar char="q"/>
            </a:pPr>
            <a:r>
              <a:rPr lang="en-US" sz="1400" dirty="0">
                <a:solidFill>
                  <a:schemeClr val="bg2"/>
                </a:solidFill>
                <a:latin typeface="+mn-lt"/>
              </a:rPr>
              <a:t>Ex Most people get jobs thru Networking</a:t>
            </a:r>
          </a:p>
          <a:p>
            <a:pPr marL="1257300" lvl="2" indent="-342900">
              <a:lnSpc>
                <a:spcPct val="150000"/>
              </a:lnSpc>
              <a:spcBef>
                <a:spcPts val="0"/>
              </a:spcBef>
              <a:spcAft>
                <a:spcPts val="0"/>
              </a:spcAft>
              <a:buClr>
                <a:schemeClr val="bg1"/>
              </a:buClr>
              <a:buFont typeface="Wingdings" panose="05000000000000000000" pitchFamily="2" charset="2"/>
              <a:buChar char="q"/>
            </a:pPr>
            <a:r>
              <a:rPr lang="en-US" sz="1400" dirty="0">
                <a:solidFill>
                  <a:schemeClr val="bg2"/>
                </a:solidFill>
                <a:latin typeface="+mn-lt"/>
              </a:rPr>
              <a:t>The average payload of truck on NH is 1.2 tons</a:t>
            </a:r>
          </a:p>
          <a:p>
            <a:pPr>
              <a:lnSpc>
                <a:spcPct val="150000"/>
              </a:lnSpc>
              <a:spcBef>
                <a:spcPts val="0"/>
              </a:spcBef>
              <a:spcAft>
                <a:spcPts val="0"/>
              </a:spcAft>
              <a:buClr>
                <a:schemeClr val="bg1"/>
              </a:buClr>
            </a:pPr>
            <a:r>
              <a:rPr lang="en-US" sz="1400" dirty="0">
                <a:solidFill>
                  <a:schemeClr val="bg2"/>
                </a:solidFill>
                <a:latin typeface="+mn-lt"/>
              </a:rPr>
              <a:t>	</a:t>
            </a:r>
          </a:p>
        </p:txBody>
      </p:sp>
    </p:spTree>
    <p:extLst>
      <p:ext uri="{BB962C8B-B14F-4D97-AF65-F5344CB8AC3E}">
        <p14:creationId xmlns:p14="http://schemas.microsoft.com/office/powerpoint/2010/main" val="1120069403"/>
      </p:ext>
    </p:extLst>
  </p:cSld>
  <p:clrMapOvr>
    <a:masterClrMapping/>
  </p:clrMapOvr>
  <p:transition spd="med">
    <p:wipe dir="r"/>
  </p:transition>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9F20015-95DA-410F-9FCF-32563551FD03}"/>
              </a:ext>
            </a:extLst>
          </p:cNvPr>
          <p:cNvSpPr>
            <a:spLocks noGrp="1"/>
          </p:cNvSpPr>
          <p:nvPr>
            <p:ph type="title"/>
          </p:nvPr>
        </p:nvSpPr>
        <p:spPr>
          <a:xfrm>
            <a:off x="0" y="0"/>
            <a:ext cx="8229600" cy="637794"/>
          </a:xfrm>
        </p:spPr>
        <p:txBody>
          <a:bodyPr/>
          <a:lstStyle/>
          <a:p>
            <a:r>
              <a:rPr lang="en-US" dirty="0"/>
              <a:t>Important Takeaways</a:t>
            </a:r>
          </a:p>
        </p:txBody>
      </p:sp>
      <p:sp>
        <p:nvSpPr>
          <p:cNvPr id="5" name="TextBox 4">
            <a:extLst>
              <a:ext uri="{FF2B5EF4-FFF2-40B4-BE49-F238E27FC236}">
                <a16:creationId xmlns:a16="http://schemas.microsoft.com/office/drawing/2014/main" id="{ADA74662-AAB4-4707-8300-19F825E4A8C0}"/>
              </a:ext>
            </a:extLst>
          </p:cNvPr>
          <p:cNvSpPr txBox="1"/>
          <p:nvPr/>
        </p:nvSpPr>
        <p:spPr>
          <a:xfrm>
            <a:off x="244305" y="781776"/>
            <a:ext cx="6470601" cy="2031325"/>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4. Ho, null hypothesis should always have =, &gt;= , &lt;= or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5. Understand how to define hypothesis or claim thru below examples </a:t>
            </a:r>
          </a:p>
          <a:p>
            <a:pPr>
              <a:spcBef>
                <a:spcPts val="0"/>
              </a:spcBef>
              <a:spcAft>
                <a:spcPts val="0"/>
              </a:spcAft>
              <a:buClr>
                <a:schemeClr val="bg1"/>
              </a:buClr>
            </a:pPr>
            <a:r>
              <a:rPr lang="en-US" sz="1400" dirty="0">
                <a:solidFill>
                  <a:schemeClr val="bg2"/>
                </a:solidFill>
                <a:latin typeface="+mn-lt"/>
              </a:rPr>
              <a:t>	</a:t>
            </a:r>
          </a:p>
          <a:p>
            <a:pPr>
              <a:spcBef>
                <a:spcPts val="0"/>
              </a:spcBef>
              <a:spcAft>
                <a:spcPts val="0"/>
              </a:spcAft>
              <a:buClr>
                <a:schemeClr val="bg1"/>
              </a:buClr>
            </a:pPr>
            <a:r>
              <a:rPr lang="en-US" sz="1400" b="1" dirty="0">
                <a:solidFill>
                  <a:schemeClr val="bg2"/>
                </a:solidFill>
                <a:latin typeface="+mn-lt"/>
              </a:rPr>
              <a:t>Remember to start by assuming that your Ho is True</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b="1" dirty="0">
                <a:solidFill>
                  <a:schemeClr val="bg2"/>
                </a:solidFill>
                <a:latin typeface="+mn-lt"/>
              </a:rPr>
              <a:t>   Ex 1: The mean of the fluid is at least 100ml in a can</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endParaRPr lang="en-US" sz="1400" dirty="0">
              <a:solidFill>
                <a:schemeClr val="bg2"/>
              </a:solidFill>
              <a:latin typeface="+mn-lt"/>
            </a:endParaRPr>
          </a:p>
        </p:txBody>
      </p:sp>
      <p:sp>
        <p:nvSpPr>
          <p:cNvPr id="6" name="TextBox 5">
            <a:extLst>
              <a:ext uri="{FF2B5EF4-FFF2-40B4-BE49-F238E27FC236}">
                <a16:creationId xmlns:a16="http://schemas.microsoft.com/office/drawing/2014/main" id="{855306D1-2D5F-4248-B9F1-0BBD8E3E9D18}"/>
              </a:ext>
            </a:extLst>
          </p:cNvPr>
          <p:cNvSpPr txBox="1"/>
          <p:nvPr/>
        </p:nvSpPr>
        <p:spPr>
          <a:xfrm>
            <a:off x="2331370" y="3496115"/>
            <a:ext cx="5283976"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Claim : </a:t>
            </a:r>
            <a:r>
              <a:rPr lang="el-GR" sz="1400" dirty="0">
                <a:solidFill>
                  <a:schemeClr val="bg2"/>
                </a:solidFill>
                <a:latin typeface="+mn-lt"/>
              </a:rPr>
              <a:t>μ</a:t>
            </a:r>
            <a:r>
              <a:rPr lang="en-US" sz="1400" dirty="0">
                <a:solidFill>
                  <a:schemeClr val="bg2"/>
                </a:solidFill>
                <a:latin typeface="+mn-lt"/>
              </a:rPr>
              <a:t>  &gt;= 100</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Opposite : µ &lt;100 </a:t>
            </a:r>
          </a:p>
        </p:txBody>
      </p:sp>
      <p:sp>
        <p:nvSpPr>
          <p:cNvPr id="7" name="TextBox 6">
            <a:extLst>
              <a:ext uri="{FF2B5EF4-FFF2-40B4-BE49-F238E27FC236}">
                <a16:creationId xmlns:a16="http://schemas.microsoft.com/office/drawing/2014/main" id="{D559FB61-B49C-4617-B7D5-5707FD43505F}"/>
              </a:ext>
            </a:extLst>
          </p:cNvPr>
          <p:cNvSpPr txBox="1"/>
          <p:nvPr/>
        </p:nvSpPr>
        <p:spPr>
          <a:xfrm>
            <a:off x="362968" y="2695473"/>
            <a:ext cx="2715279" cy="523220"/>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Write the claim</a:t>
            </a: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Write the opposite</a:t>
            </a:r>
          </a:p>
        </p:txBody>
      </p:sp>
      <p:sp>
        <p:nvSpPr>
          <p:cNvPr id="8" name="TextBox 7">
            <a:extLst>
              <a:ext uri="{FF2B5EF4-FFF2-40B4-BE49-F238E27FC236}">
                <a16:creationId xmlns:a16="http://schemas.microsoft.com/office/drawing/2014/main" id="{16AAD919-D705-4981-8641-600D803CB740}"/>
              </a:ext>
            </a:extLst>
          </p:cNvPr>
          <p:cNvSpPr txBox="1"/>
          <p:nvPr/>
        </p:nvSpPr>
        <p:spPr>
          <a:xfrm>
            <a:off x="4516159" y="3566858"/>
            <a:ext cx="2498894"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As = here, hence it is Ho</a:t>
            </a:r>
          </a:p>
        </p:txBody>
      </p:sp>
    </p:spTree>
    <p:extLst>
      <p:ext uri="{BB962C8B-B14F-4D97-AF65-F5344CB8AC3E}">
        <p14:creationId xmlns:p14="http://schemas.microsoft.com/office/powerpoint/2010/main" val="110114271"/>
      </p:ext>
    </p:extLst>
  </p:cSld>
  <p:clrMapOvr>
    <a:masterClrMapping/>
  </p:clrMapOvr>
  <p:transition spd="med">
    <p:wipe dir="r"/>
  </p:transition>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1A70240-1D40-4910-9361-C4810D841793}"/>
              </a:ext>
            </a:extLst>
          </p:cNvPr>
          <p:cNvSpPr>
            <a:spLocks noGrp="1"/>
          </p:cNvSpPr>
          <p:nvPr>
            <p:ph type="title"/>
          </p:nvPr>
        </p:nvSpPr>
        <p:spPr>
          <a:xfrm>
            <a:off x="0" y="0"/>
            <a:ext cx="8229600" cy="637794"/>
          </a:xfrm>
        </p:spPr>
        <p:txBody>
          <a:bodyPr/>
          <a:lstStyle/>
          <a:p>
            <a:r>
              <a:rPr lang="en-US" dirty="0"/>
              <a:t>Important Takeaways</a:t>
            </a:r>
          </a:p>
        </p:txBody>
      </p:sp>
      <p:sp>
        <p:nvSpPr>
          <p:cNvPr id="4" name="TextBox 3">
            <a:extLst>
              <a:ext uri="{FF2B5EF4-FFF2-40B4-BE49-F238E27FC236}">
                <a16:creationId xmlns:a16="http://schemas.microsoft.com/office/drawing/2014/main" id="{352BEC19-DC70-4F11-99F7-79BFE35861DB}"/>
              </a:ext>
            </a:extLst>
          </p:cNvPr>
          <p:cNvSpPr txBox="1"/>
          <p:nvPr/>
        </p:nvSpPr>
        <p:spPr>
          <a:xfrm>
            <a:off x="230345" y="748859"/>
            <a:ext cx="4090369" cy="1600438"/>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Ex 2 : Most CEOs are male</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Claim : p &gt; 0.5 (proportion)</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err="1">
                <a:solidFill>
                  <a:schemeClr val="bg2"/>
                </a:solidFill>
                <a:latin typeface="+mn-lt"/>
              </a:rPr>
              <a:t>Opp</a:t>
            </a:r>
            <a:r>
              <a:rPr lang="en-US" sz="1400" dirty="0">
                <a:solidFill>
                  <a:schemeClr val="bg2"/>
                </a:solidFill>
                <a:latin typeface="+mn-lt"/>
              </a:rPr>
              <a:t> : p &lt;= 0.5</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As = here, hence it is Ho</a:t>
            </a:r>
          </a:p>
        </p:txBody>
      </p:sp>
      <p:sp>
        <p:nvSpPr>
          <p:cNvPr id="5" name="TextBox 4">
            <a:extLst>
              <a:ext uri="{FF2B5EF4-FFF2-40B4-BE49-F238E27FC236}">
                <a16:creationId xmlns:a16="http://schemas.microsoft.com/office/drawing/2014/main" id="{7983553A-170C-417D-9D41-B00BEA8E24D7}"/>
              </a:ext>
            </a:extLst>
          </p:cNvPr>
          <p:cNvSpPr txBox="1"/>
          <p:nvPr/>
        </p:nvSpPr>
        <p:spPr>
          <a:xfrm>
            <a:off x="342027" y="2649114"/>
            <a:ext cx="2394193" cy="738664"/>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Ho : p &lt;= 0.5</a:t>
            </a:r>
          </a:p>
          <a:p>
            <a:pPr>
              <a:spcBef>
                <a:spcPts val="0"/>
              </a:spcBef>
              <a:spcAft>
                <a:spcPts val="0"/>
              </a:spcAft>
              <a:buClr>
                <a:schemeClr val="bg1"/>
              </a:buClr>
            </a:pPr>
            <a:r>
              <a:rPr lang="en-US" sz="1400" b="1" dirty="0">
                <a:solidFill>
                  <a:schemeClr val="bg2"/>
                </a:solidFill>
                <a:latin typeface="+mn-lt"/>
              </a:rPr>
              <a:t> </a:t>
            </a:r>
          </a:p>
          <a:p>
            <a:pPr>
              <a:spcBef>
                <a:spcPts val="0"/>
              </a:spcBef>
              <a:spcAft>
                <a:spcPts val="0"/>
              </a:spcAft>
              <a:buClr>
                <a:schemeClr val="bg1"/>
              </a:buClr>
            </a:pPr>
            <a:r>
              <a:rPr lang="en-US" sz="1400" b="1" dirty="0">
                <a:solidFill>
                  <a:schemeClr val="bg2"/>
                </a:solidFill>
                <a:latin typeface="+mn-lt"/>
              </a:rPr>
              <a:t>H1: p &gt; 0.5</a:t>
            </a:r>
          </a:p>
        </p:txBody>
      </p:sp>
      <p:sp>
        <p:nvSpPr>
          <p:cNvPr id="6" name="TextBox 5">
            <a:extLst>
              <a:ext uri="{FF2B5EF4-FFF2-40B4-BE49-F238E27FC236}">
                <a16:creationId xmlns:a16="http://schemas.microsoft.com/office/drawing/2014/main" id="{87F7F839-4721-4F56-98EC-3EDC99B806F6}"/>
              </a:ext>
            </a:extLst>
          </p:cNvPr>
          <p:cNvSpPr txBox="1"/>
          <p:nvPr/>
        </p:nvSpPr>
        <p:spPr>
          <a:xfrm>
            <a:off x="3224830" y="2756836"/>
            <a:ext cx="5242095"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ereby, we would perform hypothesis testing to Reject or not reject Ho </a:t>
            </a:r>
          </a:p>
        </p:txBody>
      </p:sp>
    </p:spTree>
    <p:extLst>
      <p:ext uri="{BB962C8B-B14F-4D97-AF65-F5344CB8AC3E}">
        <p14:creationId xmlns:p14="http://schemas.microsoft.com/office/powerpoint/2010/main" val="3390640882"/>
      </p:ext>
    </p:extLst>
  </p:cSld>
  <p:clrMapOvr>
    <a:masterClrMapping/>
  </p:clrMapOvr>
  <p:transition spd="med">
    <p:wipe dir="r"/>
  </p:transition>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9DD0E0B-9F06-46B3-817D-CBF1E4FA6DB9}"/>
              </a:ext>
            </a:extLst>
          </p:cNvPr>
          <p:cNvSpPr txBox="1">
            <a:spLocks/>
          </p:cNvSpPr>
          <p:nvPr/>
        </p:nvSpPr>
        <p:spPr>
          <a:xfrm>
            <a:off x="-1" y="0"/>
            <a:ext cx="8815933" cy="637794"/>
          </a:xfrm>
          <a:prstGeom prst="rect">
            <a:avLst/>
          </a:prstGeom>
        </p:spPr>
        <p:txBody>
          <a:bodyPr/>
          <a:lst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kern="0" dirty="0"/>
              <a:t>Chi – Square Test (also called Goodness of fit test)</a:t>
            </a:r>
          </a:p>
        </p:txBody>
      </p:sp>
      <p:sp>
        <p:nvSpPr>
          <p:cNvPr id="4" name="TextBox 3">
            <a:extLst>
              <a:ext uri="{FF2B5EF4-FFF2-40B4-BE49-F238E27FC236}">
                <a16:creationId xmlns:a16="http://schemas.microsoft.com/office/drawing/2014/main" id="{4EA970DF-602C-40EE-9A74-8F21F0B0CD4C}"/>
              </a:ext>
            </a:extLst>
          </p:cNvPr>
          <p:cNvSpPr txBox="1"/>
          <p:nvPr/>
        </p:nvSpPr>
        <p:spPr>
          <a:xfrm>
            <a:off x="118663" y="893460"/>
            <a:ext cx="4453337" cy="338554"/>
          </a:xfrm>
          <a:prstGeom prst="rect">
            <a:avLst/>
          </a:prstGeom>
          <a:noFill/>
        </p:spPr>
        <p:txBody>
          <a:bodyPr wrap="square" rtlCol="0">
            <a:spAutoFit/>
          </a:bodyPr>
          <a:lstStyle/>
          <a:p>
            <a:pPr>
              <a:spcBef>
                <a:spcPts val="0"/>
              </a:spcBef>
              <a:spcAft>
                <a:spcPts val="0"/>
              </a:spcAft>
              <a:buClr>
                <a:schemeClr val="bg1"/>
              </a:buClr>
            </a:pPr>
            <a:r>
              <a:rPr lang="en-US" sz="1600" b="1" dirty="0">
                <a:solidFill>
                  <a:schemeClr val="bg2"/>
                </a:solidFill>
                <a:latin typeface="+mn-lt"/>
              </a:rPr>
              <a:t>Purpose :</a:t>
            </a:r>
          </a:p>
        </p:txBody>
      </p:sp>
      <p:sp>
        <p:nvSpPr>
          <p:cNvPr id="5" name="TextBox 4">
            <a:extLst>
              <a:ext uri="{FF2B5EF4-FFF2-40B4-BE49-F238E27FC236}">
                <a16:creationId xmlns:a16="http://schemas.microsoft.com/office/drawing/2014/main" id="{3C6EF42C-39E6-4B55-A4CE-B977E12B2305}"/>
              </a:ext>
            </a:extLst>
          </p:cNvPr>
          <p:cNvSpPr txBox="1"/>
          <p:nvPr/>
        </p:nvSpPr>
        <p:spPr>
          <a:xfrm>
            <a:off x="118663" y="1361130"/>
            <a:ext cx="3371413"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Chi Square statistics are formulated </a:t>
            </a:r>
            <a:r>
              <a:rPr lang="en-US" sz="1400" dirty="0">
                <a:solidFill>
                  <a:schemeClr val="accent1"/>
                </a:solidFill>
                <a:latin typeface="+mn-lt"/>
              </a:rPr>
              <a:t>to determine whether an observed number differs either from change or from what was expected </a:t>
            </a:r>
          </a:p>
        </p:txBody>
      </p:sp>
      <p:sp>
        <p:nvSpPr>
          <p:cNvPr id="6" name="TextBox 5">
            <a:extLst>
              <a:ext uri="{FF2B5EF4-FFF2-40B4-BE49-F238E27FC236}">
                <a16:creationId xmlns:a16="http://schemas.microsoft.com/office/drawing/2014/main" id="{E82DDFC1-4DA4-4235-A4DB-717B257F80D8}"/>
              </a:ext>
            </a:extLst>
          </p:cNvPr>
          <p:cNvSpPr txBox="1"/>
          <p:nvPr/>
        </p:nvSpPr>
        <p:spPr>
          <a:xfrm>
            <a:off x="118663" y="2584486"/>
            <a:ext cx="3371413"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Pearson had termed it as a </a:t>
            </a:r>
            <a:r>
              <a:rPr lang="en-US" sz="1400" b="1" dirty="0">
                <a:solidFill>
                  <a:schemeClr val="bg2"/>
                </a:solidFill>
                <a:latin typeface="+mn-lt"/>
              </a:rPr>
              <a:t>Goodness-of-fit</a:t>
            </a:r>
            <a:r>
              <a:rPr lang="en-US" sz="1400" dirty="0">
                <a:solidFill>
                  <a:schemeClr val="bg2"/>
                </a:solidFill>
                <a:latin typeface="+mn-lt"/>
              </a:rPr>
              <a:t> test to describe how well theoretically the observed frequencies fit the expected frequencies</a:t>
            </a:r>
          </a:p>
        </p:txBody>
      </p:sp>
      <p:sp>
        <p:nvSpPr>
          <p:cNvPr id="8" name="TextBox 7">
            <a:extLst>
              <a:ext uri="{FF2B5EF4-FFF2-40B4-BE49-F238E27FC236}">
                <a16:creationId xmlns:a16="http://schemas.microsoft.com/office/drawing/2014/main" id="{3EB3CD21-3F8A-473D-841D-328EFDA3AF1E}"/>
              </a:ext>
            </a:extLst>
          </p:cNvPr>
          <p:cNvSpPr txBox="1"/>
          <p:nvPr/>
        </p:nvSpPr>
        <p:spPr>
          <a:xfrm>
            <a:off x="4222991" y="1062737"/>
            <a:ext cx="4592941" cy="289310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accent1"/>
                </a:solidFill>
                <a:latin typeface="+mn-lt"/>
              </a:rPr>
              <a:t>Groups and Numbers</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You research two groups and put them in categories single, married or divorces: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The numbers are different in each group, but </a:t>
            </a:r>
          </a:p>
          <a:p>
            <a:pPr>
              <a:spcBef>
                <a:spcPts val="0"/>
              </a:spcBef>
              <a:spcAft>
                <a:spcPts val="0"/>
              </a:spcAft>
              <a:buClr>
                <a:schemeClr val="bg1"/>
              </a:buClr>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Is that just random chance ?</a:t>
            </a: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Or have you found something interesting ?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accent1"/>
                </a:solidFill>
                <a:latin typeface="+mn-lt"/>
              </a:rPr>
              <a:t>The </a:t>
            </a:r>
            <a:r>
              <a:rPr lang="en-US" sz="1400" b="1" dirty="0">
                <a:solidFill>
                  <a:schemeClr val="accent1"/>
                </a:solidFill>
                <a:latin typeface="+mn-lt"/>
              </a:rPr>
              <a:t>Chi-Square test </a:t>
            </a:r>
            <a:r>
              <a:rPr lang="en-US" sz="1400" dirty="0">
                <a:solidFill>
                  <a:schemeClr val="accent1"/>
                </a:solidFill>
                <a:latin typeface="+mn-lt"/>
              </a:rPr>
              <a:t>gives a “p” value to help you decide !</a:t>
            </a:r>
          </a:p>
        </p:txBody>
      </p:sp>
      <p:sp>
        <p:nvSpPr>
          <p:cNvPr id="2" name="Rectangle 1">
            <a:extLst>
              <a:ext uri="{FF2B5EF4-FFF2-40B4-BE49-F238E27FC236}">
                <a16:creationId xmlns:a16="http://schemas.microsoft.com/office/drawing/2014/main" id="{E45714CC-A5BB-447A-A16B-FD687154CE2B}"/>
              </a:ext>
            </a:extLst>
          </p:cNvPr>
          <p:cNvSpPr/>
          <p:nvPr/>
        </p:nvSpPr>
        <p:spPr>
          <a:xfrm>
            <a:off x="3964727" y="893460"/>
            <a:ext cx="4851205" cy="3356580"/>
          </a:xfrm>
          <a:custGeom>
            <a:avLst/>
            <a:gdLst>
              <a:gd name="connsiteX0" fmla="*/ 0 w 4851205"/>
              <a:gd name="connsiteY0" fmla="*/ 0 h 3356580"/>
              <a:gd name="connsiteX1" fmla="*/ 4851205 w 4851205"/>
              <a:gd name="connsiteY1" fmla="*/ 0 h 3356580"/>
              <a:gd name="connsiteX2" fmla="*/ 4851205 w 4851205"/>
              <a:gd name="connsiteY2" fmla="*/ 3356580 h 3356580"/>
              <a:gd name="connsiteX3" fmla="*/ 0 w 4851205"/>
              <a:gd name="connsiteY3" fmla="*/ 3356580 h 3356580"/>
              <a:gd name="connsiteX4" fmla="*/ 0 w 4851205"/>
              <a:gd name="connsiteY4" fmla="*/ 0 h 3356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1205" h="3356580" extrusionOk="0">
                <a:moveTo>
                  <a:pt x="0" y="0"/>
                </a:moveTo>
                <a:cubicBezTo>
                  <a:pt x="1186136" y="-5264"/>
                  <a:pt x="2787640" y="84467"/>
                  <a:pt x="4851205" y="0"/>
                </a:cubicBezTo>
                <a:cubicBezTo>
                  <a:pt x="4723032" y="1328465"/>
                  <a:pt x="4980355" y="1721535"/>
                  <a:pt x="4851205" y="3356580"/>
                </a:cubicBezTo>
                <a:cubicBezTo>
                  <a:pt x="4067244" y="3462900"/>
                  <a:pt x="618756" y="3348931"/>
                  <a:pt x="0" y="3356580"/>
                </a:cubicBezTo>
                <a:cubicBezTo>
                  <a:pt x="160128" y="1891390"/>
                  <a:pt x="25049" y="912271"/>
                  <a:pt x="0" y="0"/>
                </a:cubicBezTo>
                <a:close/>
              </a:path>
            </a:pathLst>
          </a:custGeom>
          <a:noFill/>
          <a:ln w="12700" cmpd="sng">
            <a:solidFill>
              <a:schemeClr val="accent1"/>
            </a:solidFill>
            <a:extLst>
              <a:ext uri="{C807C97D-BFC1-408E-A445-0C87EB9F89A2}">
                <ask:lineSketchStyleProps xmlns:ask="http://schemas.microsoft.com/office/drawing/2018/sketchyshapes" sd="2650216993">
                  <a:prstGeom prst="rect">
                    <a:avLst/>
                  </a:prstGeom>
                  <ask:type>
                    <ask:lineSketchCurved/>
                  </ask:type>
                </ask:lineSketchStyleProps>
              </a:ext>
            </a:extLst>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Tree>
    <p:extLst>
      <p:ext uri="{BB962C8B-B14F-4D97-AF65-F5344CB8AC3E}">
        <p14:creationId xmlns:p14="http://schemas.microsoft.com/office/powerpoint/2010/main" val="1057630839"/>
      </p:ext>
    </p:extLst>
  </p:cSld>
  <p:clrMapOvr>
    <a:masterClrMapping/>
  </p:clrMapOvr>
  <p:transition spd="med">
    <p:wipe dir="r"/>
  </p:transition>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4D3D3-AF5B-47A2-BB35-907471E001C2}"/>
              </a:ext>
            </a:extLst>
          </p:cNvPr>
          <p:cNvSpPr>
            <a:spLocks noGrp="1"/>
          </p:cNvSpPr>
          <p:nvPr>
            <p:ph type="title"/>
          </p:nvPr>
        </p:nvSpPr>
        <p:spPr>
          <a:xfrm>
            <a:off x="0" y="0"/>
            <a:ext cx="8229600" cy="637794"/>
          </a:xfrm>
        </p:spPr>
        <p:txBody>
          <a:bodyPr/>
          <a:lstStyle/>
          <a:p>
            <a:r>
              <a:rPr lang="en-US" dirty="0"/>
              <a:t>Chi – Square Test - Example </a:t>
            </a:r>
          </a:p>
        </p:txBody>
      </p:sp>
      <p:sp>
        <p:nvSpPr>
          <p:cNvPr id="3" name="TextBox 2">
            <a:extLst>
              <a:ext uri="{FF2B5EF4-FFF2-40B4-BE49-F238E27FC236}">
                <a16:creationId xmlns:a16="http://schemas.microsoft.com/office/drawing/2014/main" id="{0EF7E15F-7E97-4843-B58E-4F518BE15054}"/>
              </a:ext>
            </a:extLst>
          </p:cNvPr>
          <p:cNvSpPr txBox="1"/>
          <p:nvPr/>
        </p:nvSpPr>
        <p:spPr>
          <a:xfrm>
            <a:off x="118662" y="630814"/>
            <a:ext cx="4718583" cy="1169551"/>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A casino, state that following is the way die throws show up = &gt;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Could you find out, whether the Casino is using a Fair Dice or not ? </a:t>
            </a:r>
          </a:p>
        </p:txBody>
      </p:sp>
      <p:pic>
        <p:nvPicPr>
          <p:cNvPr id="5" name="Picture 4">
            <a:extLst>
              <a:ext uri="{FF2B5EF4-FFF2-40B4-BE49-F238E27FC236}">
                <a16:creationId xmlns:a16="http://schemas.microsoft.com/office/drawing/2014/main" id="{259B9BB4-E20D-41E0-B5DA-13A543A3693C}"/>
              </a:ext>
            </a:extLst>
          </p:cNvPr>
          <p:cNvPicPr>
            <a:picLocks noChangeAspect="1"/>
          </p:cNvPicPr>
          <p:nvPr/>
        </p:nvPicPr>
        <p:blipFill>
          <a:blip r:embed="rId2"/>
          <a:stretch>
            <a:fillRect/>
          </a:stretch>
        </p:blipFill>
        <p:spPr>
          <a:xfrm>
            <a:off x="5200213" y="740999"/>
            <a:ext cx="2257425" cy="1238250"/>
          </a:xfrm>
          <a:prstGeom prst="rect">
            <a:avLst/>
          </a:prstGeom>
        </p:spPr>
      </p:pic>
      <p:pic>
        <p:nvPicPr>
          <p:cNvPr id="7" name="Picture 6">
            <a:extLst>
              <a:ext uri="{FF2B5EF4-FFF2-40B4-BE49-F238E27FC236}">
                <a16:creationId xmlns:a16="http://schemas.microsoft.com/office/drawing/2014/main" id="{90B1C7CC-09B3-42C2-B297-A343F75800DE}"/>
              </a:ext>
            </a:extLst>
          </p:cNvPr>
          <p:cNvPicPr>
            <a:picLocks noChangeAspect="1"/>
          </p:cNvPicPr>
          <p:nvPr/>
        </p:nvPicPr>
        <p:blipFill>
          <a:blip r:embed="rId3"/>
          <a:stretch>
            <a:fillRect/>
          </a:stretch>
        </p:blipFill>
        <p:spPr>
          <a:xfrm>
            <a:off x="5537332" y="2528621"/>
            <a:ext cx="2257425" cy="1271262"/>
          </a:xfrm>
          <a:prstGeom prst="rect">
            <a:avLst/>
          </a:prstGeom>
        </p:spPr>
      </p:pic>
      <p:sp>
        <p:nvSpPr>
          <p:cNvPr id="8" name="TextBox 7">
            <a:extLst>
              <a:ext uri="{FF2B5EF4-FFF2-40B4-BE49-F238E27FC236}">
                <a16:creationId xmlns:a16="http://schemas.microsoft.com/office/drawing/2014/main" id="{474C345F-4A91-429D-A833-B118BA07DE1A}"/>
              </a:ext>
            </a:extLst>
          </p:cNvPr>
          <p:cNvSpPr txBox="1"/>
          <p:nvPr/>
        </p:nvSpPr>
        <p:spPr>
          <a:xfrm>
            <a:off x="118662" y="1979249"/>
            <a:ext cx="4816305" cy="2031325"/>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e would follow same 5 steps of Hypothesis testing.</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b="1" dirty="0">
                <a:solidFill>
                  <a:schemeClr val="accent1"/>
                </a:solidFill>
                <a:latin typeface="+mn-lt"/>
              </a:rPr>
              <a:t>Total throws = 204</a:t>
            </a:r>
          </a:p>
          <a:p>
            <a:pPr>
              <a:spcBef>
                <a:spcPts val="0"/>
              </a:spcBef>
              <a:spcAft>
                <a:spcPts val="0"/>
              </a:spcAft>
              <a:buClr>
                <a:schemeClr val="bg1"/>
              </a:buClr>
            </a:pPr>
            <a:endParaRPr lang="en-US" sz="1400" b="1"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E(1) = (1/6) * 204 = 34</a:t>
            </a:r>
          </a:p>
          <a:p>
            <a:pPr>
              <a:spcBef>
                <a:spcPts val="0"/>
              </a:spcBef>
              <a:spcAft>
                <a:spcPts val="0"/>
              </a:spcAft>
              <a:buClr>
                <a:schemeClr val="bg1"/>
              </a:buClr>
            </a:pPr>
            <a:r>
              <a:rPr lang="en-US" sz="1400" dirty="0">
                <a:solidFill>
                  <a:schemeClr val="bg2"/>
                </a:solidFill>
                <a:latin typeface="+mn-lt"/>
              </a:rPr>
              <a:t>E(2) = (1/6) * 204 = 34</a:t>
            </a:r>
          </a:p>
          <a:p>
            <a:pPr>
              <a:spcBef>
                <a:spcPts val="0"/>
              </a:spcBef>
              <a:spcAft>
                <a:spcPts val="0"/>
              </a:spcAft>
              <a:buClr>
                <a:schemeClr val="bg1"/>
              </a:buClr>
            </a:pPr>
            <a:r>
              <a:rPr lang="en-US" sz="1400" dirty="0">
                <a:solidFill>
                  <a:schemeClr val="bg2"/>
                </a:solidFill>
                <a:latin typeface="+mn-lt"/>
              </a:rPr>
              <a:t>…..</a:t>
            </a:r>
          </a:p>
          <a:p>
            <a:pPr>
              <a:spcBef>
                <a:spcPts val="0"/>
              </a:spcBef>
              <a:spcAft>
                <a:spcPts val="0"/>
              </a:spcAft>
              <a:buClr>
                <a:schemeClr val="bg1"/>
              </a:buClr>
            </a:pPr>
            <a:r>
              <a:rPr lang="en-US" sz="1400" dirty="0">
                <a:solidFill>
                  <a:schemeClr val="bg2"/>
                </a:solidFill>
                <a:latin typeface="+mn-lt"/>
              </a:rPr>
              <a:t>…..</a:t>
            </a:r>
          </a:p>
          <a:p>
            <a:pPr>
              <a:spcBef>
                <a:spcPts val="0"/>
              </a:spcBef>
              <a:spcAft>
                <a:spcPts val="0"/>
              </a:spcAft>
              <a:buClr>
                <a:schemeClr val="bg1"/>
              </a:buClr>
            </a:pPr>
            <a:endParaRPr lang="en-US" sz="1400" dirty="0" err="1">
              <a:solidFill>
                <a:schemeClr val="bg2"/>
              </a:solidFill>
              <a:latin typeface="+mn-lt"/>
            </a:endParaRPr>
          </a:p>
        </p:txBody>
      </p:sp>
      <p:cxnSp>
        <p:nvCxnSpPr>
          <p:cNvPr id="10" name="Straight Arrow Connector 9">
            <a:extLst>
              <a:ext uri="{FF2B5EF4-FFF2-40B4-BE49-F238E27FC236}">
                <a16:creationId xmlns:a16="http://schemas.microsoft.com/office/drawing/2014/main" id="{A516811C-2C07-4EBD-BDA5-949E10D7C30D}"/>
              </a:ext>
            </a:extLst>
          </p:cNvPr>
          <p:cNvCxnSpPr>
            <a:cxnSpLocks/>
          </p:cNvCxnSpPr>
          <p:nvPr/>
        </p:nvCxnSpPr>
        <p:spPr>
          <a:xfrm flipV="1">
            <a:off x="1849740" y="1979249"/>
            <a:ext cx="4760464" cy="589575"/>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906BBBF6-EFDB-4CF6-B2F4-79B2E3BA0E98}"/>
              </a:ext>
            </a:extLst>
          </p:cNvPr>
          <p:cNvCxnSpPr>
            <a:cxnSpLocks/>
          </p:cNvCxnSpPr>
          <p:nvPr/>
        </p:nvCxnSpPr>
        <p:spPr>
          <a:xfrm>
            <a:off x="2024244" y="3141820"/>
            <a:ext cx="3427255" cy="173753"/>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13" name="Rectangle 12">
            <a:extLst>
              <a:ext uri="{FF2B5EF4-FFF2-40B4-BE49-F238E27FC236}">
                <a16:creationId xmlns:a16="http://schemas.microsoft.com/office/drawing/2014/main" id="{C7F793CC-5A65-489C-BE63-C0D394955EBA}"/>
              </a:ext>
            </a:extLst>
          </p:cNvPr>
          <p:cNvSpPr/>
          <p:nvPr/>
        </p:nvSpPr>
        <p:spPr>
          <a:xfrm>
            <a:off x="118662" y="1268608"/>
            <a:ext cx="4544079" cy="506437"/>
          </a:xfrm>
          <a:custGeom>
            <a:avLst/>
            <a:gdLst>
              <a:gd name="connsiteX0" fmla="*/ 0 w 4544079"/>
              <a:gd name="connsiteY0" fmla="*/ 0 h 506437"/>
              <a:gd name="connsiteX1" fmla="*/ 658891 w 4544079"/>
              <a:gd name="connsiteY1" fmla="*/ 0 h 506437"/>
              <a:gd name="connsiteX2" fmla="*/ 1317783 w 4544079"/>
              <a:gd name="connsiteY2" fmla="*/ 0 h 506437"/>
              <a:gd name="connsiteX3" fmla="*/ 1931234 w 4544079"/>
              <a:gd name="connsiteY3" fmla="*/ 0 h 506437"/>
              <a:gd name="connsiteX4" fmla="*/ 2499243 w 4544079"/>
              <a:gd name="connsiteY4" fmla="*/ 0 h 506437"/>
              <a:gd name="connsiteX5" fmla="*/ 2976372 w 4544079"/>
              <a:gd name="connsiteY5" fmla="*/ 0 h 506437"/>
              <a:gd name="connsiteX6" fmla="*/ 3453500 w 4544079"/>
              <a:gd name="connsiteY6" fmla="*/ 0 h 506437"/>
              <a:gd name="connsiteX7" fmla="*/ 3930628 w 4544079"/>
              <a:gd name="connsiteY7" fmla="*/ 0 h 506437"/>
              <a:gd name="connsiteX8" fmla="*/ 4544079 w 4544079"/>
              <a:gd name="connsiteY8" fmla="*/ 0 h 506437"/>
              <a:gd name="connsiteX9" fmla="*/ 4544079 w 4544079"/>
              <a:gd name="connsiteY9" fmla="*/ 506437 h 506437"/>
              <a:gd name="connsiteX10" fmla="*/ 4112391 w 4544079"/>
              <a:gd name="connsiteY10" fmla="*/ 506437 h 506437"/>
              <a:gd name="connsiteX11" fmla="*/ 3453500 w 4544079"/>
              <a:gd name="connsiteY11" fmla="*/ 506437 h 506437"/>
              <a:gd name="connsiteX12" fmla="*/ 2976372 w 4544079"/>
              <a:gd name="connsiteY12" fmla="*/ 506437 h 506437"/>
              <a:gd name="connsiteX13" fmla="*/ 2317480 w 4544079"/>
              <a:gd name="connsiteY13" fmla="*/ 506437 h 506437"/>
              <a:gd name="connsiteX14" fmla="*/ 1658589 w 4544079"/>
              <a:gd name="connsiteY14" fmla="*/ 506437 h 506437"/>
              <a:gd name="connsiteX15" fmla="*/ 1045138 w 4544079"/>
              <a:gd name="connsiteY15" fmla="*/ 506437 h 506437"/>
              <a:gd name="connsiteX16" fmla="*/ 522569 w 4544079"/>
              <a:gd name="connsiteY16" fmla="*/ 506437 h 506437"/>
              <a:gd name="connsiteX17" fmla="*/ 0 w 4544079"/>
              <a:gd name="connsiteY17" fmla="*/ 506437 h 506437"/>
              <a:gd name="connsiteX18" fmla="*/ 0 w 4544079"/>
              <a:gd name="connsiteY18" fmla="*/ 0 h 506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544079" h="506437" extrusionOk="0">
                <a:moveTo>
                  <a:pt x="0" y="0"/>
                </a:moveTo>
                <a:cubicBezTo>
                  <a:pt x="286738" y="-40042"/>
                  <a:pt x="398747" y="75585"/>
                  <a:pt x="658891" y="0"/>
                </a:cubicBezTo>
                <a:cubicBezTo>
                  <a:pt x="919035" y="-75585"/>
                  <a:pt x="1042454" y="59862"/>
                  <a:pt x="1317783" y="0"/>
                </a:cubicBezTo>
                <a:cubicBezTo>
                  <a:pt x="1593112" y="-59862"/>
                  <a:pt x="1736248" y="19601"/>
                  <a:pt x="1931234" y="0"/>
                </a:cubicBezTo>
                <a:cubicBezTo>
                  <a:pt x="2126220" y="-19601"/>
                  <a:pt x="2360834" y="16332"/>
                  <a:pt x="2499243" y="0"/>
                </a:cubicBezTo>
                <a:cubicBezTo>
                  <a:pt x="2637652" y="-16332"/>
                  <a:pt x="2878649" y="49702"/>
                  <a:pt x="2976372" y="0"/>
                </a:cubicBezTo>
                <a:cubicBezTo>
                  <a:pt x="3074095" y="-49702"/>
                  <a:pt x="3267382" y="11816"/>
                  <a:pt x="3453500" y="0"/>
                </a:cubicBezTo>
                <a:cubicBezTo>
                  <a:pt x="3639618" y="-11816"/>
                  <a:pt x="3716507" y="20630"/>
                  <a:pt x="3930628" y="0"/>
                </a:cubicBezTo>
                <a:cubicBezTo>
                  <a:pt x="4144749" y="-20630"/>
                  <a:pt x="4406117" y="25053"/>
                  <a:pt x="4544079" y="0"/>
                </a:cubicBezTo>
                <a:cubicBezTo>
                  <a:pt x="4559361" y="155551"/>
                  <a:pt x="4495757" y="294029"/>
                  <a:pt x="4544079" y="506437"/>
                </a:cubicBezTo>
                <a:cubicBezTo>
                  <a:pt x="4440637" y="556616"/>
                  <a:pt x="4264644" y="465379"/>
                  <a:pt x="4112391" y="506437"/>
                </a:cubicBezTo>
                <a:cubicBezTo>
                  <a:pt x="3960138" y="547495"/>
                  <a:pt x="3740476" y="492719"/>
                  <a:pt x="3453500" y="506437"/>
                </a:cubicBezTo>
                <a:cubicBezTo>
                  <a:pt x="3166524" y="520155"/>
                  <a:pt x="3184002" y="498013"/>
                  <a:pt x="2976372" y="506437"/>
                </a:cubicBezTo>
                <a:cubicBezTo>
                  <a:pt x="2768742" y="514861"/>
                  <a:pt x="2561545" y="478270"/>
                  <a:pt x="2317480" y="506437"/>
                </a:cubicBezTo>
                <a:cubicBezTo>
                  <a:pt x="2073415" y="534604"/>
                  <a:pt x="1799017" y="440220"/>
                  <a:pt x="1658589" y="506437"/>
                </a:cubicBezTo>
                <a:cubicBezTo>
                  <a:pt x="1518161" y="572654"/>
                  <a:pt x="1173438" y="471038"/>
                  <a:pt x="1045138" y="506437"/>
                </a:cubicBezTo>
                <a:cubicBezTo>
                  <a:pt x="916838" y="541836"/>
                  <a:pt x="719227" y="504027"/>
                  <a:pt x="522569" y="506437"/>
                </a:cubicBezTo>
                <a:cubicBezTo>
                  <a:pt x="325911" y="508847"/>
                  <a:pt x="157039" y="459107"/>
                  <a:pt x="0" y="506437"/>
                </a:cubicBezTo>
                <a:cubicBezTo>
                  <a:pt x="-46465" y="381569"/>
                  <a:pt x="23549" y="213918"/>
                  <a:pt x="0" y="0"/>
                </a:cubicBezTo>
                <a:close/>
              </a:path>
            </a:pathLst>
          </a:custGeom>
          <a:noFill/>
          <a:ln w="12700" cmpd="sng">
            <a:solidFill>
              <a:schemeClr val="accent1"/>
            </a:solidFill>
            <a:extLst>
              <a:ext uri="{C807C97D-BFC1-408E-A445-0C87EB9F89A2}">
                <ask:lineSketchStyleProps xmlns:ask="http://schemas.microsoft.com/office/drawing/2018/sketchyshapes" sd="3706926935">
                  <a:prstGeom prst="rect">
                    <a:avLst/>
                  </a:prstGeom>
                  <ask:type>
                    <ask:lineSketchScribble/>
                  </ask:type>
                </ask:lineSketchStyleProps>
              </a:ext>
            </a:extLst>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6" name="TextBox 15">
            <a:extLst>
              <a:ext uri="{FF2B5EF4-FFF2-40B4-BE49-F238E27FC236}">
                <a16:creationId xmlns:a16="http://schemas.microsoft.com/office/drawing/2014/main" id="{66208BC3-3EB5-40AA-83F3-C1B6299A818A}"/>
              </a:ext>
            </a:extLst>
          </p:cNvPr>
          <p:cNvSpPr txBox="1"/>
          <p:nvPr/>
        </p:nvSpPr>
        <p:spPr>
          <a:xfrm>
            <a:off x="209405" y="4010574"/>
            <a:ext cx="3196910"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tep 1 :</a:t>
            </a:r>
            <a:r>
              <a:rPr lang="en-US" sz="1400" dirty="0">
                <a:solidFill>
                  <a:schemeClr val="bg2"/>
                </a:solidFill>
                <a:latin typeface="+mn-lt"/>
              </a:rPr>
              <a:t> Define Ho</a:t>
            </a:r>
          </a:p>
        </p:txBody>
      </p:sp>
      <p:sp>
        <p:nvSpPr>
          <p:cNvPr id="17" name="TextBox 16">
            <a:extLst>
              <a:ext uri="{FF2B5EF4-FFF2-40B4-BE49-F238E27FC236}">
                <a16:creationId xmlns:a16="http://schemas.microsoft.com/office/drawing/2014/main" id="{3739FFD1-A720-49F1-A0C3-392A3F368E1D}"/>
              </a:ext>
            </a:extLst>
          </p:cNvPr>
          <p:cNvSpPr txBox="1"/>
          <p:nvPr/>
        </p:nvSpPr>
        <p:spPr>
          <a:xfrm>
            <a:off x="2317410" y="4080375"/>
            <a:ext cx="2324391"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o : Die is fair</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H1 : Die is unfair</a:t>
            </a:r>
          </a:p>
        </p:txBody>
      </p:sp>
      <p:sp>
        <p:nvSpPr>
          <p:cNvPr id="18" name="Rectangle 17">
            <a:extLst>
              <a:ext uri="{FF2B5EF4-FFF2-40B4-BE49-F238E27FC236}">
                <a16:creationId xmlns:a16="http://schemas.microsoft.com/office/drawing/2014/main" id="{D6AAFB6B-8E20-4B6A-8D76-702FBBAAA6C5}"/>
              </a:ext>
            </a:extLst>
          </p:cNvPr>
          <p:cNvSpPr/>
          <p:nvPr/>
        </p:nvSpPr>
        <p:spPr>
          <a:xfrm>
            <a:off x="2193511" y="4010574"/>
            <a:ext cx="1999815" cy="966275"/>
          </a:xfrm>
          <a:prstGeom prst="rect">
            <a:avLst/>
          </a:prstGeom>
          <a:noFill/>
          <a:ln w="12700" cmpd="sng">
            <a:solidFill>
              <a:schemeClr val="accent1"/>
            </a:solidFill>
            <a:extLst>
              <a:ext uri="{C807C97D-BFC1-408E-A445-0C87EB9F89A2}">
                <ask:lineSketchStyleProps xmlns:ask="http://schemas.microsoft.com/office/drawing/2018/sketchyshapes">
                  <ask:type>
                    <ask:lineSketchNone/>
                  </ask:type>
                </ask:lineSketchStyleProps>
              </a:ext>
            </a:extLst>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9" name="TextBox 18">
            <a:extLst>
              <a:ext uri="{FF2B5EF4-FFF2-40B4-BE49-F238E27FC236}">
                <a16:creationId xmlns:a16="http://schemas.microsoft.com/office/drawing/2014/main" id="{D1872683-E281-4E24-B0B8-90AB489A031A}"/>
              </a:ext>
            </a:extLst>
          </p:cNvPr>
          <p:cNvSpPr txBox="1"/>
          <p:nvPr/>
        </p:nvSpPr>
        <p:spPr>
          <a:xfrm>
            <a:off x="4439374" y="4251076"/>
            <a:ext cx="2324391"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Means : observed data fits the expected data</a:t>
            </a:r>
          </a:p>
        </p:txBody>
      </p:sp>
    </p:spTree>
    <p:extLst>
      <p:ext uri="{BB962C8B-B14F-4D97-AF65-F5344CB8AC3E}">
        <p14:creationId xmlns:p14="http://schemas.microsoft.com/office/powerpoint/2010/main" val="2182840247"/>
      </p:ext>
    </p:extLst>
  </p:cSld>
  <p:clrMapOvr>
    <a:masterClrMapping/>
  </p:clrMapOvr>
  <p:transition spd="med">
    <p:wipe dir="r"/>
  </p:transition>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5D620BE-F0F7-4DE7-9520-7BD016648F81}"/>
              </a:ext>
            </a:extLst>
          </p:cNvPr>
          <p:cNvSpPr>
            <a:spLocks noGrp="1"/>
          </p:cNvSpPr>
          <p:nvPr>
            <p:ph type="title"/>
          </p:nvPr>
        </p:nvSpPr>
        <p:spPr>
          <a:xfrm>
            <a:off x="0" y="0"/>
            <a:ext cx="8229600" cy="637794"/>
          </a:xfrm>
        </p:spPr>
        <p:txBody>
          <a:bodyPr/>
          <a:lstStyle/>
          <a:p>
            <a:r>
              <a:rPr lang="en-US" dirty="0"/>
              <a:t>Chi – Square Test - Example </a:t>
            </a:r>
          </a:p>
        </p:txBody>
      </p:sp>
      <p:pic>
        <p:nvPicPr>
          <p:cNvPr id="5" name="Picture 4">
            <a:extLst>
              <a:ext uri="{FF2B5EF4-FFF2-40B4-BE49-F238E27FC236}">
                <a16:creationId xmlns:a16="http://schemas.microsoft.com/office/drawing/2014/main" id="{DF0A6A52-F3FE-41D0-926D-ADE8A2395ABF}"/>
              </a:ext>
            </a:extLst>
          </p:cNvPr>
          <p:cNvPicPr>
            <a:picLocks noChangeAspect="1"/>
          </p:cNvPicPr>
          <p:nvPr/>
        </p:nvPicPr>
        <p:blipFill>
          <a:blip r:embed="rId2"/>
          <a:stretch>
            <a:fillRect/>
          </a:stretch>
        </p:blipFill>
        <p:spPr>
          <a:xfrm>
            <a:off x="5011747" y="1594075"/>
            <a:ext cx="2619375" cy="1457325"/>
          </a:xfrm>
          <a:prstGeom prst="rect">
            <a:avLst/>
          </a:prstGeom>
        </p:spPr>
      </p:pic>
      <p:sp>
        <p:nvSpPr>
          <p:cNvPr id="6" name="TextBox 5">
            <a:extLst>
              <a:ext uri="{FF2B5EF4-FFF2-40B4-BE49-F238E27FC236}">
                <a16:creationId xmlns:a16="http://schemas.microsoft.com/office/drawing/2014/main" id="{31F18069-9B69-4301-BD46-2DFF9347D3A3}"/>
              </a:ext>
            </a:extLst>
          </p:cNvPr>
          <p:cNvSpPr txBox="1"/>
          <p:nvPr/>
        </p:nvSpPr>
        <p:spPr>
          <a:xfrm>
            <a:off x="493775" y="1779939"/>
            <a:ext cx="3476116" cy="738664"/>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tep 2 : Choose the significance level</a:t>
            </a:r>
            <a:r>
              <a:rPr lang="en-US" sz="1400" dirty="0">
                <a:solidFill>
                  <a:schemeClr val="bg2"/>
                </a:solidFill>
                <a:latin typeface="+mn-lt"/>
              </a:rPr>
              <a:t>.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5% or 1 % = 0.05 or 0.01</a:t>
            </a:r>
          </a:p>
        </p:txBody>
      </p:sp>
    </p:spTree>
    <p:extLst>
      <p:ext uri="{BB962C8B-B14F-4D97-AF65-F5344CB8AC3E}">
        <p14:creationId xmlns:p14="http://schemas.microsoft.com/office/powerpoint/2010/main" val="2907249161"/>
      </p:ext>
    </p:extLst>
  </p:cSld>
  <p:clrMapOvr>
    <a:masterClrMapping/>
  </p:clrMapOvr>
  <p:transition spd="med">
    <p:wipe dir="r"/>
  </p:transition>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2D15F2F-BB97-4D33-8FDF-ED55A4CB11FB}"/>
              </a:ext>
            </a:extLst>
          </p:cNvPr>
          <p:cNvSpPr>
            <a:spLocks noGrp="1"/>
          </p:cNvSpPr>
          <p:nvPr>
            <p:ph type="title"/>
          </p:nvPr>
        </p:nvSpPr>
        <p:spPr>
          <a:xfrm>
            <a:off x="0" y="0"/>
            <a:ext cx="8229600" cy="637794"/>
          </a:xfrm>
        </p:spPr>
        <p:txBody>
          <a:bodyPr/>
          <a:lstStyle/>
          <a:p>
            <a:r>
              <a:rPr lang="en-US" dirty="0"/>
              <a:t>Chi – Square Test - Example </a:t>
            </a:r>
          </a:p>
        </p:txBody>
      </p:sp>
      <p:pic>
        <p:nvPicPr>
          <p:cNvPr id="5" name="Picture 4">
            <a:extLst>
              <a:ext uri="{FF2B5EF4-FFF2-40B4-BE49-F238E27FC236}">
                <a16:creationId xmlns:a16="http://schemas.microsoft.com/office/drawing/2014/main" id="{6C314A27-50D0-4592-A814-62AC8F7EAF1A}"/>
              </a:ext>
            </a:extLst>
          </p:cNvPr>
          <p:cNvPicPr>
            <a:picLocks noChangeAspect="1"/>
          </p:cNvPicPr>
          <p:nvPr/>
        </p:nvPicPr>
        <p:blipFill>
          <a:blip r:embed="rId2"/>
          <a:stretch>
            <a:fillRect/>
          </a:stretch>
        </p:blipFill>
        <p:spPr>
          <a:xfrm>
            <a:off x="2980525" y="1650392"/>
            <a:ext cx="5885805" cy="1518597"/>
          </a:xfrm>
          <a:prstGeom prst="rect">
            <a:avLst/>
          </a:prstGeom>
        </p:spPr>
      </p:pic>
      <p:pic>
        <p:nvPicPr>
          <p:cNvPr id="7" name="Picture 6">
            <a:extLst>
              <a:ext uri="{FF2B5EF4-FFF2-40B4-BE49-F238E27FC236}">
                <a16:creationId xmlns:a16="http://schemas.microsoft.com/office/drawing/2014/main" id="{21BDF639-D8D3-4AFF-9802-E6BBB74FFAFE}"/>
              </a:ext>
            </a:extLst>
          </p:cNvPr>
          <p:cNvPicPr>
            <a:picLocks noChangeAspect="1"/>
          </p:cNvPicPr>
          <p:nvPr/>
        </p:nvPicPr>
        <p:blipFill>
          <a:blip r:embed="rId3"/>
          <a:stretch>
            <a:fillRect/>
          </a:stretch>
        </p:blipFill>
        <p:spPr>
          <a:xfrm>
            <a:off x="0" y="1570570"/>
            <a:ext cx="2980525" cy="1454062"/>
          </a:xfrm>
          <a:prstGeom prst="rect">
            <a:avLst/>
          </a:prstGeom>
        </p:spPr>
      </p:pic>
      <p:sp>
        <p:nvSpPr>
          <p:cNvPr id="8" name="TextBox 7">
            <a:extLst>
              <a:ext uri="{FF2B5EF4-FFF2-40B4-BE49-F238E27FC236}">
                <a16:creationId xmlns:a16="http://schemas.microsoft.com/office/drawing/2014/main" id="{945A2352-D594-4E9B-B5FC-E588143102DE}"/>
              </a:ext>
            </a:extLst>
          </p:cNvPr>
          <p:cNvSpPr txBox="1"/>
          <p:nvPr/>
        </p:nvSpPr>
        <p:spPr>
          <a:xfrm>
            <a:off x="293166" y="637794"/>
            <a:ext cx="7301240"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teps 3 : Compute the critical value. Use the Chi – Squared table. { Not Z / T table }</a:t>
            </a:r>
          </a:p>
        </p:txBody>
      </p:sp>
      <p:sp>
        <p:nvSpPr>
          <p:cNvPr id="9" name="TextBox 8">
            <a:extLst>
              <a:ext uri="{FF2B5EF4-FFF2-40B4-BE49-F238E27FC236}">
                <a16:creationId xmlns:a16="http://schemas.microsoft.com/office/drawing/2014/main" id="{397BC159-8072-4649-BADF-B51C38E6F5BE}"/>
              </a:ext>
            </a:extLst>
          </p:cNvPr>
          <p:cNvSpPr txBox="1"/>
          <p:nvPr/>
        </p:nvSpPr>
        <p:spPr>
          <a:xfrm>
            <a:off x="3071267" y="3504037"/>
            <a:ext cx="5954070" cy="52322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df = degree of freedom = (possible outcomes – 1) </a:t>
            </a:r>
          </a:p>
          <a:p>
            <a:pPr>
              <a:spcBef>
                <a:spcPts val="0"/>
              </a:spcBef>
              <a:spcAft>
                <a:spcPts val="0"/>
              </a:spcAft>
              <a:buClr>
                <a:schemeClr val="bg1"/>
              </a:buClr>
            </a:pPr>
            <a:r>
              <a:rPr lang="en-US" sz="1400" b="1" dirty="0">
                <a:solidFill>
                  <a:schemeClr val="bg2"/>
                </a:solidFill>
                <a:latin typeface="+mn-lt"/>
              </a:rPr>
              <a:t>df = 6 -1 = 5</a:t>
            </a:r>
          </a:p>
        </p:txBody>
      </p:sp>
    </p:spTree>
    <p:extLst>
      <p:ext uri="{BB962C8B-B14F-4D97-AF65-F5344CB8AC3E}">
        <p14:creationId xmlns:p14="http://schemas.microsoft.com/office/powerpoint/2010/main" val="4091201368"/>
      </p:ext>
    </p:extLst>
  </p:cSld>
  <p:clrMapOvr>
    <a:masterClrMapping/>
  </p:clrMapOvr>
  <p:transition spd="med">
    <p:wipe dir="r"/>
  </p:transition>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12A8C25-61DD-43B5-8272-E4A3EA0D0386}"/>
              </a:ext>
            </a:extLst>
          </p:cNvPr>
          <p:cNvSpPr>
            <a:spLocks noGrp="1"/>
          </p:cNvSpPr>
          <p:nvPr>
            <p:ph type="title"/>
          </p:nvPr>
        </p:nvSpPr>
        <p:spPr>
          <a:xfrm>
            <a:off x="0" y="0"/>
            <a:ext cx="8229600" cy="637794"/>
          </a:xfrm>
        </p:spPr>
        <p:txBody>
          <a:bodyPr/>
          <a:lstStyle/>
          <a:p>
            <a:r>
              <a:rPr lang="en-US" dirty="0"/>
              <a:t>Chi – Square Test - Example </a:t>
            </a:r>
          </a:p>
        </p:txBody>
      </p:sp>
      <p:sp>
        <p:nvSpPr>
          <p:cNvPr id="4" name="TextBox 3">
            <a:extLst>
              <a:ext uri="{FF2B5EF4-FFF2-40B4-BE49-F238E27FC236}">
                <a16:creationId xmlns:a16="http://schemas.microsoft.com/office/drawing/2014/main" id="{B1943546-9386-40CB-B00E-F3F46D5B7EFE}"/>
              </a:ext>
            </a:extLst>
          </p:cNvPr>
          <p:cNvSpPr txBox="1"/>
          <p:nvPr/>
        </p:nvSpPr>
        <p:spPr>
          <a:xfrm>
            <a:off x="160544" y="760837"/>
            <a:ext cx="5081551"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tep 4 : compute the Chi – Squared test statistics </a:t>
            </a:r>
          </a:p>
        </p:txBody>
      </p:sp>
      <p:pic>
        <p:nvPicPr>
          <p:cNvPr id="6" name="Picture 5">
            <a:extLst>
              <a:ext uri="{FF2B5EF4-FFF2-40B4-BE49-F238E27FC236}">
                <a16:creationId xmlns:a16="http://schemas.microsoft.com/office/drawing/2014/main" id="{5BAD6E92-8391-4EFE-88D0-E2AEA07F1DDB}"/>
              </a:ext>
            </a:extLst>
          </p:cNvPr>
          <p:cNvPicPr>
            <a:picLocks noChangeAspect="1"/>
          </p:cNvPicPr>
          <p:nvPr/>
        </p:nvPicPr>
        <p:blipFill>
          <a:blip r:embed="rId2"/>
          <a:stretch>
            <a:fillRect/>
          </a:stretch>
        </p:blipFill>
        <p:spPr>
          <a:xfrm>
            <a:off x="513222" y="1306524"/>
            <a:ext cx="3133725" cy="790575"/>
          </a:xfrm>
          <a:prstGeom prst="rect">
            <a:avLst/>
          </a:prstGeom>
        </p:spPr>
      </p:pic>
      <p:sp>
        <p:nvSpPr>
          <p:cNvPr id="8" name="TextBox 7">
            <a:extLst>
              <a:ext uri="{FF2B5EF4-FFF2-40B4-BE49-F238E27FC236}">
                <a16:creationId xmlns:a16="http://schemas.microsoft.com/office/drawing/2014/main" id="{FD655E0E-B1AA-4565-85E1-48DB5A79FF8E}"/>
              </a:ext>
            </a:extLst>
          </p:cNvPr>
          <p:cNvSpPr txBox="1"/>
          <p:nvPr/>
        </p:nvSpPr>
        <p:spPr>
          <a:xfrm>
            <a:off x="635194" y="2248584"/>
            <a:ext cx="3427255" cy="646331"/>
          </a:xfrm>
          <a:prstGeom prst="rect">
            <a:avLst/>
          </a:prstGeom>
          <a:noFill/>
        </p:spPr>
        <p:txBody>
          <a:bodyPr wrap="square" rtlCol="0">
            <a:spAutoFit/>
          </a:bodyPr>
          <a:lstStyle/>
          <a:p>
            <a:pPr marL="171450" indent="-171450" algn="l">
              <a:buFont typeface="Arial" panose="020B0604020202020204" pitchFamily="34" charset="0"/>
              <a:buChar char="•"/>
            </a:pPr>
            <a:r>
              <a:rPr lang="en-US" sz="1100" b="0" i="0" dirty="0">
                <a:solidFill>
                  <a:srgbClr val="333333"/>
                </a:solidFill>
                <a:effectLst/>
                <a:latin typeface="Verdana" panose="020B0604030504040204" pitchFamily="34" charset="0"/>
              </a:rPr>
              <a:t>O = </a:t>
            </a:r>
            <a:r>
              <a:rPr lang="en-US" sz="1100" b="1" i="0" dirty="0">
                <a:solidFill>
                  <a:srgbClr val="333333"/>
                </a:solidFill>
                <a:effectLst/>
                <a:latin typeface="Verdana" panose="020B0604030504040204" pitchFamily="34" charset="0"/>
              </a:rPr>
              <a:t>Observed</a:t>
            </a:r>
            <a:r>
              <a:rPr lang="en-US" sz="1100" b="0" i="0" dirty="0">
                <a:solidFill>
                  <a:srgbClr val="333333"/>
                </a:solidFill>
                <a:effectLst/>
                <a:latin typeface="Verdana" panose="020B0604030504040204" pitchFamily="34" charset="0"/>
              </a:rPr>
              <a:t> (actual) value</a:t>
            </a:r>
          </a:p>
          <a:p>
            <a:pPr marL="171450" indent="-171450" algn="l">
              <a:buFont typeface="Arial" panose="020B0604020202020204" pitchFamily="34" charset="0"/>
              <a:buChar char="•"/>
            </a:pPr>
            <a:r>
              <a:rPr lang="en-US" sz="1100" b="0" i="0" dirty="0">
                <a:solidFill>
                  <a:srgbClr val="333333"/>
                </a:solidFill>
                <a:effectLst/>
                <a:latin typeface="Verdana" panose="020B0604030504040204" pitchFamily="34" charset="0"/>
              </a:rPr>
              <a:t>E = </a:t>
            </a:r>
            <a:r>
              <a:rPr lang="en-US" sz="1100" b="1" i="0" dirty="0">
                <a:solidFill>
                  <a:srgbClr val="333333"/>
                </a:solidFill>
                <a:effectLst/>
                <a:latin typeface="Verdana" panose="020B0604030504040204" pitchFamily="34" charset="0"/>
              </a:rPr>
              <a:t>Expected</a:t>
            </a:r>
            <a:r>
              <a:rPr lang="en-US" sz="1100" b="0" i="0" dirty="0">
                <a:solidFill>
                  <a:srgbClr val="333333"/>
                </a:solidFill>
                <a:effectLst/>
                <a:latin typeface="Verdana" panose="020B0604030504040204" pitchFamily="34" charset="0"/>
              </a:rPr>
              <a:t> value</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xmlns:p14="http://schemas.microsoft.com/office/powerpoint/2010/main">
        <mc:Choice Requires="p14">
          <p:contentPart p14:bwMode="auto" r:id="rId3">
            <p14:nvContentPartPr>
              <p14:cNvPr id="9" name="Ink 8">
                <a:extLst>
                  <a:ext uri="{FF2B5EF4-FFF2-40B4-BE49-F238E27FC236}">
                    <a16:creationId xmlns:a16="http://schemas.microsoft.com/office/drawing/2014/main" id="{355B9CD5-0D5F-4914-8EFC-2ACC1BFA395E}"/>
                  </a:ext>
                </a:extLst>
              </p14:cNvPr>
              <p14:cNvContentPartPr/>
              <p14:nvPr/>
            </p14:nvContentPartPr>
            <p14:xfrm>
              <a:off x="4438800" y="795240"/>
              <a:ext cx="3410280" cy="1929240"/>
            </p14:xfrm>
          </p:contentPart>
        </mc:Choice>
        <mc:Fallback xmlns="">
          <p:pic>
            <p:nvPicPr>
              <p:cNvPr id="9" name="Ink 8">
                <a:extLst>
                  <a:ext uri="{FF2B5EF4-FFF2-40B4-BE49-F238E27FC236}">
                    <a16:creationId xmlns:a16="http://schemas.microsoft.com/office/drawing/2014/main" id="{355B9CD5-0D5F-4914-8EFC-2ACC1BFA395E}"/>
                  </a:ext>
                </a:extLst>
              </p:cNvPr>
              <p:cNvPicPr/>
              <p:nvPr/>
            </p:nvPicPr>
            <p:blipFill>
              <a:blip r:embed="rId4"/>
              <a:stretch>
                <a:fillRect/>
              </a:stretch>
            </p:blipFill>
            <p:spPr>
              <a:xfrm>
                <a:off x="4429440" y="785880"/>
                <a:ext cx="3429000" cy="1947960"/>
              </a:xfrm>
              <a:prstGeom prst="rect">
                <a:avLst/>
              </a:prstGeom>
            </p:spPr>
          </p:pic>
        </mc:Fallback>
      </mc:AlternateContent>
      <p:sp>
        <p:nvSpPr>
          <p:cNvPr id="10" name="TextBox 9">
            <a:extLst>
              <a:ext uri="{FF2B5EF4-FFF2-40B4-BE49-F238E27FC236}">
                <a16:creationId xmlns:a16="http://schemas.microsoft.com/office/drawing/2014/main" id="{3E2D1D32-A3A0-43EE-BEED-ADB0146C63E3}"/>
              </a:ext>
            </a:extLst>
          </p:cNvPr>
          <p:cNvSpPr txBox="1"/>
          <p:nvPr/>
        </p:nvSpPr>
        <p:spPr>
          <a:xfrm>
            <a:off x="4062449" y="2494226"/>
            <a:ext cx="2097536"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We get the answer &gt; </a:t>
            </a:r>
          </a:p>
        </p:txBody>
      </p:sp>
      <p:sp>
        <p:nvSpPr>
          <p:cNvPr id="11" name="TextBox 10">
            <a:extLst>
              <a:ext uri="{FF2B5EF4-FFF2-40B4-BE49-F238E27FC236}">
                <a16:creationId xmlns:a16="http://schemas.microsoft.com/office/drawing/2014/main" id="{3D8A0E40-0C54-4676-95DB-C59408CBB11E}"/>
              </a:ext>
            </a:extLst>
          </p:cNvPr>
          <p:cNvSpPr txBox="1"/>
          <p:nvPr/>
        </p:nvSpPr>
        <p:spPr>
          <a:xfrm>
            <a:off x="7077875" y="2494226"/>
            <a:ext cx="1347169"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est statistic</a:t>
            </a:r>
          </a:p>
        </p:txBody>
      </p:sp>
    </p:spTree>
    <p:extLst>
      <p:ext uri="{BB962C8B-B14F-4D97-AF65-F5344CB8AC3E}">
        <p14:creationId xmlns:p14="http://schemas.microsoft.com/office/powerpoint/2010/main" val="906689852"/>
      </p:ext>
    </p:extLst>
  </p:cSld>
  <p:clrMapOvr>
    <a:masterClrMapping/>
  </p:clrMapOvr>
  <p:transition spd="med">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9CE8DB-7C7A-4DDC-A4AF-37EFDD4F3167}"/>
              </a:ext>
            </a:extLst>
          </p:cNvPr>
          <p:cNvSpPr>
            <a:spLocks noGrp="1"/>
          </p:cNvSpPr>
          <p:nvPr>
            <p:ph type="title"/>
          </p:nvPr>
        </p:nvSpPr>
        <p:spPr>
          <a:xfrm>
            <a:off x="1877" y="22860"/>
            <a:ext cx="8963626" cy="640080"/>
          </a:xfrm>
        </p:spPr>
        <p:txBody>
          <a:bodyPr/>
          <a:lstStyle/>
          <a:p>
            <a:r>
              <a:rPr lang="en-US" dirty="0"/>
              <a:t>Understanding Observational Study &amp; Experiment </a:t>
            </a:r>
            <a:br>
              <a:rPr lang="en-US" dirty="0"/>
            </a:br>
            <a:r>
              <a:rPr lang="en-US" dirty="0"/>
              <a:t>					       </a:t>
            </a:r>
            <a:r>
              <a:rPr lang="en-US" dirty="0">
                <a:solidFill>
                  <a:schemeClr val="bg2">
                    <a:lumMod val="50000"/>
                    <a:lumOff val="50000"/>
                  </a:schemeClr>
                </a:solidFill>
              </a:rPr>
              <a:t>With an Example</a:t>
            </a:r>
          </a:p>
        </p:txBody>
      </p:sp>
      <p:pic>
        <p:nvPicPr>
          <p:cNvPr id="8" name="Picture 7">
            <a:extLst>
              <a:ext uri="{FF2B5EF4-FFF2-40B4-BE49-F238E27FC236}">
                <a16:creationId xmlns:a16="http://schemas.microsoft.com/office/drawing/2014/main" id="{7A762CF4-1B9D-4987-8C10-992B4959F552}"/>
              </a:ext>
            </a:extLst>
          </p:cNvPr>
          <p:cNvPicPr>
            <a:picLocks noChangeAspect="1"/>
          </p:cNvPicPr>
          <p:nvPr/>
        </p:nvPicPr>
        <p:blipFill>
          <a:blip r:embed="rId2"/>
          <a:stretch>
            <a:fillRect/>
          </a:stretch>
        </p:blipFill>
        <p:spPr>
          <a:xfrm>
            <a:off x="5747495" y="1347331"/>
            <a:ext cx="3396505" cy="2153694"/>
          </a:xfrm>
          <a:prstGeom prst="rect">
            <a:avLst/>
          </a:prstGeom>
        </p:spPr>
      </p:pic>
      <p:sp>
        <p:nvSpPr>
          <p:cNvPr id="10" name="Content Placeholder 9">
            <a:extLst>
              <a:ext uri="{FF2B5EF4-FFF2-40B4-BE49-F238E27FC236}">
                <a16:creationId xmlns:a16="http://schemas.microsoft.com/office/drawing/2014/main" id="{78499D2F-5C34-4281-8B7C-D04161065915}"/>
              </a:ext>
            </a:extLst>
          </p:cNvPr>
          <p:cNvSpPr>
            <a:spLocks noGrp="1"/>
          </p:cNvSpPr>
          <p:nvPr>
            <p:ph sz="half" idx="13"/>
          </p:nvPr>
        </p:nvSpPr>
        <p:spPr>
          <a:xfrm>
            <a:off x="-1" y="971550"/>
            <a:ext cx="5599135" cy="3200400"/>
          </a:xfrm>
        </p:spPr>
        <p:txBody>
          <a:bodyPr/>
          <a:lstStyle/>
          <a:p>
            <a:pPr marL="0" indent="0">
              <a:buNone/>
            </a:pPr>
            <a:r>
              <a:rPr lang="en-US" sz="1200" b="1" i="1" dirty="0">
                <a:solidFill>
                  <a:schemeClr val="bg2">
                    <a:lumMod val="50000"/>
                    <a:lumOff val="50000"/>
                  </a:schemeClr>
                </a:solidFill>
              </a:rPr>
              <a:t>Many students listen to music while studying. Does listening to music improve learning? Students in a statistics class decide to investigate this question. </a:t>
            </a:r>
          </a:p>
          <a:p>
            <a:pPr marL="0" indent="0">
              <a:buNone/>
            </a:pPr>
            <a:r>
              <a:rPr lang="en-US" sz="1200" b="1" i="1" dirty="0">
                <a:solidFill>
                  <a:schemeClr val="accent1"/>
                </a:solidFill>
              </a:rPr>
              <a:t>Study 1 : </a:t>
            </a:r>
          </a:p>
          <a:p>
            <a:pPr marL="0" indent="0">
              <a:buNone/>
            </a:pPr>
            <a:r>
              <a:rPr lang="en-US" sz="1200" i="1" dirty="0">
                <a:solidFill>
                  <a:schemeClr val="bg2">
                    <a:lumMod val="50000"/>
                    <a:lumOff val="50000"/>
                  </a:schemeClr>
                </a:solidFill>
              </a:rPr>
              <a:t>Do the majority of college students listen to music while they study? Do the majority of college students believe that listening to music improves their learning?</a:t>
            </a:r>
          </a:p>
          <a:p>
            <a:pPr marL="0" indent="0">
              <a:buNone/>
            </a:pPr>
            <a:r>
              <a:rPr lang="en-US" sz="1200" i="1" dirty="0">
                <a:solidFill>
                  <a:schemeClr val="accent1"/>
                </a:solidFill>
              </a:rPr>
              <a:t>Survey Questions : Sent to all the students</a:t>
            </a:r>
          </a:p>
          <a:p>
            <a:pPr marL="0" indent="0">
              <a:buNone/>
            </a:pPr>
            <a:r>
              <a:rPr lang="en-US" sz="1200" i="1" dirty="0">
                <a:solidFill>
                  <a:schemeClr val="bg2">
                    <a:lumMod val="50000"/>
                    <a:lumOff val="50000"/>
                  </a:schemeClr>
                </a:solidFill>
              </a:rPr>
              <a:t>Do you listen to music while you study?</a:t>
            </a:r>
          </a:p>
          <a:p>
            <a:pPr marL="0" indent="0">
              <a:buNone/>
            </a:pPr>
            <a:r>
              <a:rPr lang="en-US" sz="1200" i="1" dirty="0">
                <a:solidFill>
                  <a:schemeClr val="bg2">
                    <a:lumMod val="50000"/>
                    <a:lumOff val="50000"/>
                  </a:schemeClr>
                </a:solidFill>
              </a:rPr>
              <a:t>Do you think listening to music improves your concentration and memory?</a:t>
            </a:r>
          </a:p>
          <a:p>
            <a:pPr marL="0" indent="0">
              <a:buNone/>
            </a:pPr>
            <a:endParaRPr lang="en-US" sz="1200" b="1" i="1" dirty="0">
              <a:solidFill>
                <a:schemeClr val="bg2">
                  <a:lumMod val="50000"/>
                  <a:lumOff val="50000"/>
                </a:schemeClr>
              </a:solidFill>
            </a:endParaRPr>
          </a:p>
        </p:txBody>
      </p:sp>
    </p:spTree>
    <p:extLst>
      <p:ext uri="{BB962C8B-B14F-4D97-AF65-F5344CB8AC3E}">
        <p14:creationId xmlns:p14="http://schemas.microsoft.com/office/powerpoint/2010/main" val="647538906"/>
      </p:ext>
    </p:extLst>
  </p:cSld>
  <p:clrMapOvr>
    <a:masterClrMapping/>
  </p:clrMapOvr>
  <p:transition spd="med">
    <p:wipe dir="r"/>
  </p:transition>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941BF32-FA1F-4EB2-B3F9-409DBD4FF016}"/>
              </a:ext>
            </a:extLst>
          </p:cNvPr>
          <p:cNvSpPr>
            <a:spLocks noGrp="1"/>
          </p:cNvSpPr>
          <p:nvPr>
            <p:ph type="title"/>
          </p:nvPr>
        </p:nvSpPr>
        <p:spPr>
          <a:xfrm>
            <a:off x="0" y="0"/>
            <a:ext cx="8229600" cy="637794"/>
          </a:xfrm>
        </p:spPr>
        <p:txBody>
          <a:bodyPr/>
          <a:lstStyle/>
          <a:p>
            <a:r>
              <a:rPr lang="en-US" dirty="0"/>
              <a:t>Chi – Square Test - Example </a:t>
            </a:r>
          </a:p>
        </p:txBody>
      </p:sp>
      <p:sp>
        <p:nvSpPr>
          <p:cNvPr id="4" name="TextBox 3">
            <a:extLst>
              <a:ext uri="{FF2B5EF4-FFF2-40B4-BE49-F238E27FC236}">
                <a16:creationId xmlns:a16="http://schemas.microsoft.com/office/drawing/2014/main" id="{9F0396D1-FB13-4D7E-AF9D-0A6C4EB995D8}"/>
              </a:ext>
            </a:extLst>
          </p:cNvPr>
          <p:cNvSpPr txBox="1"/>
          <p:nvPr/>
        </p:nvSpPr>
        <p:spPr>
          <a:xfrm>
            <a:off x="167524" y="893460"/>
            <a:ext cx="4572000"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tep 5 : Conclusion</a:t>
            </a:r>
          </a:p>
        </p:txBody>
      </p:sp>
      <p:sp>
        <p:nvSpPr>
          <p:cNvPr id="5" name="TextBox 4">
            <a:extLst>
              <a:ext uri="{FF2B5EF4-FFF2-40B4-BE49-F238E27FC236}">
                <a16:creationId xmlns:a16="http://schemas.microsoft.com/office/drawing/2014/main" id="{1B80B70E-C840-4DA4-AC04-17C6486B2E8E}"/>
              </a:ext>
            </a:extLst>
          </p:cNvPr>
          <p:cNvSpPr txBox="1"/>
          <p:nvPr/>
        </p:nvSpPr>
        <p:spPr>
          <a:xfrm>
            <a:off x="244305" y="1456903"/>
            <a:ext cx="3860025"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As 15.29 &gt; 15.086, the test statistic falls in the rejection region.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So, we can reject Ho</a:t>
            </a:r>
          </a:p>
        </p:txBody>
      </p:sp>
      <p:sp>
        <p:nvSpPr>
          <p:cNvPr id="6" name="TextBox 5">
            <a:extLst>
              <a:ext uri="{FF2B5EF4-FFF2-40B4-BE49-F238E27FC236}">
                <a16:creationId xmlns:a16="http://schemas.microsoft.com/office/drawing/2014/main" id="{B874C92A-15CB-49FA-9787-838F46AF2801}"/>
              </a:ext>
            </a:extLst>
          </p:cNvPr>
          <p:cNvSpPr txBox="1"/>
          <p:nvPr/>
        </p:nvSpPr>
        <p:spPr>
          <a:xfrm>
            <a:off x="5095511" y="1120790"/>
            <a:ext cx="2324391"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o : Die is fair      </a:t>
            </a:r>
            <a:r>
              <a:rPr lang="en-US" sz="1400" dirty="0">
                <a:solidFill>
                  <a:srgbClr val="FF0000"/>
                </a:solidFill>
                <a:latin typeface="+mn-lt"/>
              </a:rPr>
              <a:t>(Reject)</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H1 : Die is unfair  </a:t>
            </a:r>
            <a:r>
              <a:rPr lang="en-US" sz="1400" dirty="0">
                <a:solidFill>
                  <a:schemeClr val="accent2"/>
                </a:solidFill>
                <a:latin typeface="+mn-lt"/>
              </a:rPr>
              <a:t>(Accept)</a:t>
            </a:r>
          </a:p>
        </p:txBody>
      </p:sp>
      <p:sp>
        <p:nvSpPr>
          <p:cNvPr id="7" name="Rectangle 6">
            <a:extLst>
              <a:ext uri="{FF2B5EF4-FFF2-40B4-BE49-F238E27FC236}">
                <a16:creationId xmlns:a16="http://schemas.microsoft.com/office/drawing/2014/main" id="{56493FED-5103-4E34-9550-123938860546}"/>
              </a:ext>
            </a:extLst>
          </p:cNvPr>
          <p:cNvSpPr/>
          <p:nvPr/>
        </p:nvSpPr>
        <p:spPr>
          <a:xfrm>
            <a:off x="4971612" y="1050989"/>
            <a:ext cx="2629774" cy="966275"/>
          </a:xfrm>
          <a:prstGeom prst="rect">
            <a:avLst/>
          </a:prstGeom>
          <a:noFill/>
          <a:ln w="12700" cmpd="sng">
            <a:solidFill>
              <a:schemeClr val="accent1"/>
            </a:solidFill>
            <a:extLst>
              <a:ext uri="{C807C97D-BFC1-408E-A445-0C87EB9F89A2}">
                <ask:lineSketchStyleProps xmlns:ask="http://schemas.microsoft.com/office/drawing/2018/sketchyshapes">
                  <ask:type>
                    <ask:lineSketchNone/>
                  </ask:type>
                </ask:lineSketchStyleProps>
              </a:ext>
            </a:extLst>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Tree>
    <p:extLst>
      <p:ext uri="{BB962C8B-B14F-4D97-AF65-F5344CB8AC3E}">
        <p14:creationId xmlns:p14="http://schemas.microsoft.com/office/powerpoint/2010/main" val="714754344"/>
      </p:ext>
    </p:extLst>
  </p:cSld>
  <p:clrMapOvr>
    <a:masterClrMapping/>
  </p:clrMapOvr>
  <p:transition spd="med">
    <p:wipe dir="r"/>
  </p:transition>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7229"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pic>
        <p:nvPicPr>
          <p:cNvPr id="18" name="Picture 17" descr="Diagram&#10;&#10;Description automatically generated with medium confidence">
            <a:extLst>
              <a:ext uri="{FF2B5EF4-FFF2-40B4-BE49-F238E27FC236}">
                <a16:creationId xmlns:a16="http://schemas.microsoft.com/office/drawing/2014/main" id="{E58CA81C-C243-431A-9819-E31BF6C52308}"/>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0" y="0"/>
            <a:ext cx="9144000" cy="5143500"/>
          </a:xfrm>
          <a:prstGeom prst="rect">
            <a:avLst/>
          </a:prstGeom>
        </p:spPr>
      </p:pic>
      <p:sp>
        <p:nvSpPr>
          <p:cNvPr id="22" name="Title 32">
            <a:extLst>
              <a:ext uri="{FF2B5EF4-FFF2-40B4-BE49-F238E27FC236}">
                <a16:creationId xmlns:a16="http://schemas.microsoft.com/office/drawing/2014/main" id="{7DE4F7AF-87AC-4CE0-9C4D-A5C0A40E4C2E}"/>
              </a:ext>
            </a:extLst>
          </p:cNvPr>
          <p:cNvSpPr>
            <a:spLocks noGrp="1"/>
          </p:cNvSpPr>
          <p:nvPr>
            <p:ph type="title"/>
          </p:nvPr>
        </p:nvSpPr>
        <p:spPr>
          <a:xfrm>
            <a:off x="75610" y="1249967"/>
            <a:ext cx="8992779" cy="3035543"/>
          </a:xfrm>
        </p:spPr>
        <p:txBody>
          <a:bodyPr/>
          <a:lstStyle/>
          <a:p>
            <a:r>
              <a:rPr lang="en-US" sz="4800" dirty="0">
                <a:solidFill>
                  <a:schemeClr val="tx2"/>
                </a:solidFill>
              </a:rPr>
              <a:t>ANOVA</a:t>
            </a:r>
            <a:br>
              <a:rPr lang="en-US" dirty="0"/>
            </a:br>
            <a:br>
              <a:rPr lang="en-US" dirty="0"/>
            </a:br>
            <a:r>
              <a:rPr lang="en-US" dirty="0"/>
              <a:t> </a:t>
            </a:r>
          </a:p>
        </p:txBody>
      </p:sp>
    </p:spTree>
    <p:extLst>
      <p:ext uri="{BB962C8B-B14F-4D97-AF65-F5344CB8AC3E}">
        <p14:creationId xmlns:p14="http://schemas.microsoft.com/office/powerpoint/2010/main" val="3454690054"/>
      </p:ext>
    </p:extLst>
  </p:cSld>
  <p:clrMapOvr>
    <a:masterClrMapping/>
  </p:clrMapOvr>
  <p:transition spd="med">
    <p:wipe dir="r"/>
  </p:transition>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A66E8-D237-4D26-8C70-0F86D223B760}"/>
              </a:ext>
            </a:extLst>
          </p:cNvPr>
          <p:cNvSpPr>
            <a:spLocks noGrp="1"/>
          </p:cNvSpPr>
          <p:nvPr>
            <p:ph type="title"/>
          </p:nvPr>
        </p:nvSpPr>
        <p:spPr>
          <a:xfrm>
            <a:off x="0" y="0"/>
            <a:ext cx="8229600" cy="637794"/>
          </a:xfrm>
        </p:spPr>
        <p:txBody>
          <a:bodyPr/>
          <a:lstStyle/>
          <a:p>
            <a:r>
              <a:rPr lang="en-US" dirty="0"/>
              <a:t>ANOVA test – Analysis of variance test</a:t>
            </a:r>
          </a:p>
        </p:txBody>
      </p:sp>
      <p:sp>
        <p:nvSpPr>
          <p:cNvPr id="3" name="TextBox 2">
            <a:extLst>
              <a:ext uri="{FF2B5EF4-FFF2-40B4-BE49-F238E27FC236}">
                <a16:creationId xmlns:a16="http://schemas.microsoft.com/office/drawing/2014/main" id="{43E97DC9-A922-45D3-BD35-CAAB1955C1EB}"/>
              </a:ext>
            </a:extLst>
          </p:cNvPr>
          <p:cNvSpPr txBox="1"/>
          <p:nvPr/>
        </p:nvSpPr>
        <p:spPr>
          <a:xfrm>
            <a:off x="125642" y="637794"/>
            <a:ext cx="5681845" cy="307777"/>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
            </a:pPr>
            <a:r>
              <a:rPr lang="en-US" sz="1400" dirty="0">
                <a:solidFill>
                  <a:schemeClr val="bg2"/>
                </a:solidFill>
                <a:latin typeface="+mn-lt"/>
              </a:rPr>
              <a:t>How do we compare means of many population groups? </a:t>
            </a:r>
          </a:p>
        </p:txBody>
      </p:sp>
      <p:sp>
        <p:nvSpPr>
          <p:cNvPr id="4" name="TextBox 3">
            <a:extLst>
              <a:ext uri="{FF2B5EF4-FFF2-40B4-BE49-F238E27FC236}">
                <a16:creationId xmlns:a16="http://schemas.microsoft.com/office/drawing/2014/main" id="{9D10767D-9279-494C-B706-3FAA9209CEBB}"/>
              </a:ext>
            </a:extLst>
          </p:cNvPr>
          <p:cNvSpPr txBox="1"/>
          <p:nvPr/>
        </p:nvSpPr>
        <p:spPr>
          <a:xfrm>
            <a:off x="202424" y="1200586"/>
            <a:ext cx="8278461" cy="52322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Concept :   </a:t>
            </a:r>
            <a:r>
              <a:rPr lang="en-US" sz="1400" dirty="0">
                <a:solidFill>
                  <a:schemeClr val="bg2"/>
                </a:solidFill>
                <a:latin typeface="+mn-lt"/>
              </a:rPr>
              <a:t>This is a kind of Hypothesis Testing.</a:t>
            </a:r>
          </a:p>
          <a:p>
            <a:pPr>
              <a:spcBef>
                <a:spcPts val="0"/>
              </a:spcBef>
              <a:spcAft>
                <a:spcPts val="0"/>
              </a:spcAft>
              <a:buClr>
                <a:schemeClr val="bg1"/>
              </a:buClr>
            </a:pPr>
            <a:r>
              <a:rPr lang="en-US" sz="1400" dirty="0">
                <a:solidFill>
                  <a:schemeClr val="bg2"/>
                </a:solidFill>
                <a:latin typeface="+mn-lt"/>
              </a:rPr>
              <a:t>	 We can compare population means of 2 or more groups</a:t>
            </a:r>
          </a:p>
        </p:txBody>
      </p:sp>
      <p:sp>
        <p:nvSpPr>
          <p:cNvPr id="5" name="TextBox 4">
            <a:extLst>
              <a:ext uri="{FF2B5EF4-FFF2-40B4-BE49-F238E27FC236}">
                <a16:creationId xmlns:a16="http://schemas.microsoft.com/office/drawing/2014/main" id="{1276F743-A935-427F-96B0-700891FF53E8}"/>
              </a:ext>
            </a:extLst>
          </p:cNvPr>
          <p:cNvSpPr txBox="1"/>
          <p:nvPr/>
        </p:nvSpPr>
        <p:spPr>
          <a:xfrm>
            <a:off x="202424" y="2010284"/>
            <a:ext cx="5542242" cy="52322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Assume </a:t>
            </a:r>
            <a:r>
              <a:rPr lang="en-US" sz="1400" dirty="0">
                <a:solidFill>
                  <a:schemeClr val="bg2"/>
                </a:solidFill>
                <a:latin typeface="+mn-lt"/>
              </a:rPr>
              <a:t>	Ho :  </a:t>
            </a:r>
            <a:r>
              <a:rPr lang="el-GR" sz="1400" dirty="0">
                <a:solidFill>
                  <a:schemeClr val="bg2"/>
                </a:solidFill>
                <a:latin typeface="+mn-lt"/>
              </a:rPr>
              <a:t>μ</a:t>
            </a:r>
            <a:r>
              <a:rPr lang="en-US" sz="1400" dirty="0">
                <a:solidFill>
                  <a:schemeClr val="bg2"/>
                </a:solidFill>
                <a:latin typeface="+mn-lt"/>
              </a:rPr>
              <a:t>1 = </a:t>
            </a:r>
            <a:r>
              <a:rPr lang="el-GR" sz="1400" dirty="0">
                <a:solidFill>
                  <a:schemeClr val="bg2"/>
                </a:solidFill>
                <a:latin typeface="+mn-lt"/>
              </a:rPr>
              <a:t>μ</a:t>
            </a:r>
            <a:r>
              <a:rPr lang="en-US" sz="1400" dirty="0">
                <a:solidFill>
                  <a:schemeClr val="bg2"/>
                </a:solidFill>
                <a:latin typeface="+mn-lt"/>
              </a:rPr>
              <a:t>2 = </a:t>
            </a:r>
            <a:r>
              <a:rPr lang="el-GR" sz="1400" dirty="0">
                <a:solidFill>
                  <a:schemeClr val="bg2"/>
                </a:solidFill>
                <a:latin typeface="+mn-lt"/>
              </a:rPr>
              <a:t>μ</a:t>
            </a:r>
            <a:r>
              <a:rPr lang="en-US" sz="1400" dirty="0">
                <a:solidFill>
                  <a:schemeClr val="bg2"/>
                </a:solidFill>
                <a:latin typeface="+mn-lt"/>
              </a:rPr>
              <a:t>3 = ……= </a:t>
            </a:r>
            <a:r>
              <a:rPr lang="el-GR" sz="1400" dirty="0">
                <a:solidFill>
                  <a:schemeClr val="bg2"/>
                </a:solidFill>
                <a:latin typeface="+mn-lt"/>
              </a:rPr>
              <a:t>μ</a:t>
            </a:r>
            <a:r>
              <a:rPr lang="en-US" sz="1400" dirty="0">
                <a:solidFill>
                  <a:schemeClr val="bg2"/>
                </a:solidFill>
                <a:latin typeface="+mn-lt"/>
              </a:rPr>
              <a:t>k	“k” is population</a:t>
            </a:r>
          </a:p>
          <a:p>
            <a:pPr>
              <a:spcBef>
                <a:spcPts val="0"/>
              </a:spcBef>
              <a:spcAft>
                <a:spcPts val="0"/>
              </a:spcAft>
              <a:buClr>
                <a:schemeClr val="bg1"/>
              </a:buClr>
            </a:pPr>
            <a:r>
              <a:rPr lang="en-US" sz="1400" dirty="0">
                <a:solidFill>
                  <a:schemeClr val="bg2"/>
                </a:solidFill>
                <a:latin typeface="+mn-lt"/>
              </a:rPr>
              <a:t>	Ha : At least one mean differs from the other</a:t>
            </a:r>
          </a:p>
        </p:txBody>
      </p:sp>
      <p:sp>
        <p:nvSpPr>
          <p:cNvPr id="6" name="TextBox 5">
            <a:extLst>
              <a:ext uri="{FF2B5EF4-FFF2-40B4-BE49-F238E27FC236}">
                <a16:creationId xmlns:a16="http://schemas.microsoft.com/office/drawing/2014/main" id="{F348DBAF-FD83-444B-B780-3A46D4BA18C0}"/>
              </a:ext>
            </a:extLst>
          </p:cNvPr>
          <p:cNvSpPr txBox="1"/>
          <p:nvPr/>
        </p:nvSpPr>
        <p:spPr>
          <a:xfrm>
            <a:off x="202424" y="3162009"/>
            <a:ext cx="2533796" cy="95410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Objective of ANOVA is to </a:t>
            </a:r>
          </a:p>
          <a:p>
            <a:pPr>
              <a:spcBef>
                <a:spcPts val="0"/>
              </a:spcBef>
              <a:spcAft>
                <a:spcPts val="0"/>
              </a:spcAft>
              <a:buClr>
                <a:schemeClr val="bg1"/>
              </a:buCl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Reject Ho</a:t>
            </a: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Fail to Reject Ho</a:t>
            </a:r>
          </a:p>
        </p:txBody>
      </p:sp>
      <p:sp>
        <p:nvSpPr>
          <p:cNvPr id="7" name="TextBox 6">
            <a:extLst>
              <a:ext uri="{FF2B5EF4-FFF2-40B4-BE49-F238E27FC236}">
                <a16:creationId xmlns:a16="http://schemas.microsoft.com/office/drawing/2014/main" id="{ACD78F9F-3655-4682-8404-59F42DBECB28}"/>
              </a:ext>
            </a:extLst>
          </p:cNvPr>
          <p:cNvSpPr txBox="1"/>
          <p:nvPr/>
        </p:nvSpPr>
        <p:spPr>
          <a:xfrm>
            <a:off x="4572000" y="2988807"/>
            <a:ext cx="4188092" cy="1815882"/>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There are other techniques like</a:t>
            </a:r>
          </a:p>
          <a:p>
            <a:pPr>
              <a:spcBef>
                <a:spcPts val="0"/>
              </a:spcBef>
              <a:spcAft>
                <a:spcPts val="0"/>
              </a:spcAft>
              <a:buClr>
                <a:schemeClr val="bg1"/>
              </a:buClr>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ü"/>
            </a:pPr>
            <a:r>
              <a:rPr lang="en-US" sz="1400" dirty="0">
                <a:solidFill>
                  <a:schemeClr val="bg2"/>
                </a:solidFill>
                <a:latin typeface="+mn-lt"/>
              </a:rPr>
              <a:t>Independent Sample : t - test </a:t>
            </a:r>
          </a:p>
          <a:p>
            <a:pPr marL="285750" indent="-285750">
              <a:spcBef>
                <a:spcPts val="0"/>
              </a:spcBef>
              <a:spcAft>
                <a:spcPts val="0"/>
              </a:spcAft>
              <a:buClr>
                <a:schemeClr val="bg1"/>
              </a:buClr>
              <a:buFont typeface="Wingdings" panose="05000000000000000000" pitchFamily="2" charset="2"/>
              <a:buChar char="ü"/>
            </a:pPr>
            <a:r>
              <a:rPr lang="en-US" sz="1400" dirty="0">
                <a:solidFill>
                  <a:schemeClr val="bg2"/>
                </a:solidFill>
                <a:latin typeface="+mn-lt"/>
              </a:rPr>
              <a:t>Dependent Samples : t – test</a:t>
            </a:r>
          </a:p>
          <a:p>
            <a:pPr marL="285750" indent="-285750">
              <a:spcBef>
                <a:spcPts val="0"/>
              </a:spcBef>
              <a:spcAft>
                <a:spcPts val="0"/>
              </a:spcAft>
              <a:buClr>
                <a:schemeClr val="bg1"/>
              </a:buClr>
              <a:buFont typeface="Wingdings" panose="05000000000000000000" pitchFamily="2" charset="2"/>
              <a:buChar char="ü"/>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ü"/>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Note : Both can compare just two population parameters. Hence ANOVA is more common</a:t>
            </a:r>
          </a:p>
        </p:txBody>
      </p:sp>
      <p:sp>
        <p:nvSpPr>
          <p:cNvPr id="8" name="Rectangle 7">
            <a:extLst>
              <a:ext uri="{FF2B5EF4-FFF2-40B4-BE49-F238E27FC236}">
                <a16:creationId xmlns:a16="http://schemas.microsoft.com/office/drawing/2014/main" id="{56446D54-BCC2-4B06-A9B0-6049DAF9A7E4}"/>
              </a:ext>
            </a:extLst>
          </p:cNvPr>
          <p:cNvSpPr/>
          <p:nvPr/>
        </p:nvSpPr>
        <p:spPr>
          <a:xfrm>
            <a:off x="125642" y="3162009"/>
            <a:ext cx="2771121" cy="1151725"/>
          </a:xfrm>
          <a:prstGeom prst="rect">
            <a:avLst/>
          </a:prstGeom>
          <a:noFill/>
          <a:ln w="19050" cmpd="sng">
            <a:solidFill>
              <a:schemeClr val="tx1"/>
            </a:solidFill>
            <a:prstDash val="dash"/>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9" name="Rectangle 8">
            <a:extLst>
              <a:ext uri="{FF2B5EF4-FFF2-40B4-BE49-F238E27FC236}">
                <a16:creationId xmlns:a16="http://schemas.microsoft.com/office/drawing/2014/main" id="{FAB1B9EE-A4DE-4E07-9FDF-6D70164D42A5}"/>
              </a:ext>
            </a:extLst>
          </p:cNvPr>
          <p:cNvSpPr/>
          <p:nvPr/>
        </p:nvSpPr>
        <p:spPr>
          <a:xfrm>
            <a:off x="4473113" y="2995741"/>
            <a:ext cx="4007772" cy="1815882"/>
          </a:xfrm>
          <a:prstGeom prst="rect">
            <a:avLst/>
          </a:prstGeom>
          <a:noFill/>
          <a:ln w="19050" cmpd="sng">
            <a:solidFill>
              <a:schemeClr val="tx1"/>
            </a:solidFill>
            <a:prstDash val="dash"/>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0" name="Rectangle 9">
            <a:extLst>
              <a:ext uri="{FF2B5EF4-FFF2-40B4-BE49-F238E27FC236}">
                <a16:creationId xmlns:a16="http://schemas.microsoft.com/office/drawing/2014/main" id="{64DEDDFF-F393-448B-87ED-CE1E68B9EC4A}"/>
              </a:ext>
            </a:extLst>
          </p:cNvPr>
          <p:cNvSpPr/>
          <p:nvPr/>
        </p:nvSpPr>
        <p:spPr>
          <a:xfrm>
            <a:off x="202424" y="2010284"/>
            <a:ext cx="5605063" cy="561466"/>
          </a:xfrm>
          <a:prstGeom prst="rect">
            <a:avLst/>
          </a:prstGeom>
          <a:noFill/>
          <a:ln w="12700" cmpd="sng">
            <a:solidFill>
              <a:schemeClr val="bg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Tree>
    <p:extLst>
      <p:ext uri="{BB962C8B-B14F-4D97-AF65-F5344CB8AC3E}">
        <p14:creationId xmlns:p14="http://schemas.microsoft.com/office/powerpoint/2010/main" val="1648293464"/>
      </p:ext>
    </p:extLst>
  </p:cSld>
  <p:clrMapOvr>
    <a:masterClrMapping/>
  </p:clrMapOvr>
  <p:transition spd="med">
    <p:wipe dir="r"/>
  </p:transition>
</p:sld>
</file>

<file path=ppt/slides/slide233.xml><?xml version="1.0" encoding="utf-8"?>
<p:sld xmlns:a="http://schemas.openxmlformats.org/drawingml/2006/main" xmlns:r="http://schemas.openxmlformats.org/officeDocument/2006/relationships" xmlns:p="http://schemas.openxmlformats.org/presentationml/2006/main">
  <p:cSld>
    <p:bg>
      <p:bgPr>
        <a:solidFill>
          <a:schemeClr val="tx1">
            <a:lumMod val="20000"/>
            <a:lumOff val="80000"/>
          </a:schemeClr>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BA0A3F8-BAAA-4120-B71D-634F9B383578}"/>
              </a:ext>
            </a:extLst>
          </p:cNvPr>
          <p:cNvSpPr txBox="1"/>
          <p:nvPr/>
        </p:nvSpPr>
        <p:spPr>
          <a:xfrm>
            <a:off x="0" y="1619395"/>
            <a:ext cx="6777728" cy="1569660"/>
          </a:xfrm>
          <a:prstGeom prst="rect">
            <a:avLst/>
          </a:prstGeom>
          <a:noFill/>
        </p:spPr>
        <p:txBody>
          <a:bodyPr wrap="square" rtlCol="0">
            <a:spAutoFit/>
          </a:bodyPr>
          <a:lstStyle/>
          <a:p>
            <a:pPr>
              <a:spcBef>
                <a:spcPts val="0"/>
              </a:spcBef>
              <a:spcAft>
                <a:spcPts val="0"/>
              </a:spcAft>
              <a:buClr>
                <a:schemeClr val="bg1"/>
              </a:buClr>
            </a:pPr>
            <a:r>
              <a:rPr lang="en-US" sz="9600" b="1" dirty="0">
                <a:solidFill>
                  <a:schemeClr val="bg2"/>
                </a:solidFill>
                <a:latin typeface="+mn-lt"/>
              </a:rPr>
              <a:t>BACK UP</a:t>
            </a:r>
            <a:endParaRPr lang="en-US" sz="1400" b="1" dirty="0">
              <a:solidFill>
                <a:schemeClr val="bg2"/>
              </a:solidFill>
              <a:latin typeface="+mn-lt"/>
            </a:endParaRPr>
          </a:p>
        </p:txBody>
      </p:sp>
    </p:spTree>
    <p:extLst>
      <p:ext uri="{BB962C8B-B14F-4D97-AF65-F5344CB8AC3E}">
        <p14:creationId xmlns:p14="http://schemas.microsoft.com/office/powerpoint/2010/main" val="2913372648"/>
      </p:ext>
    </p:extLst>
  </p:cSld>
  <p:clrMapOvr>
    <a:masterClrMapping/>
  </p:clrMapOvr>
  <p:transition spd="med">
    <p:wipe dir="r"/>
  </p:transition>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66A6F8-39EB-4FBD-8D81-11A2AD144917}"/>
              </a:ext>
            </a:extLst>
          </p:cNvPr>
          <p:cNvSpPr>
            <a:spLocks noGrp="1"/>
          </p:cNvSpPr>
          <p:nvPr>
            <p:ph type="title"/>
          </p:nvPr>
        </p:nvSpPr>
        <p:spPr>
          <a:xfrm>
            <a:off x="0" y="0"/>
            <a:ext cx="8229600" cy="637794"/>
          </a:xfrm>
        </p:spPr>
        <p:txBody>
          <a:bodyPr/>
          <a:lstStyle/>
          <a:p>
            <a:r>
              <a:rPr lang="en-US" dirty="0"/>
              <a:t>Percentiles</a:t>
            </a:r>
          </a:p>
        </p:txBody>
      </p:sp>
      <p:sp>
        <p:nvSpPr>
          <p:cNvPr id="3" name="TextBox 2">
            <a:extLst>
              <a:ext uri="{FF2B5EF4-FFF2-40B4-BE49-F238E27FC236}">
                <a16:creationId xmlns:a16="http://schemas.microsoft.com/office/drawing/2014/main" id="{0EC1444E-8018-4B80-BEE3-261C4E50A262}"/>
              </a:ext>
            </a:extLst>
          </p:cNvPr>
          <p:cNvSpPr txBox="1"/>
          <p:nvPr/>
        </p:nvSpPr>
        <p:spPr>
          <a:xfrm>
            <a:off x="516531" y="637794"/>
            <a:ext cx="5479420" cy="862939"/>
          </a:xfrm>
          <a:prstGeom prst="rect">
            <a:avLst/>
          </a:prstGeom>
          <a:noFill/>
        </p:spPr>
        <p:txBody>
          <a:bodyPr wrap="square" rtlCol="0">
            <a:spAutoFit/>
          </a:bodyPr>
          <a:lstStyle/>
          <a:p>
            <a:pPr>
              <a:spcBef>
                <a:spcPts val="0"/>
              </a:spcBef>
              <a:spcAft>
                <a:spcPts val="0"/>
              </a:spcAft>
              <a:buClr>
                <a:schemeClr val="bg1"/>
              </a:buClr>
            </a:pPr>
            <a:endParaRPr lang="en-US" sz="1400" dirty="0" err="1">
              <a:solidFill>
                <a:schemeClr val="bg2"/>
              </a:solidFill>
              <a:latin typeface="+mn-lt"/>
            </a:endParaRPr>
          </a:p>
        </p:txBody>
      </p:sp>
      <p:sp>
        <p:nvSpPr>
          <p:cNvPr id="4" name="Title 1">
            <a:extLst>
              <a:ext uri="{FF2B5EF4-FFF2-40B4-BE49-F238E27FC236}">
                <a16:creationId xmlns:a16="http://schemas.microsoft.com/office/drawing/2014/main" id="{36A26050-DF8F-487D-9E3C-DAC39F5F4378}"/>
              </a:ext>
            </a:extLst>
          </p:cNvPr>
          <p:cNvSpPr txBox="1">
            <a:spLocks/>
          </p:cNvSpPr>
          <p:nvPr/>
        </p:nvSpPr>
        <p:spPr>
          <a:xfrm>
            <a:off x="138439" y="1181836"/>
            <a:ext cx="8229600" cy="637794"/>
          </a:xfrm>
          <a:prstGeom prst="rect">
            <a:avLst/>
          </a:prstGeom>
        </p:spPr>
        <p:txBody>
          <a:bodyPr/>
          <a:lst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kern="0" dirty="0"/>
              <a:t>Decile</a:t>
            </a:r>
          </a:p>
          <a:p>
            <a:endParaRPr lang="en-US" kern="0" dirty="0"/>
          </a:p>
          <a:p>
            <a:r>
              <a:rPr lang="en-US" kern="0" dirty="0"/>
              <a:t>Estimating Percentile</a:t>
            </a:r>
          </a:p>
        </p:txBody>
      </p:sp>
    </p:spTree>
    <p:extLst>
      <p:ext uri="{BB962C8B-B14F-4D97-AF65-F5344CB8AC3E}">
        <p14:creationId xmlns:p14="http://schemas.microsoft.com/office/powerpoint/2010/main" val="2750829029"/>
      </p:ext>
    </p:extLst>
  </p:cSld>
  <p:clrMapOvr>
    <a:masterClrMapping/>
  </p:clrMapOvr>
  <p:transition spd="med">
    <p:wipe dir="r"/>
  </p:transition>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43CC1-90CC-435A-9189-5BDF12903CEF}"/>
              </a:ext>
            </a:extLst>
          </p:cNvPr>
          <p:cNvSpPr>
            <a:spLocks noGrp="1"/>
          </p:cNvSpPr>
          <p:nvPr>
            <p:ph type="title"/>
          </p:nvPr>
        </p:nvSpPr>
        <p:spPr>
          <a:xfrm>
            <a:off x="148676" y="110628"/>
            <a:ext cx="7955280" cy="640080"/>
          </a:xfrm>
        </p:spPr>
        <p:txBody>
          <a:bodyPr/>
          <a:lstStyle/>
          <a:p>
            <a:r>
              <a:rPr lang="en-US" dirty="0"/>
              <a:t>Why Statistics is </a:t>
            </a:r>
            <a:r>
              <a:rPr lang="en-US" dirty="0">
                <a:solidFill>
                  <a:schemeClr val="tx2">
                    <a:lumMod val="50000"/>
                  </a:schemeClr>
                </a:solidFill>
              </a:rPr>
              <a:t>Important?</a:t>
            </a:r>
          </a:p>
        </p:txBody>
      </p:sp>
      <p:sp>
        <p:nvSpPr>
          <p:cNvPr id="3" name="Content Placeholder 2">
            <a:extLst>
              <a:ext uri="{FF2B5EF4-FFF2-40B4-BE49-F238E27FC236}">
                <a16:creationId xmlns:a16="http://schemas.microsoft.com/office/drawing/2014/main" id="{ADA3D4CF-1D48-420F-9105-1682DCCA001A}"/>
              </a:ext>
            </a:extLst>
          </p:cNvPr>
          <p:cNvSpPr>
            <a:spLocks noGrp="1"/>
          </p:cNvSpPr>
          <p:nvPr>
            <p:ph sz="half" idx="1"/>
          </p:nvPr>
        </p:nvSpPr>
        <p:spPr>
          <a:xfrm>
            <a:off x="73186" y="750708"/>
            <a:ext cx="8791607" cy="4120906"/>
          </a:xfrm>
        </p:spPr>
        <p:txBody>
          <a:bodyPr>
            <a:normAutofit/>
          </a:bodyPr>
          <a:lstStyle/>
          <a:p>
            <a:pPr algn="just">
              <a:buFont typeface="Arial" panose="020B0604020202020204" pitchFamily="34" charset="0"/>
              <a:buChar char="•"/>
            </a:pPr>
            <a:r>
              <a:rPr lang="en-US" b="1" i="0" dirty="0">
                <a:solidFill>
                  <a:schemeClr val="bg1"/>
                </a:solidFill>
                <a:effectLst/>
                <a:latin typeface="roboto" panose="02000000000000000000" pitchFamily="2" charset="0"/>
              </a:rPr>
              <a:t>In Business</a:t>
            </a:r>
          </a:p>
          <a:p>
            <a:pPr marL="0" indent="0" algn="just">
              <a:buNone/>
            </a:pPr>
            <a:endParaRPr lang="en-US" b="1" i="0" dirty="0">
              <a:solidFill>
                <a:schemeClr val="bg1"/>
              </a:solidFill>
              <a:effectLst/>
              <a:latin typeface="roboto" panose="02000000000000000000" pitchFamily="2" charset="0"/>
            </a:endParaRPr>
          </a:p>
          <a:p>
            <a:pPr algn="just">
              <a:buFont typeface="Arial" panose="020B0604020202020204" pitchFamily="34" charset="0"/>
              <a:buChar char="•"/>
            </a:pPr>
            <a:r>
              <a:rPr lang="en-US" b="1" i="0" dirty="0">
                <a:solidFill>
                  <a:schemeClr val="bg1"/>
                </a:solidFill>
                <a:effectLst/>
                <a:latin typeface="roboto" panose="02000000000000000000" pitchFamily="2" charset="0"/>
              </a:rPr>
              <a:t>In economics</a:t>
            </a:r>
            <a:endParaRPr lang="en-US" b="0" i="0" dirty="0">
              <a:solidFill>
                <a:schemeClr val="bg1"/>
              </a:solidFill>
              <a:effectLst/>
              <a:latin typeface="roboto" panose="02000000000000000000" pitchFamily="2" charset="0"/>
            </a:endParaRPr>
          </a:p>
          <a:p>
            <a:pPr marL="0" indent="0" algn="just">
              <a:buNone/>
            </a:pPr>
            <a:endParaRPr lang="en-US" b="0" i="0" dirty="0">
              <a:solidFill>
                <a:schemeClr val="bg1"/>
              </a:solidFill>
              <a:effectLst/>
              <a:latin typeface="roboto" panose="02000000000000000000" pitchFamily="2" charset="0"/>
            </a:endParaRPr>
          </a:p>
          <a:p>
            <a:pPr algn="just">
              <a:buFont typeface="Arial" panose="020B0604020202020204" pitchFamily="34" charset="0"/>
              <a:buChar char="•"/>
            </a:pPr>
            <a:r>
              <a:rPr lang="en-US" b="1" i="0" dirty="0">
                <a:solidFill>
                  <a:schemeClr val="bg1"/>
                </a:solidFill>
                <a:effectLst/>
                <a:latin typeface="roboto" panose="02000000000000000000" pitchFamily="2" charset="0"/>
              </a:rPr>
              <a:t>In Accounts</a:t>
            </a:r>
            <a:endParaRPr lang="en-US" b="0" i="0" dirty="0">
              <a:solidFill>
                <a:schemeClr val="bg1"/>
              </a:solidFill>
              <a:effectLst/>
              <a:latin typeface="roboto" panose="02000000000000000000" pitchFamily="2" charset="0"/>
            </a:endParaRPr>
          </a:p>
          <a:p>
            <a:pPr marL="0" indent="0" algn="just">
              <a:buNone/>
            </a:pPr>
            <a:endParaRPr lang="en-US" b="0" i="0" dirty="0">
              <a:solidFill>
                <a:schemeClr val="bg1"/>
              </a:solidFill>
              <a:effectLst/>
              <a:latin typeface="roboto" panose="02000000000000000000" pitchFamily="2" charset="0"/>
            </a:endParaRPr>
          </a:p>
          <a:p>
            <a:pPr algn="just">
              <a:buFont typeface="Arial" panose="020B0604020202020204" pitchFamily="34" charset="0"/>
              <a:buChar char="•"/>
            </a:pPr>
            <a:r>
              <a:rPr lang="en-US" b="1" i="0" dirty="0">
                <a:solidFill>
                  <a:schemeClr val="bg1"/>
                </a:solidFill>
                <a:effectLst/>
                <a:latin typeface="roboto" panose="02000000000000000000" pitchFamily="2" charset="0"/>
              </a:rPr>
              <a:t>In Physics</a:t>
            </a:r>
          </a:p>
          <a:p>
            <a:pPr algn="just">
              <a:buFont typeface="Arial" panose="020B0604020202020204" pitchFamily="34" charset="0"/>
              <a:buChar char="•"/>
            </a:pPr>
            <a:endParaRPr lang="en-US" b="1" dirty="0">
              <a:solidFill>
                <a:schemeClr val="bg1"/>
              </a:solidFill>
              <a:latin typeface="roboto" panose="02000000000000000000" pitchFamily="2" charset="0"/>
            </a:endParaRPr>
          </a:p>
          <a:p>
            <a:pPr algn="just">
              <a:buFont typeface="Arial" panose="020B0604020202020204" pitchFamily="34" charset="0"/>
              <a:buChar char="•"/>
            </a:pPr>
            <a:r>
              <a:rPr lang="en-US" b="1" dirty="0">
                <a:solidFill>
                  <a:schemeClr val="bg1"/>
                </a:solidFill>
                <a:latin typeface="roboto" panose="02000000000000000000" pitchFamily="2" charset="0"/>
              </a:rPr>
              <a:t>Government</a:t>
            </a:r>
            <a:endParaRPr lang="en-US" b="0" i="0" dirty="0">
              <a:solidFill>
                <a:schemeClr val="tx2">
                  <a:lumMod val="50000"/>
                </a:schemeClr>
              </a:solidFill>
              <a:effectLst/>
              <a:latin typeface="roboto" panose="02000000000000000000" pitchFamily="2" charset="0"/>
            </a:endParaRPr>
          </a:p>
        </p:txBody>
      </p:sp>
      <p:sp>
        <p:nvSpPr>
          <p:cNvPr id="4" name="TextBox 3">
            <a:extLst>
              <a:ext uri="{FF2B5EF4-FFF2-40B4-BE49-F238E27FC236}">
                <a16:creationId xmlns:a16="http://schemas.microsoft.com/office/drawing/2014/main" id="{71BCDC17-5F44-491A-8B8C-5B3384ADA063}"/>
              </a:ext>
            </a:extLst>
          </p:cNvPr>
          <p:cNvSpPr txBox="1"/>
          <p:nvPr/>
        </p:nvSpPr>
        <p:spPr>
          <a:xfrm>
            <a:off x="369948" y="963087"/>
            <a:ext cx="558412" cy="276999"/>
          </a:xfrm>
          <a:prstGeom prst="rect">
            <a:avLst/>
          </a:prstGeom>
          <a:noFill/>
        </p:spPr>
        <p:txBody>
          <a:bodyPr wrap="square" rtlCol="0">
            <a:spAutoFit/>
          </a:bodyPr>
          <a:lstStyle/>
          <a:p>
            <a:pPr>
              <a:spcBef>
                <a:spcPts val="0"/>
              </a:spcBef>
              <a:spcAft>
                <a:spcPts val="0"/>
              </a:spcAft>
              <a:buClr>
                <a:schemeClr val="bg1"/>
              </a:buClr>
            </a:pPr>
            <a:r>
              <a:rPr lang="en-US" sz="1200" b="1" dirty="0">
                <a:solidFill>
                  <a:schemeClr val="bg2">
                    <a:lumMod val="50000"/>
                    <a:lumOff val="50000"/>
                  </a:schemeClr>
                </a:solidFill>
                <a:latin typeface="+mn-lt"/>
              </a:rPr>
              <a:t>Ex:</a:t>
            </a:r>
            <a:endParaRPr lang="en-US" sz="1400" b="1" dirty="0">
              <a:solidFill>
                <a:schemeClr val="bg2">
                  <a:lumMod val="50000"/>
                  <a:lumOff val="50000"/>
                </a:schemeClr>
              </a:solidFill>
              <a:latin typeface="+mn-lt"/>
            </a:endParaRPr>
          </a:p>
        </p:txBody>
      </p:sp>
      <p:sp>
        <p:nvSpPr>
          <p:cNvPr id="5" name="TextBox 4">
            <a:extLst>
              <a:ext uri="{FF2B5EF4-FFF2-40B4-BE49-F238E27FC236}">
                <a16:creationId xmlns:a16="http://schemas.microsoft.com/office/drawing/2014/main" id="{B39A2A80-1EBF-49F5-B480-0472A4E70679}"/>
              </a:ext>
            </a:extLst>
          </p:cNvPr>
          <p:cNvSpPr txBox="1"/>
          <p:nvPr/>
        </p:nvSpPr>
        <p:spPr>
          <a:xfrm>
            <a:off x="355987" y="1698625"/>
            <a:ext cx="558412" cy="276999"/>
          </a:xfrm>
          <a:prstGeom prst="rect">
            <a:avLst/>
          </a:prstGeom>
          <a:noFill/>
        </p:spPr>
        <p:txBody>
          <a:bodyPr wrap="square" rtlCol="0">
            <a:spAutoFit/>
          </a:bodyPr>
          <a:lstStyle/>
          <a:p>
            <a:pPr>
              <a:spcBef>
                <a:spcPts val="0"/>
              </a:spcBef>
              <a:spcAft>
                <a:spcPts val="0"/>
              </a:spcAft>
              <a:buClr>
                <a:schemeClr val="bg1"/>
              </a:buClr>
            </a:pPr>
            <a:r>
              <a:rPr lang="en-US" sz="1200" b="1" dirty="0">
                <a:solidFill>
                  <a:schemeClr val="bg2">
                    <a:lumMod val="50000"/>
                    <a:lumOff val="50000"/>
                  </a:schemeClr>
                </a:solidFill>
                <a:latin typeface="+mn-lt"/>
              </a:rPr>
              <a:t>Ex:</a:t>
            </a:r>
            <a:endParaRPr lang="en-US" sz="1400" b="1" dirty="0">
              <a:solidFill>
                <a:schemeClr val="bg2">
                  <a:lumMod val="50000"/>
                  <a:lumOff val="50000"/>
                </a:schemeClr>
              </a:solidFill>
              <a:latin typeface="+mn-lt"/>
            </a:endParaRPr>
          </a:p>
        </p:txBody>
      </p:sp>
      <p:sp>
        <p:nvSpPr>
          <p:cNvPr id="6" name="TextBox 5">
            <a:extLst>
              <a:ext uri="{FF2B5EF4-FFF2-40B4-BE49-F238E27FC236}">
                <a16:creationId xmlns:a16="http://schemas.microsoft.com/office/drawing/2014/main" id="{D024976C-77DA-4A9C-A93C-AE7E864E157A}"/>
              </a:ext>
            </a:extLst>
          </p:cNvPr>
          <p:cNvSpPr txBox="1"/>
          <p:nvPr/>
        </p:nvSpPr>
        <p:spPr>
          <a:xfrm>
            <a:off x="355987" y="2395662"/>
            <a:ext cx="558412" cy="276999"/>
          </a:xfrm>
          <a:prstGeom prst="rect">
            <a:avLst/>
          </a:prstGeom>
          <a:noFill/>
        </p:spPr>
        <p:txBody>
          <a:bodyPr wrap="square" rtlCol="0">
            <a:spAutoFit/>
          </a:bodyPr>
          <a:lstStyle/>
          <a:p>
            <a:pPr>
              <a:spcBef>
                <a:spcPts val="0"/>
              </a:spcBef>
              <a:spcAft>
                <a:spcPts val="0"/>
              </a:spcAft>
              <a:buClr>
                <a:schemeClr val="bg1"/>
              </a:buClr>
            </a:pPr>
            <a:r>
              <a:rPr lang="en-US" sz="1200" b="1">
                <a:solidFill>
                  <a:schemeClr val="bg2">
                    <a:lumMod val="50000"/>
                    <a:lumOff val="50000"/>
                  </a:schemeClr>
                </a:solidFill>
                <a:latin typeface="+mn-lt"/>
              </a:rPr>
              <a:t>Ex:</a:t>
            </a:r>
            <a:endParaRPr lang="en-US" sz="1400" b="1" dirty="0">
              <a:solidFill>
                <a:schemeClr val="bg2">
                  <a:lumMod val="50000"/>
                  <a:lumOff val="50000"/>
                </a:schemeClr>
              </a:solidFill>
              <a:latin typeface="+mn-lt"/>
            </a:endParaRPr>
          </a:p>
        </p:txBody>
      </p:sp>
      <p:sp>
        <p:nvSpPr>
          <p:cNvPr id="7" name="TextBox 6">
            <a:extLst>
              <a:ext uri="{FF2B5EF4-FFF2-40B4-BE49-F238E27FC236}">
                <a16:creationId xmlns:a16="http://schemas.microsoft.com/office/drawing/2014/main" id="{44D6110D-AF15-462D-B9A6-FBD47075AA6A}"/>
              </a:ext>
            </a:extLst>
          </p:cNvPr>
          <p:cNvSpPr txBox="1"/>
          <p:nvPr/>
        </p:nvSpPr>
        <p:spPr>
          <a:xfrm>
            <a:off x="355987" y="3167877"/>
            <a:ext cx="558412" cy="276999"/>
          </a:xfrm>
          <a:prstGeom prst="rect">
            <a:avLst/>
          </a:prstGeom>
          <a:noFill/>
        </p:spPr>
        <p:txBody>
          <a:bodyPr wrap="square" rtlCol="0">
            <a:spAutoFit/>
          </a:bodyPr>
          <a:lstStyle/>
          <a:p>
            <a:pPr>
              <a:spcBef>
                <a:spcPts val="0"/>
              </a:spcBef>
              <a:spcAft>
                <a:spcPts val="0"/>
              </a:spcAft>
              <a:buClr>
                <a:schemeClr val="bg1"/>
              </a:buClr>
            </a:pPr>
            <a:r>
              <a:rPr lang="en-US" sz="1200" b="1" dirty="0">
                <a:solidFill>
                  <a:schemeClr val="bg2">
                    <a:lumMod val="50000"/>
                    <a:lumOff val="50000"/>
                  </a:schemeClr>
                </a:solidFill>
                <a:latin typeface="+mn-lt"/>
              </a:rPr>
              <a:t>Ex:</a:t>
            </a:r>
            <a:endParaRPr lang="en-US" sz="1400" b="1" dirty="0">
              <a:solidFill>
                <a:schemeClr val="bg2">
                  <a:lumMod val="50000"/>
                  <a:lumOff val="50000"/>
                </a:schemeClr>
              </a:solidFill>
              <a:latin typeface="+mn-lt"/>
            </a:endParaRPr>
          </a:p>
        </p:txBody>
      </p:sp>
      <p:sp>
        <p:nvSpPr>
          <p:cNvPr id="8" name="TextBox 7">
            <a:extLst>
              <a:ext uri="{FF2B5EF4-FFF2-40B4-BE49-F238E27FC236}">
                <a16:creationId xmlns:a16="http://schemas.microsoft.com/office/drawing/2014/main" id="{EDA8814B-062A-41E7-A660-66D6673E6EE9}"/>
              </a:ext>
            </a:extLst>
          </p:cNvPr>
          <p:cNvSpPr txBox="1"/>
          <p:nvPr/>
        </p:nvSpPr>
        <p:spPr>
          <a:xfrm>
            <a:off x="300147" y="3881245"/>
            <a:ext cx="558412" cy="276999"/>
          </a:xfrm>
          <a:prstGeom prst="rect">
            <a:avLst/>
          </a:prstGeom>
          <a:noFill/>
        </p:spPr>
        <p:txBody>
          <a:bodyPr wrap="square" rtlCol="0">
            <a:spAutoFit/>
          </a:bodyPr>
          <a:lstStyle/>
          <a:p>
            <a:pPr>
              <a:spcBef>
                <a:spcPts val="0"/>
              </a:spcBef>
              <a:spcAft>
                <a:spcPts val="0"/>
              </a:spcAft>
              <a:buClr>
                <a:schemeClr val="bg1"/>
              </a:buClr>
            </a:pPr>
            <a:r>
              <a:rPr lang="en-US" sz="1200" b="1" dirty="0">
                <a:solidFill>
                  <a:schemeClr val="bg2">
                    <a:lumMod val="50000"/>
                    <a:lumOff val="50000"/>
                  </a:schemeClr>
                </a:solidFill>
                <a:latin typeface="+mn-lt"/>
              </a:rPr>
              <a:t>Ex:</a:t>
            </a:r>
            <a:endParaRPr lang="en-US" sz="1400" b="1" dirty="0">
              <a:solidFill>
                <a:schemeClr val="bg2">
                  <a:lumMod val="50000"/>
                  <a:lumOff val="50000"/>
                </a:schemeClr>
              </a:solidFill>
              <a:latin typeface="+mn-lt"/>
            </a:endParaRPr>
          </a:p>
        </p:txBody>
      </p:sp>
    </p:spTree>
    <p:extLst>
      <p:ext uri="{BB962C8B-B14F-4D97-AF65-F5344CB8AC3E}">
        <p14:creationId xmlns:p14="http://schemas.microsoft.com/office/powerpoint/2010/main" val="2542499745"/>
      </p:ext>
    </p:extLst>
  </p:cSld>
  <p:clrMapOvr>
    <a:masterClrMapping/>
  </p:clrMapOvr>
  <p:transition spd="med">
    <p:wipe dir="r"/>
  </p:transition>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5D4AD9-EA66-4AB3-924A-162C75EDA01E}"/>
              </a:ext>
            </a:extLst>
          </p:cNvPr>
          <p:cNvSpPr>
            <a:spLocks noGrp="1"/>
          </p:cNvSpPr>
          <p:nvPr>
            <p:ph type="title"/>
          </p:nvPr>
        </p:nvSpPr>
        <p:spPr>
          <a:xfrm>
            <a:off x="0" y="0"/>
            <a:ext cx="7955280" cy="640080"/>
          </a:xfrm>
        </p:spPr>
        <p:txBody>
          <a:bodyPr/>
          <a:lstStyle/>
          <a:p>
            <a:r>
              <a:rPr lang="en-US" dirty="0"/>
              <a:t>Standard error</a:t>
            </a:r>
          </a:p>
        </p:txBody>
      </p:sp>
      <p:sp>
        <p:nvSpPr>
          <p:cNvPr id="3" name="Content Placeholder 2">
            <a:extLst>
              <a:ext uri="{FF2B5EF4-FFF2-40B4-BE49-F238E27FC236}">
                <a16:creationId xmlns:a16="http://schemas.microsoft.com/office/drawing/2014/main" id="{47CD45C0-EFC7-4DD0-B50D-0190DB321846}"/>
              </a:ext>
            </a:extLst>
          </p:cNvPr>
          <p:cNvSpPr>
            <a:spLocks noGrp="1"/>
          </p:cNvSpPr>
          <p:nvPr>
            <p:ph sz="half" idx="1"/>
          </p:nvPr>
        </p:nvSpPr>
        <p:spPr>
          <a:xfrm>
            <a:off x="141698" y="640080"/>
            <a:ext cx="7924386" cy="3200400"/>
          </a:xfrm>
        </p:spPr>
        <p:txBody>
          <a:bodyPr/>
          <a:lstStyle/>
          <a:p>
            <a:pPr marL="0" indent="0" algn="l">
              <a:buNone/>
            </a:pPr>
            <a:r>
              <a:rPr lang="en-US" b="1" i="0" dirty="0">
                <a:solidFill>
                  <a:srgbClr val="1B2B68"/>
                </a:solidFill>
                <a:effectLst/>
                <a:latin typeface="Gilmer"/>
              </a:rPr>
              <a:t>Why standard error matters ?</a:t>
            </a:r>
          </a:p>
          <a:p>
            <a:pPr algn="l"/>
            <a:r>
              <a:rPr lang="en-US" b="0" i="0" dirty="0">
                <a:solidFill>
                  <a:srgbClr val="0D405F"/>
                </a:solidFill>
                <a:effectLst/>
                <a:latin typeface="Inter"/>
              </a:rPr>
              <a:t>In statistics, data from</a:t>
            </a:r>
            <a:r>
              <a:rPr lang="en-US" dirty="0">
                <a:solidFill>
                  <a:srgbClr val="0D405F"/>
                </a:solidFill>
                <a:latin typeface="Inter"/>
              </a:rPr>
              <a:t> </a:t>
            </a:r>
            <a:r>
              <a:rPr lang="en-US" dirty="0">
                <a:solidFill>
                  <a:srgbClr val="0D405F"/>
                </a:solidFill>
                <a:latin typeface="Inter"/>
                <a:hlinkClick r:id="rId2">
                  <a:extLst>
                    <a:ext uri="{A12FA001-AC4F-418D-AE19-62706E023703}">
                      <ahyp:hlinkClr xmlns:ahyp="http://schemas.microsoft.com/office/drawing/2018/hyperlinkcolor" val="tx"/>
                    </a:ext>
                  </a:extLst>
                </a:hlinkClick>
              </a:rPr>
              <a:t>samples</a:t>
            </a:r>
            <a:r>
              <a:rPr lang="en-US" dirty="0">
                <a:solidFill>
                  <a:srgbClr val="0D405F"/>
                </a:solidFill>
                <a:latin typeface="Inter"/>
              </a:rPr>
              <a:t> is used </a:t>
            </a:r>
            <a:r>
              <a:rPr lang="en-US" b="0" i="0" dirty="0">
                <a:solidFill>
                  <a:srgbClr val="0D405F"/>
                </a:solidFill>
                <a:effectLst/>
                <a:latin typeface="Inter"/>
              </a:rPr>
              <a:t>to understand larger populations. Standard error matters because it helps you estimate how well your sample data represents the whole population.</a:t>
            </a:r>
          </a:p>
          <a:p>
            <a:pPr algn="l"/>
            <a:endParaRPr lang="en-US" dirty="0">
              <a:solidFill>
                <a:srgbClr val="0D405F"/>
              </a:solidFill>
              <a:latin typeface="Inter"/>
            </a:endParaRPr>
          </a:p>
          <a:p>
            <a:pPr marL="0" indent="0" algn="l">
              <a:buNone/>
            </a:pPr>
            <a:r>
              <a:rPr lang="en-US" b="1" i="0" dirty="0">
                <a:solidFill>
                  <a:srgbClr val="1B2B68"/>
                </a:solidFill>
                <a:effectLst/>
                <a:latin typeface="Gilmer"/>
              </a:rPr>
              <a:t>Standard error vs standard deviation</a:t>
            </a:r>
          </a:p>
          <a:p>
            <a:pPr marL="0" indent="0" algn="l">
              <a:buNone/>
            </a:pPr>
            <a:r>
              <a:rPr lang="en-US" b="0" i="0" dirty="0">
                <a:solidFill>
                  <a:srgbClr val="0D405F"/>
                </a:solidFill>
                <a:effectLst/>
                <a:latin typeface="Inter"/>
              </a:rPr>
              <a:t>Standard error and </a:t>
            </a:r>
            <a:r>
              <a:rPr lang="en-US" dirty="0">
                <a:solidFill>
                  <a:srgbClr val="0D405F"/>
                </a:solidFill>
                <a:latin typeface="Inter"/>
                <a:hlinkClick r:id="rId3">
                  <a:extLst>
                    <a:ext uri="{A12FA001-AC4F-418D-AE19-62706E023703}">
                      <ahyp:hlinkClr xmlns:ahyp="http://schemas.microsoft.com/office/drawing/2018/hyperlinkcolor" val="tx"/>
                    </a:ext>
                  </a:extLst>
                </a:hlinkClick>
              </a:rPr>
              <a:t>standard deviation</a:t>
            </a:r>
            <a:r>
              <a:rPr lang="en-US" dirty="0">
                <a:solidFill>
                  <a:srgbClr val="0D405F"/>
                </a:solidFill>
                <a:latin typeface="Inter"/>
              </a:rPr>
              <a:t> are both measures of </a:t>
            </a:r>
            <a:r>
              <a:rPr lang="en-US" dirty="0">
                <a:solidFill>
                  <a:srgbClr val="0D405F"/>
                </a:solidFill>
                <a:latin typeface="Inter"/>
                <a:hlinkClick r:id="rId4">
                  <a:extLst>
                    <a:ext uri="{A12FA001-AC4F-418D-AE19-62706E023703}">
                      <ahyp:hlinkClr xmlns:ahyp="http://schemas.microsoft.com/office/drawing/2018/hyperlinkcolor" val="tx"/>
                    </a:ext>
                  </a:extLst>
                </a:hlinkClick>
              </a:rPr>
              <a:t>variability</a:t>
            </a:r>
            <a:r>
              <a:rPr lang="en-US" dirty="0">
                <a:solidFill>
                  <a:srgbClr val="0D405F"/>
                </a:solidFill>
                <a:latin typeface="Inter"/>
              </a:rPr>
              <a:t>:</a:t>
            </a:r>
          </a:p>
          <a:p>
            <a:pPr algn="l">
              <a:buFont typeface="Arial" panose="020B0604020202020204" pitchFamily="34" charset="0"/>
              <a:buChar char="•"/>
            </a:pPr>
            <a:r>
              <a:rPr lang="en-US" b="0" i="0" dirty="0">
                <a:solidFill>
                  <a:srgbClr val="0D405F"/>
                </a:solidFill>
                <a:effectLst/>
                <a:latin typeface="Inter"/>
              </a:rPr>
              <a:t>The </a:t>
            </a:r>
            <a:r>
              <a:rPr lang="en-US" b="1" i="0" dirty="0">
                <a:solidFill>
                  <a:srgbClr val="0D405F"/>
                </a:solidFill>
                <a:effectLst/>
                <a:latin typeface="Inter"/>
              </a:rPr>
              <a:t>standard deviation</a:t>
            </a:r>
            <a:r>
              <a:rPr lang="en-US" b="0" i="0" dirty="0">
                <a:solidFill>
                  <a:srgbClr val="0D405F"/>
                </a:solidFill>
                <a:effectLst/>
                <a:latin typeface="Inter"/>
              </a:rPr>
              <a:t> describes variability </a:t>
            </a:r>
            <a:r>
              <a:rPr lang="en-US" b="1" i="0" dirty="0">
                <a:solidFill>
                  <a:srgbClr val="0D405F"/>
                </a:solidFill>
                <a:effectLst/>
                <a:latin typeface="Inter"/>
              </a:rPr>
              <a:t>within a single sample</a:t>
            </a:r>
            <a:r>
              <a:rPr lang="en-US" b="0" i="0" dirty="0">
                <a:solidFill>
                  <a:srgbClr val="0D405F"/>
                </a:solidFill>
                <a:effectLst/>
                <a:latin typeface="Inter"/>
              </a:rPr>
              <a:t>.</a:t>
            </a:r>
          </a:p>
          <a:p>
            <a:pPr algn="l">
              <a:buFont typeface="Arial" panose="020B0604020202020204" pitchFamily="34" charset="0"/>
              <a:buChar char="•"/>
            </a:pPr>
            <a:r>
              <a:rPr lang="en-US" b="0" i="0" dirty="0">
                <a:solidFill>
                  <a:srgbClr val="0D405F"/>
                </a:solidFill>
                <a:effectLst/>
                <a:latin typeface="Inter"/>
              </a:rPr>
              <a:t>The </a:t>
            </a:r>
            <a:r>
              <a:rPr lang="en-US" b="1" i="0" dirty="0">
                <a:solidFill>
                  <a:srgbClr val="0D405F"/>
                </a:solidFill>
                <a:effectLst/>
                <a:latin typeface="Inter"/>
              </a:rPr>
              <a:t>standard error</a:t>
            </a:r>
            <a:r>
              <a:rPr lang="en-US" b="0" i="0" dirty="0">
                <a:solidFill>
                  <a:srgbClr val="0D405F"/>
                </a:solidFill>
                <a:effectLst/>
                <a:latin typeface="Inter"/>
              </a:rPr>
              <a:t> estimates the variability </a:t>
            </a:r>
            <a:r>
              <a:rPr lang="en-US" b="1" i="0" dirty="0">
                <a:solidFill>
                  <a:srgbClr val="0D405F"/>
                </a:solidFill>
                <a:effectLst/>
                <a:latin typeface="Inter"/>
              </a:rPr>
              <a:t>across multiple samples</a:t>
            </a:r>
            <a:r>
              <a:rPr lang="en-US" b="0" i="0" dirty="0">
                <a:solidFill>
                  <a:srgbClr val="0D405F"/>
                </a:solidFill>
                <a:effectLst/>
                <a:latin typeface="Inter"/>
              </a:rPr>
              <a:t> of a population.</a:t>
            </a:r>
          </a:p>
          <a:p>
            <a:pPr marL="0" indent="0" algn="l">
              <a:buNone/>
            </a:pPr>
            <a:endParaRPr lang="en-US" b="0" i="0" dirty="0">
              <a:solidFill>
                <a:srgbClr val="0D405F"/>
              </a:solidFill>
              <a:effectLst/>
              <a:latin typeface="Inter"/>
            </a:endParaRPr>
          </a:p>
          <a:p>
            <a:endParaRPr lang="en-US" dirty="0"/>
          </a:p>
        </p:txBody>
      </p:sp>
      <p:pic>
        <p:nvPicPr>
          <p:cNvPr id="5" name="Picture 4">
            <a:extLst>
              <a:ext uri="{FF2B5EF4-FFF2-40B4-BE49-F238E27FC236}">
                <a16:creationId xmlns:a16="http://schemas.microsoft.com/office/drawing/2014/main" id="{729BB341-73B5-479C-BA2D-D3B5ABA2008F}"/>
              </a:ext>
            </a:extLst>
          </p:cNvPr>
          <p:cNvPicPr>
            <a:picLocks noChangeAspect="1"/>
          </p:cNvPicPr>
          <p:nvPr/>
        </p:nvPicPr>
        <p:blipFill>
          <a:blip r:embed="rId5"/>
          <a:stretch>
            <a:fillRect/>
          </a:stretch>
        </p:blipFill>
        <p:spPr>
          <a:xfrm>
            <a:off x="1349636" y="3482278"/>
            <a:ext cx="4869679" cy="1286330"/>
          </a:xfrm>
          <a:prstGeom prst="rect">
            <a:avLst/>
          </a:prstGeom>
        </p:spPr>
      </p:pic>
    </p:spTree>
    <p:extLst>
      <p:ext uri="{BB962C8B-B14F-4D97-AF65-F5344CB8AC3E}">
        <p14:creationId xmlns:p14="http://schemas.microsoft.com/office/powerpoint/2010/main" val="1129975884"/>
      </p:ext>
    </p:extLst>
  </p:cSld>
  <p:clrMapOvr>
    <a:masterClrMapping/>
  </p:clrMapOvr>
  <p:transition spd="med">
    <p:wipe dir="r"/>
  </p:transition>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CEC99E7-518F-405C-AD1B-ACDA17EF2F0F}"/>
              </a:ext>
            </a:extLst>
          </p:cNvPr>
          <p:cNvSpPr/>
          <p:nvPr/>
        </p:nvSpPr>
        <p:spPr>
          <a:xfrm>
            <a:off x="92836" y="3325926"/>
            <a:ext cx="6035738" cy="1043824"/>
          </a:xfrm>
          <a:prstGeom prst="rect">
            <a:avLst/>
          </a:prstGeom>
          <a:solidFill>
            <a:schemeClr val="tx1">
              <a:lumMod val="40000"/>
              <a:lumOff val="60000"/>
            </a:schemeClr>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9" name="Rectangle 8">
            <a:extLst>
              <a:ext uri="{FF2B5EF4-FFF2-40B4-BE49-F238E27FC236}">
                <a16:creationId xmlns:a16="http://schemas.microsoft.com/office/drawing/2014/main" id="{A7F020F5-4C2D-4B3E-B5DE-8EBF08C70B6B}"/>
              </a:ext>
            </a:extLst>
          </p:cNvPr>
          <p:cNvSpPr/>
          <p:nvPr/>
        </p:nvSpPr>
        <p:spPr>
          <a:xfrm>
            <a:off x="92836" y="2196305"/>
            <a:ext cx="6035738" cy="700458"/>
          </a:xfrm>
          <a:prstGeom prst="rect">
            <a:avLst/>
          </a:prstGeom>
          <a:solidFill>
            <a:schemeClr val="tx1">
              <a:lumMod val="40000"/>
              <a:lumOff val="60000"/>
            </a:schemeClr>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2" name="Title 1">
            <a:extLst>
              <a:ext uri="{FF2B5EF4-FFF2-40B4-BE49-F238E27FC236}">
                <a16:creationId xmlns:a16="http://schemas.microsoft.com/office/drawing/2014/main" id="{B5304044-77BB-429C-B1BB-CF7074495433}"/>
              </a:ext>
            </a:extLst>
          </p:cNvPr>
          <p:cNvSpPr>
            <a:spLocks noGrp="1"/>
          </p:cNvSpPr>
          <p:nvPr>
            <p:ph type="title"/>
          </p:nvPr>
        </p:nvSpPr>
        <p:spPr>
          <a:xfrm>
            <a:off x="0" y="22860"/>
            <a:ext cx="7955280" cy="640080"/>
          </a:xfrm>
        </p:spPr>
        <p:txBody>
          <a:bodyPr/>
          <a:lstStyle/>
          <a:p>
            <a:r>
              <a:rPr lang="en-US" dirty="0"/>
              <a:t>Standard error example</a:t>
            </a:r>
          </a:p>
        </p:txBody>
      </p:sp>
      <p:sp>
        <p:nvSpPr>
          <p:cNvPr id="3" name="Content Placeholder 2">
            <a:extLst>
              <a:ext uri="{FF2B5EF4-FFF2-40B4-BE49-F238E27FC236}">
                <a16:creationId xmlns:a16="http://schemas.microsoft.com/office/drawing/2014/main" id="{D4F0A585-0B49-422D-8CCC-476EC9B70BF6}"/>
              </a:ext>
            </a:extLst>
          </p:cNvPr>
          <p:cNvSpPr>
            <a:spLocks noGrp="1"/>
          </p:cNvSpPr>
          <p:nvPr>
            <p:ph sz="half" idx="1"/>
          </p:nvPr>
        </p:nvSpPr>
        <p:spPr>
          <a:xfrm>
            <a:off x="92836" y="596105"/>
            <a:ext cx="8946462" cy="3200400"/>
          </a:xfrm>
        </p:spPr>
        <p:txBody>
          <a:bodyPr>
            <a:normAutofit/>
          </a:bodyPr>
          <a:lstStyle/>
          <a:p>
            <a:r>
              <a:rPr lang="en-US" sz="1200" dirty="0"/>
              <a:t>In a random sample of 200 students, the mean math SAT score is 550. In this case, the sample is the 200 students, while the population is all test takers in the </a:t>
            </a:r>
            <a:r>
              <a:rPr lang="en-US" sz="1200" dirty="0" err="1"/>
              <a:t>region.The</a:t>
            </a:r>
            <a:r>
              <a:rPr lang="en-US" sz="1200" dirty="0"/>
              <a:t> standard deviation of the math scores is 180. This number reflects on average how much each score differs from the sample mean score of 550.The standard error of the math scores, on the other hand, tells you how much the sample mean score of 550 differs from other sample mean scores, in samples of equal size, in the population of all test takers in the region.</a:t>
            </a:r>
          </a:p>
        </p:txBody>
      </p:sp>
      <p:sp>
        <p:nvSpPr>
          <p:cNvPr id="8" name="TextBox 7">
            <a:extLst>
              <a:ext uri="{FF2B5EF4-FFF2-40B4-BE49-F238E27FC236}">
                <a16:creationId xmlns:a16="http://schemas.microsoft.com/office/drawing/2014/main" id="{E18FA4E6-6235-41B6-87B8-6A8BB56ECD06}"/>
              </a:ext>
            </a:extLst>
          </p:cNvPr>
          <p:cNvSpPr txBox="1"/>
          <p:nvPr/>
        </p:nvSpPr>
        <p:spPr>
          <a:xfrm>
            <a:off x="202424" y="1519654"/>
            <a:ext cx="8257521" cy="3231654"/>
          </a:xfrm>
          <a:prstGeom prst="rect">
            <a:avLst/>
          </a:prstGeom>
          <a:noFill/>
        </p:spPr>
        <p:txBody>
          <a:bodyPr wrap="square" rtlCol="0">
            <a:spAutoFit/>
          </a:bodyPr>
          <a:lstStyle/>
          <a:p>
            <a:pPr>
              <a:spcBef>
                <a:spcPts val="0"/>
              </a:spcBef>
              <a:spcAft>
                <a:spcPts val="0"/>
              </a:spcAft>
              <a:buClr>
                <a:schemeClr val="bg1"/>
              </a:buClr>
            </a:pPr>
            <a:r>
              <a:rPr lang="en-US" sz="1200" dirty="0">
                <a:solidFill>
                  <a:schemeClr val="bg2"/>
                </a:solidFill>
                <a:latin typeface="+mn-lt"/>
              </a:rPr>
              <a:t>Example: Using the standard error formula, to estimate the standard error for math SAT scores, you follow two steps.</a:t>
            </a:r>
          </a:p>
          <a:p>
            <a:pPr>
              <a:spcBef>
                <a:spcPts val="0"/>
              </a:spcBef>
              <a:spcAft>
                <a:spcPts val="0"/>
              </a:spcAft>
              <a:buClr>
                <a:schemeClr val="bg1"/>
              </a:buClr>
            </a:pPr>
            <a:endParaRPr lang="en-US" sz="1200" dirty="0">
              <a:solidFill>
                <a:schemeClr val="bg2"/>
              </a:solidFill>
              <a:latin typeface="+mn-lt"/>
            </a:endParaRPr>
          </a:p>
          <a:p>
            <a:pPr>
              <a:spcBef>
                <a:spcPts val="0"/>
              </a:spcBef>
              <a:spcAft>
                <a:spcPts val="0"/>
              </a:spcAft>
              <a:buClr>
                <a:schemeClr val="bg1"/>
              </a:buClr>
            </a:pPr>
            <a:r>
              <a:rPr lang="en-US" sz="1200" b="1" i="1" dirty="0">
                <a:solidFill>
                  <a:schemeClr val="bg2"/>
                </a:solidFill>
                <a:latin typeface="+mn-lt"/>
              </a:rPr>
              <a:t>First, find the square root of your sample size (n).</a:t>
            </a:r>
          </a:p>
          <a:p>
            <a:pPr>
              <a:spcBef>
                <a:spcPts val="0"/>
              </a:spcBef>
              <a:spcAft>
                <a:spcPts val="0"/>
              </a:spcAft>
              <a:buClr>
                <a:schemeClr val="bg1"/>
              </a:buClr>
            </a:pPr>
            <a:endParaRPr lang="en-US" sz="1200" dirty="0">
              <a:solidFill>
                <a:schemeClr val="bg2"/>
              </a:solidFill>
              <a:latin typeface="+mn-lt"/>
            </a:endParaRPr>
          </a:p>
          <a:p>
            <a:pPr>
              <a:spcBef>
                <a:spcPts val="0"/>
              </a:spcBef>
              <a:spcAft>
                <a:spcPts val="0"/>
              </a:spcAft>
              <a:buClr>
                <a:schemeClr val="bg1"/>
              </a:buClr>
            </a:pPr>
            <a:r>
              <a:rPr lang="en-US" sz="1200" dirty="0">
                <a:solidFill>
                  <a:schemeClr val="bg2"/>
                </a:solidFill>
                <a:latin typeface="+mn-lt"/>
              </a:rPr>
              <a:t>Formula		Calculation</a:t>
            </a:r>
          </a:p>
          <a:p>
            <a:pPr>
              <a:spcBef>
                <a:spcPts val="0"/>
              </a:spcBef>
              <a:spcAft>
                <a:spcPts val="0"/>
              </a:spcAft>
              <a:buClr>
                <a:schemeClr val="bg1"/>
              </a:buClr>
            </a:pPr>
            <a:r>
              <a:rPr lang="en-US" sz="1200" dirty="0">
                <a:solidFill>
                  <a:schemeClr val="bg2"/>
                </a:solidFill>
                <a:latin typeface="+mn-lt"/>
              </a:rPr>
              <a:t>√n		n = 200</a:t>
            </a:r>
          </a:p>
          <a:p>
            <a:pPr>
              <a:spcBef>
                <a:spcPts val="0"/>
              </a:spcBef>
              <a:spcAft>
                <a:spcPts val="0"/>
              </a:spcAft>
              <a:buClr>
                <a:schemeClr val="bg1"/>
              </a:buClr>
            </a:pPr>
            <a:r>
              <a:rPr lang="en-US" sz="1200" dirty="0">
                <a:solidFill>
                  <a:schemeClr val="bg2"/>
                </a:solidFill>
                <a:latin typeface="+mn-lt"/>
              </a:rPr>
              <a:t>√n = 		√200 = 14.1</a:t>
            </a:r>
          </a:p>
          <a:p>
            <a:pPr>
              <a:spcBef>
                <a:spcPts val="0"/>
              </a:spcBef>
              <a:spcAft>
                <a:spcPts val="0"/>
              </a:spcAft>
              <a:buClr>
                <a:schemeClr val="bg1"/>
              </a:buClr>
            </a:pPr>
            <a:endParaRPr lang="en-US" sz="1200" dirty="0">
              <a:solidFill>
                <a:schemeClr val="bg2"/>
              </a:solidFill>
              <a:latin typeface="+mn-lt"/>
            </a:endParaRPr>
          </a:p>
          <a:p>
            <a:pPr>
              <a:spcBef>
                <a:spcPts val="0"/>
              </a:spcBef>
              <a:spcAft>
                <a:spcPts val="0"/>
              </a:spcAft>
              <a:buClr>
                <a:schemeClr val="bg1"/>
              </a:buClr>
            </a:pPr>
            <a:r>
              <a:rPr lang="en-US" sz="1200" b="1" i="1" dirty="0">
                <a:solidFill>
                  <a:schemeClr val="bg2"/>
                </a:solidFill>
                <a:latin typeface="+mn-lt"/>
              </a:rPr>
              <a:t>Next, divide the sample standard deviation by the number you found in step one.</a:t>
            </a:r>
          </a:p>
          <a:p>
            <a:pPr>
              <a:spcBef>
                <a:spcPts val="0"/>
              </a:spcBef>
              <a:spcAft>
                <a:spcPts val="0"/>
              </a:spcAft>
              <a:buClr>
                <a:schemeClr val="bg1"/>
              </a:buClr>
            </a:pPr>
            <a:endParaRPr lang="en-US" sz="1200" dirty="0">
              <a:solidFill>
                <a:schemeClr val="bg2"/>
              </a:solidFill>
              <a:latin typeface="+mn-lt"/>
            </a:endParaRPr>
          </a:p>
          <a:p>
            <a:pPr>
              <a:spcBef>
                <a:spcPts val="0"/>
              </a:spcBef>
              <a:spcAft>
                <a:spcPts val="0"/>
              </a:spcAft>
              <a:buClr>
                <a:schemeClr val="bg1"/>
              </a:buClr>
            </a:pPr>
            <a:r>
              <a:rPr lang="en-US" sz="1200" dirty="0">
                <a:solidFill>
                  <a:schemeClr val="bg2"/>
                </a:solidFill>
                <a:latin typeface="+mn-lt"/>
              </a:rPr>
              <a:t>Formula		Calculation</a:t>
            </a:r>
          </a:p>
          <a:p>
            <a:pPr>
              <a:spcBef>
                <a:spcPts val="0"/>
              </a:spcBef>
              <a:spcAft>
                <a:spcPts val="0"/>
              </a:spcAft>
              <a:buClr>
                <a:schemeClr val="bg1"/>
              </a:buClr>
            </a:pPr>
            <a:r>
              <a:rPr lang="en-US" sz="1200" dirty="0">
                <a:solidFill>
                  <a:schemeClr val="bg2"/>
                </a:solidFill>
                <a:latin typeface="+mn-lt"/>
              </a:rPr>
              <a:t>SE = s / √n		s = 180</a:t>
            </a:r>
          </a:p>
          <a:p>
            <a:pPr>
              <a:spcBef>
                <a:spcPts val="0"/>
              </a:spcBef>
              <a:spcAft>
                <a:spcPts val="0"/>
              </a:spcAft>
              <a:buClr>
                <a:schemeClr val="bg1"/>
              </a:buClr>
            </a:pPr>
            <a:r>
              <a:rPr lang="en-US" sz="1200" dirty="0">
                <a:solidFill>
                  <a:schemeClr val="bg2"/>
                </a:solidFill>
                <a:latin typeface="+mn-lt"/>
              </a:rPr>
              <a:t>		√n = 14.1</a:t>
            </a:r>
          </a:p>
          <a:p>
            <a:pPr>
              <a:spcBef>
                <a:spcPts val="0"/>
              </a:spcBef>
              <a:spcAft>
                <a:spcPts val="0"/>
              </a:spcAft>
              <a:buClr>
                <a:schemeClr val="bg1"/>
              </a:buClr>
            </a:pPr>
            <a:endParaRPr lang="en-US" sz="1200" dirty="0">
              <a:solidFill>
                <a:schemeClr val="bg2"/>
              </a:solidFill>
              <a:latin typeface="+mn-lt"/>
            </a:endParaRPr>
          </a:p>
          <a:p>
            <a:pPr>
              <a:spcBef>
                <a:spcPts val="0"/>
              </a:spcBef>
              <a:spcAft>
                <a:spcPts val="0"/>
              </a:spcAft>
              <a:buClr>
                <a:schemeClr val="bg1"/>
              </a:buClr>
            </a:pPr>
            <a:r>
              <a:rPr lang="en-US" sz="1200" dirty="0">
                <a:solidFill>
                  <a:schemeClr val="bg2"/>
                </a:solidFill>
                <a:latin typeface="+mn-lt"/>
              </a:rPr>
              <a:t>s ÷ √n = 180 ÷ 14.1 = 12.8</a:t>
            </a:r>
          </a:p>
          <a:p>
            <a:pPr>
              <a:spcBef>
                <a:spcPts val="0"/>
              </a:spcBef>
              <a:spcAft>
                <a:spcPts val="0"/>
              </a:spcAft>
              <a:buClr>
                <a:schemeClr val="bg1"/>
              </a:buClr>
            </a:pPr>
            <a:endParaRPr lang="en-US" sz="1200" dirty="0">
              <a:solidFill>
                <a:schemeClr val="bg2"/>
              </a:solidFill>
              <a:latin typeface="+mn-lt"/>
            </a:endParaRPr>
          </a:p>
          <a:p>
            <a:pPr>
              <a:spcBef>
                <a:spcPts val="0"/>
              </a:spcBef>
              <a:spcAft>
                <a:spcPts val="0"/>
              </a:spcAft>
              <a:buClr>
                <a:schemeClr val="bg1"/>
              </a:buClr>
            </a:pPr>
            <a:r>
              <a:rPr lang="en-US" sz="1200" b="1" dirty="0">
                <a:solidFill>
                  <a:schemeClr val="bg2"/>
                </a:solidFill>
                <a:latin typeface="+mn-lt"/>
              </a:rPr>
              <a:t> The standard error of math SAT scores is 12.8.</a:t>
            </a:r>
            <a:endParaRPr lang="en-US" sz="1400" b="1" dirty="0">
              <a:solidFill>
                <a:schemeClr val="bg2"/>
              </a:solidFill>
              <a:latin typeface="+mn-lt"/>
            </a:endParaRPr>
          </a:p>
        </p:txBody>
      </p:sp>
    </p:spTree>
    <p:extLst>
      <p:ext uri="{BB962C8B-B14F-4D97-AF65-F5344CB8AC3E}">
        <p14:creationId xmlns:p14="http://schemas.microsoft.com/office/powerpoint/2010/main" val="1623118111"/>
      </p:ext>
    </p:extLst>
  </p:cSld>
  <p:clrMapOvr>
    <a:masterClrMapping/>
  </p:clrMapOvr>
  <p:transition spd="med">
    <p:wipe dir="r"/>
  </p:transition>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44742-A8FE-48D1-B0F5-33B9C80BD3E0}"/>
              </a:ext>
            </a:extLst>
          </p:cNvPr>
          <p:cNvSpPr>
            <a:spLocks noGrp="1"/>
          </p:cNvSpPr>
          <p:nvPr>
            <p:ph type="title"/>
          </p:nvPr>
        </p:nvSpPr>
        <p:spPr>
          <a:xfrm>
            <a:off x="0" y="0"/>
            <a:ext cx="8229600" cy="637794"/>
          </a:xfrm>
        </p:spPr>
        <p:txBody>
          <a:bodyPr/>
          <a:lstStyle/>
          <a:p>
            <a:r>
              <a:rPr lang="en-US" dirty="0"/>
              <a:t>Standard Scores</a:t>
            </a:r>
          </a:p>
        </p:txBody>
      </p:sp>
      <p:sp>
        <p:nvSpPr>
          <p:cNvPr id="3" name="TextBox 2">
            <a:extLst>
              <a:ext uri="{FF2B5EF4-FFF2-40B4-BE49-F238E27FC236}">
                <a16:creationId xmlns:a16="http://schemas.microsoft.com/office/drawing/2014/main" id="{1382A0D9-8E0E-49AF-A81E-071AA870D57B}"/>
              </a:ext>
            </a:extLst>
          </p:cNvPr>
          <p:cNvSpPr txBox="1"/>
          <p:nvPr/>
        </p:nvSpPr>
        <p:spPr>
          <a:xfrm>
            <a:off x="111683" y="637794"/>
            <a:ext cx="8229600" cy="430887"/>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333333"/>
                </a:solidFill>
                <a:effectLst/>
                <a:latin typeface="Verdana" panose="020B0604030504040204" pitchFamily="34" charset="0"/>
              </a:rPr>
              <a:t>The number of </a:t>
            </a:r>
            <a:r>
              <a:rPr lang="en-US" sz="1100" b="1" i="0" dirty="0">
                <a:solidFill>
                  <a:srgbClr val="333333"/>
                </a:solidFill>
                <a:effectLst/>
                <a:latin typeface="Verdana" panose="020B0604030504040204" pitchFamily="34" charset="0"/>
              </a:rPr>
              <a:t>standard deviations from the mean</a:t>
            </a:r>
            <a:r>
              <a:rPr lang="en-US" sz="1100" b="0" i="0" dirty="0">
                <a:solidFill>
                  <a:srgbClr val="333333"/>
                </a:solidFill>
                <a:effectLst/>
                <a:latin typeface="Verdana" panose="020B0604030504040204" pitchFamily="34" charset="0"/>
              </a:rPr>
              <a:t> is also called the "Standard Score", "sigma" or "z-score". Get used to those words!</a:t>
            </a:r>
            <a:endParaRPr lang="en-US" sz="1400" dirty="0">
              <a:solidFill>
                <a:schemeClr val="bg2"/>
              </a:solidFill>
              <a:latin typeface="+mn-lt"/>
            </a:endParaRPr>
          </a:p>
        </p:txBody>
      </p:sp>
      <p:sp>
        <p:nvSpPr>
          <p:cNvPr id="4" name="TextBox 3">
            <a:extLst>
              <a:ext uri="{FF2B5EF4-FFF2-40B4-BE49-F238E27FC236}">
                <a16:creationId xmlns:a16="http://schemas.microsoft.com/office/drawing/2014/main" id="{D2AB4E56-192B-4B0B-90DE-64CE5E638505}"/>
              </a:ext>
            </a:extLst>
          </p:cNvPr>
          <p:cNvSpPr txBox="1"/>
          <p:nvPr/>
        </p:nvSpPr>
        <p:spPr>
          <a:xfrm>
            <a:off x="390889" y="1369349"/>
            <a:ext cx="5325856" cy="2569934"/>
          </a:xfrm>
          <a:prstGeom prst="rect">
            <a:avLst/>
          </a:prstGeom>
          <a:noFill/>
        </p:spPr>
        <p:txBody>
          <a:bodyPr wrap="square" rtlCol="0">
            <a:spAutoFit/>
          </a:bodyPr>
          <a:lstStyle/>
          <a:p>
            <a:r>
              <a:rPr lang="en-US" sz="1000" b="0" i="0" dirty="0">
                <a:effectLst/>
                <a:latin typeface="Verdana" panose="020B0604030504040204" pitchFamily="34" charset="0"/>
              </a:rPr>
              <a:t>Example: In that same school one of your friends is 1.85m tall</a:t>
            </a:r>
          </a:p>
          <a:p>
            <a:pPr algn="l"/>
            <a:endParaRPr lang="en-US" sz="1100" b="0" i="0" dirty="0">
              <a:solidFill>
                <a:srgbClr val="333333"/>
              </a:solidFill>
              <a:effectLst/>
              <a:latin typeface="Verdana" panose="020B0604030504040204" pitchFamily="34" charset="0"/>
            </a:endParaRPr>
          </a:p>
          <a:p>
            <a:pPr algn="l"/>
            <a:endParaRPr lang="en-US" sz="1100" dirty="0">
              <a:solidFill>
                <a:srgbClr val="333333"/>
              </a:solidFill>
              <a:latin typeface="Verdana" panose="020B0604030504040204" pitchFamily="34" charset="0"/>
            </a:endParaRPr>
          </a:p>
          <a:p>
            <a:pPr algn="l"/>
            <a:r>
              <a:rPr lang="en-US" sz="1100" b="0" i="0" dirty="0">
                <a:solidFill>
                  <a:srgbClr val="333333"/>
                </a:solidFill>
                <a:effectLst/>
                <a:latin typeface="Verdana" panose="020B0604030504040204" pitchFamily="34" charset="0"/>
              </a:rPr>
              <a:t>You can see on the bell curve that 1.85m is </a:t>
            </a:r>
            <a:r>
              <a:rPr lang="en-US" sz="1100" b="1" i="0" dirty="0">
                <a:solidFill>
                  <a:srgbClr val="333333"/>
                </a:solidFill>
                <a:effectLst/>
                <a:latin typeface="Verdana" panose="020B0604030504040204" pitchFamily="34" charset="0"/>
              </a:rPr>
              <a:t>3 standard deviations</a:t>
            </a:r>
            <a:r>
              <a:rPr lang="en-US" sz="1100" b="0" i="0" dirty="0">
                <a:solidFill>
                  <a:srgbClr val="333333"/>
                </a:solidFill>
                <a:effectLst/>
                <a:latin typeface="Verdana" panose="020B0604030504040204" pitchFamily="34" charset="0"/>
              </a:rPr>
              <a:t> from the mean of 1.4, so:</a:t>
            </a:r>
          </a:p>
          <a:p>
            <a:pPr algn="l"/>
            <a:r>
              <a:rPr lang="en-US" sz="1100" b="0" i="0" dirty="0">
                <a:effectLst/>
                <a:latin typeface="Verdana" panose="020B0604030504040204" pitchFamily="34" charset="0"/>
              </a:rPr>
              <a:t>Your friend's height has a "z-score" of 3.0</a:t>
            </a:r>
          </a:p>
          <a:p>
            <a:pPr algn="l"/>
            <a:endParaRPr lang="en-US" sz="1100" dirty="0">
              <a:latin typeface="Verdana" panose="020B0604030504040204" pitchFamily="34" charset="0"/>
            </a:endParaRPr>
          </a:p>
          <a:p>
            <a:pPr algn="l"/>
            <a:r>
              <a:rPr lang="en-US" sz="1000" b="0" i="0" dirty="0">
                <a:solidFill>
                  <a:srgbClr val="333333"/>
                </a:solidFill>
                <a:effectLst/>
                <a:latin typeface="Verdana" panose="020B0604030504040204" pitchFamily="34" charset="0"/>
              </a:rPr>
              <a:t>It is also possible to </a:t>
            </a:r>
            <a:r>
              <a:rPr lang="en-US" sz="1000" b="1" i="0" dirty="0">
                <a:solidFill>
                  <a:srgbClr val="333333"/>
                </a:solidFill>
                <a:effectLst/>
                <a:latin typeface="Verdana" panose="020B0604030504040204" pitchFamily="34" charset="0"/>
              </a:rPr>
              <a:t>calculate</a:t>
            </a:r>
            <a:r>
              <a:rPr lang="en-US" sz="1000" b="0" i="0" dirty="0">
                <a:solidFill>
                  <a:srgbClr val="333333"/>
                </a:solidFill>
                <a:effectLst/>
                <a:latin typeface="Verdana" panose="020B0604030504040204" pitchFamily="34" charset="0"/>
              </a:rPr>
              <a:t> how many standard deviations 1.85 is from the mean</a:t>
            </a:r>
          </a:p>
          <a:p>
            <a:pPr algn="l"/>
            <a:r>
              <a:rPr lang="en-US" sz="1000" b="0" i="1" dirty="0">
                <a:solidFill>
                  <a:srgbClr val="333333"/>
                </a:solidFill>
                <a:effectLst/>
                <a:latin typeface="Verdana" panose="020B0604030504040204" pitchFamily="34" charset="0"/>
              </a:rPr>
              <a:t>How far is 1.85 from the mean?</a:t>
            </a:r>
            <a:endParaRPr lang="en-US" sz="1000" b="0" i="0" dirty="0">
              <a:solidFill>
                <a:srgbClr val="333333"/>
              </a:solidFill>
              <a:effectLst/>
              <a:latin typeface="Verdana" panose="020B0604030504040204" pitchFamily="34" charset="0"/>
            </a:endParaRPr>
          </a:p>
          <a:p>
            <a:pPr algn="ctr"/>
            <a:r>
              <a:rPr lang="en-US" sz="1000" b="0" i="0" dirty="0">
                <a:solidFill>
                  <a:srgbClr val="333333"/>
                </a:solidFill>
                <a:effectLst/>
                <a:latin typeface="Verdana" panose="020B0604030504040204" pitchFamily="34" charset="0"/>
              </a:rPr>
              <a:t>It is 1.85 - 1.4 =</a:t>
            </a:r>
            <a:r>
              <a:rPr lang="en-US" sz="1000" b="1" i="0" dirty="0">
                <a:solidFill>
                  <a:srgbClr val="333333"/>
                </a:solidFill>
                <a:effectLst/>
                <a:latin typeface="Verdana" panose="020B0604030504040204" pitchFamily="34" charset="0"/>
              </a:rPr>
              <a:t> 0.45m from the mean</a:t>
            </a:r>
            <a:endParaRPr lang="en-US" sz="1000" b="0" i="0" dirty="0">
              <a:solidFill>
                <a:srgbClr val="333333"/>
              </a:solidFill>
              <a:effectLst/>
              <a:latin typeface="Verdana" panose="020B0604030504040204" pitchFamily="34" charset="0"/>
            </a:endParaRPr>
          </a:p>
          <a:p>
            <a:pPr algn="l"/>
            <a:r>
              <a:rPr lang="en-US" sz="1000" b="0" i="1" dirty="0">
                <a:solidFill>
                  <a:srgbClr val="333333"/>
                </a:solidFill>
                <a:effectLst/>
                <a:latin typeface="Verdana" panose="020B0604030504040204" pitchFamily="34" charset="0"/>
              </a:rPr>
              <a:t>How many standard deviations is that?</a:t>
            </a:r>
            <a:r>
              <a:rPr lang="en-US" sz="1000" b="0" i="0" dirty="0">
                <a:solidFill>
                  <a:srgbClr val="333333"/>
                </a:solidFill>
                <a:effectLst/>
                <a:latin typeface="Verdana" panose="020B0604030504040204" pitchFamily="34" charset="0"/>
              </a:rPr>
              <a:t> The standard deviation is 0.15m, so:</a:t>
            </a:r>
          </a:p>
          <a:p>
            <a:pPr algn="ctr"/>
            <a:r>
              <a:rPr lang="en-US" sz="1000" b="0" i="0" dirty="0">
                <a:solidFill>
                  <a:srgbClr val="333333"/>
                </a:solidFill>
                <a:effectLst/>
                <a:latin typeface="Verdana" panose="020B0604030504040204" pitchFamily="34" charset="0"/>
              </a:rPr>
              <a:t>0.45m / 0.15m = </a:t>
            </a:r>
            <a:r>
              <a:rPr lang="en-US" sz="1000" b="1" i="0" dirty="0">
                <a:solidFill>
                  <a:srgbClr val="333333"/>
                </a:solidFill>
                <a:effectLst/>
                <a:latin typeface="Verdana" panose="020B0604030504040204" pitchFamily="34" charset="0"/>
              </a:rPr>
              <a:t>3 standard deviations</a:t>
            </a:r>
            <a:endParaRPr lang="en-US" sz="1000" b="0" i="0" dirty="0">
              <a:solidFill>
                <a:srgbClr val="333333"/>
              </a:solidFill>
              <a:effectLst/>
              <a:latin typeface="Verdana" panose="020B0604030504040204" pitchFamily="34" charset="0"/>
            </a:endParaRPr>
          </a:p>
          <a:p>
            <a:pPr algn="l"/>
            <a:endParaRPr lang="en-US" sz="1100" b="0" i="0" dirty="0">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8" name="Picture 7">
            <a:extLst>
              <a:ext uri="{FF2B5EF4-FFF2-40B4-BE49-F238E27FC236}">
                <a16:creationId xmlns:a16="http://schemas.microsoft.com/office/drawing/2014/main" id="{BE687A7F-C8C5-4F8A-9549-1205CA7E2E35}"/>
              </a:ext>
            </a:extLst>
          </p:cNvPr>
          <p:cNvPicPr>
            <a:picLocks noChangeAspect="1"/>
          </p:cNvPicPr>
          <p:nvPr/>
        </p:nvPicPr>
        <p:blipFill>
          <a:blip r:embed="rId2"/>
          <a:stretch>
            <a:fillRect/>
          </a:stretch>
        </p:blipFill>
        <p:spPr>
          <a:xfrm>
            <a:off x="5716745" y="1536946"/>
            <a:ext cx="3236816" cy="1834468"/>
          </a:xfrm>
          <a:prstGeom prst="rect">
            <a:avLst/>
          </a:prstGeom>
        </p:spPr>
      </p:pic>
    </p:spTree>
    <p:extLst>
      <p:ext uri="{BB962C8B-B14F-4D97-AF65-F5344CB8AC3E}">
        <p14:creationId xmlns:p14="http://schemas.microsoft.com/office/powerpoint/2010/main" val="1470245886"/>
      </p:ext>
    </p:extLst>
  </p:cSld>
  <p:clrMapOvr>
    <a:masterClrMapping/>
  </p:clrMapOvr>
  <p:transition spd="med">
    <p:wipe dir="r"/>
  </p:transition>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48617-4EA4-4ED9-A1E7-F427CF8F3003}"/>
              </a:ext>
            </a:extLst>
          </p:cNvPr>
          <p:cNvSpPr>
            <a:spLocks noGrp="1"/>
          </p:cNvSpPr>
          <p:nvPr>
            <p:ph type="title"/>
          </p:nvPr>
        </p:nvSpPr>
        <p:spPr>
          <a:xfrm>
            <a:off x="273050" y="271463"/>
            <a:ext cx="8368379" cy="640080"/>
          </a:xfrm>
        </p:spPr>
        <p:txBody>
          <a:bodyPr/>
          <a:lstStyle/>
          <a:p>
            <a:r>
              <a:rPr lang="en-US" dirty="0"/>
              <a:t>Pearson correlation coefficient</a:t>
            </a:r>
          </a:p>
        </p:txBody>
      </p:sp>
      <p:sp>
        <p:nvSpPr>
          <p:cNvPr id="3" name="Content Placeholder 2">
            <a:extLst>
              <a:ext uri="{FF2B5EF4-FFF2-40B4-BE49-F238E27FC236}">
                <a16:creationId xmlns:a16="http://schemas.microsoft.com/office/drawing/2014/main" id="{D5FE213E-7748-4626-89C1-2D3F49089703}"/>
              </a:ext>
            </a:extLst>
          </p:cNvPr>
          <p:cNvSpPr>
            <a:spLocks noGrp="1"/>
          </p:cNvSpPr>
          <p:nvPr>
            <p:ph sz="half" idx="13"/>
          </p:nvPr>
        </p:nvSpPr>
        <p:spPr>
          <a:xfrm>
            <a:off x="392982" y="1280160"/>
            <a:ext cx="7208404" cy="3200400"/>
          </a:xfrm>
        </p:spPr>
        <p:txBody>
          <a:bodyPr/>
          <a:lstStyle/>
          <a:p>
            <a:endParaRPr lang="en-US"/>
          </a:p>
        </p:txBody>
      </p:sp>
      <p:sp>
        <p:nvSpPr>
          <p:cNvPr id="4" name="Rectangle 3">
            <a:extLst>
              <a:ext uri="{FF2B5EF4-FFF2-40B4-BE49-F238E27FC236}">
                <a16:creationId xmlns:a16="http://schemas.microsoft.com/office/drawing/2014/main" id="{B7C4AC54-704D-484F-BF11-3378C8CC80F2}"/>
              </a:ext>
            </a:extLst>
          </p:cNvPr>
          <p:cNvSpPr/>
          <p:nvPr/>
        </p:nvSpPr>
        <p:spPr>
          <a:xfrm>
            <a:off x="1591475" y="1835780"/>
            <a:ext cx="4683682" cy="1940483"/>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Move to Back up</a:t>
            </a:r>
          </a:p>
        </p:txBody>
      </p:sp>
    </p:spTree>
    <p:extLst>
      <p:ext uri="{BB962C8B-B14F-4D97-AF65-F5344CB8AC3E}">
        <p14:creationId xmlns:p14="http://schemas.microsoft.com/office/powerpoint/2010/main" val="3936757074"/>
      </p:ext>
    </p:extLst>
  </p:cSld>
  <p:clrMapOvr>
    <a:masterClrMapping/>
  </p:clrMapOvr>
  <p:transition spd="med">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18BCBB9-C3AC-40C5-95B3-3E911B1A5E73}"/>
              </a:ext>
            </a:extLst>
          </p:cNvPr>
          <p:cNvSpPr>
            <a:spLocks noGrp="1"/>
          </p:cNvSpPr>
          <p:nvPr>
            <p:ph type="title"/>
          </p:nvPr>
        </p:nvSpPr>
        <p:spPr>
          <a:xfrm>
            <a:off x="0" y="0"/>
            <a:ext cx="8963626" cy="640080"/>
          </a:xfrm>
        </p:spPr>
        <p:txBody>
          <a:bodyPr/>
          <a:lstStyle/>
          <a:p>
            <a:r>
              <a:rPr lang="en-US" dirty="0"/>
              <a:t>Understanding Observational Study &amp; Experiment </a:t>
            </a:r>
            <a:br>
              <a:rPr lang="en-US" dirty="0"/>
            </a:br>
            <a:r>
              <a:rPr lang="en-US" dirty="0"/>
              <a:t>					       </a:t>
            </a:r>
            <a:r>
              <a:rPr lang="en-US" dirty="0">
                <a:solidFill>
                  <a:schemeClr val="bg2">
                    <a:lumMod val="50000"/>
                    <a:lumOff val="50000"/>
                  </a:schemeClr>
                </a:solidFill>
              </a:rPr>
              <a:t>With an Example</a:t>
            </a:r>
          </a:p>
        </p:txBody>
      </p:sp>
      <p:sp>
        <p:nvSpPr>
          <p:cNvPr id="8" name="TextBox 7">
            <a:extLst>
              <a:ext uri="{FF2B5EF4-FFF2-40B4-BE49-F238E27FC236}">
                <a16:creationId xmlns:a16="http://schemas.microsoft.com/office/drawing/2014/main" id="{39BACF91-6D93-4CB5-9A9C-CEEF211954A4}"/>
              </a:ext>
            </a:extLst>
          </p:cNvPr>
          <p:cNvSpPr txBox="1"/>
          <p:nvPr/>
        </p:nvSpPr>
        <p:spPr>
          <a:xfrm>
            <a:off x="-68894" y="1190466"/>
            <a:ext cx="5749447" cy="2462213"/>
          </a:xfrm>
          <a:prstGeom prst="rect">
            <a:avLst/>
          </a:prstGeom>
          <a:noFill/>
        </p:spPr>
        <p:txBody>
          <a:bodyPr wrap="square" rtlCol="0">
            <a:spAutoFit/>
          </a:bodyPr>
          <a:lstStyle/>
          <a:p>
            <a:pPr marL="0" indent="0">
              <a:buNone/>
            </a:pPr>
            <a:r>
              <a:rPr lang="en-US" sz="1400" b="1" i="1" dirty="0">
                <a:solidFill>
                  <a:schemeClr val="accent1"/>
                </a:solidFill>
              </a:rPr>
              <a:t>Study 2 : </a:t>
            </a:r>
          </a:p>
          <a:p>
            <a:pPr marL="0" indent="0">
              <a:buNone/>
            </a:pPr>
            <a:r>
              <a:rPr lang="en-US" sz="1400" i="1" dirty="0">
                <a:solidFill>
                  <a:schemeClr val="bg2">
                    <a:lumMod val="50000"/>
                    <a:lumOff val="50000"/>
                  </a:schemeClr>
                </a:solidFill>
              </a:rPr>
              <a:t>When we compare students who study with music to students who study in a quiet environment, which group gives higher ratings for understanding what they studied?</a:t>
            </a:r>
          </a:p>
          <a:p>
            <a:pPr marL="0" indent="0">
              <a:buNone/>
            </a:pPr>
            <a:endParaRPr lang="en-US" sz="1400" i="1" dirty="0">
              <a:solidFill>
                <a:schemeClr val="bg2">
                  <a:lumMod val="50000"/>
                  <a:lumOff val="50000"/>
                </a:schemeClr>
              </a:solidFill>
              <a:latin typeface="+mn-lt"/>
            </a:endParaRPr>
          </a:p>
          <a:p>
            <a:pPr marL="0" indent="0">
              <a:buNone/>
            </a:pPr>
            <a:r>
              <a:rPr lang="en-US" sz="1000" dirty="0">
                <a:solidFill>
                  <a:schemeClr val="bg2">
                    <a:lumMod val="50000"/>
                    <a:lumOff val="50000"/>
                  </a:schemeClr>
                </a:solidFill>
                <a:latin typeface="+mn-lt"/>
              </a:rPr>
              <a:t>To investigate this question, the instructor divides the class into two groups: (1) those who listen to music when they study and (2) those who do not listen to music when they study. The students keep a journal for a week. Each time they study, they record the following information:</a:t>
            </a:r>
          </a:p>
          <a:p>
            <a:pPr marL="0" indent="0">
              <a:buNone/>
            </a:pPr>
            <a:endParaRPr lang="en-US" sz="1000" dirty="0">
              <a:solidFill>
                <a:schemeClr val="bg2">
                  <a:lumMod val="50000"/>
                  <a:lumOff val="50000"/>
                </a:schemeClr>
              </a:solidFill>
              <a:latin typeface="+mn-lt"/>
            </a:endParaRPr>
          </a:p>
          <a:p>
            <a:pPr algn="l" fontAlgn="base">
              <a:buFont typeface="Arial" panose="020B0604020202020204" pitchFamily="34" charset="0"/>
              <a:buChar char="•"/>
            </a:pPr>
            <a:r>
              <a:rPr lang="en-US" sz="1000" dirty="0">
                <a:solidFill>
                  <a:schemeClr val="bg2">
                    <a:lumMod val="50000"/>
                    <a:lumOff val="50000"/>
                  </a:schemeClr>
                </a:solidFill>
                <a:latin typeface="+mn-lt"/>
              </a:rPr>
              <a:t> Length of study session (in minutes)</a:t>
            </a:r>
          </a:p>
          <a:p>
            <a:pPr algn="l" fontAlgn="base">
              <a:buFont typeface="Arial" panose="020B0604020202020204" pitchFamily="34" charset="0"/>
              <a:buChar char="•"/>
            </a:pPr>
            <a:r>
              <a:rPr lang="en-US" sz="1000" dirty="0">
                <a:solidFill>
                  <a:schemeClr val="bg2">
                    <a:lumMod val="50000"/>
                    <a:lumOff val="50000"/>
                  </a:schemeClr>
                </a:solidFill>
                <a:latin typeface="+mn-lt"/>
              </a:rPr>
              <a:t> A rating of how well they understood what they studied, on a scale of 1–10: 1 = no understanding,    10 = excellent understanding.</a:t>
            </a:r>
          </a:p>
          <a:p>
            <a:pPr marL="0" indent="0">
              <a:buNone/>
            </a:pPr>
            <a:endParaRPr lang="en-US" sz="1400" dirty="0">
              <a:solidFill>
                <a:schemeClr val="bg2"/>
              </a:solidFill>
              <a:latin typeface="+mn-lt"/>
            </a:endParaRPr>
          </a:p>
        </p:txBody>
      </p:sp>
      <p:pic>
        <p:nvPicPr>
          <p:cNvPr id="10" name="Picture 9">
            <a:extLst>
              <a:ext uri="{FF2B5EF4-FFF2-40B4-BE49-F238E27FC236}">
                <a16:creationId xmlns:a16="http://schemas.microsoft.com/office/drawing/2014/main" id="{22D22767-FE1F-4CAD-8B74-C0E62202ACDE}"/>
              </a:ext>
            </a:extLst>
          </p:cNvPr>
          <p:cNvPicPr>
            <a:picLocks noChangeAspect="1"/>
          </p:cNvPicPr>
          <p:nvPr/>
        </p:nvPicPr>
        <p:blipFill>
          <a:blip r:embed="rId2"/>
          <a:stretch>
            <a:fillRect/>
          </a:stretch>
        </p:blipFill>
        <p:spPr>
          <a:xfrm>
            <a:off x="5680553" y="1524296"/>
            <a:ext cx="3328167" cy="2094907"/>
          </a:xfrm>
          <a:prstGeom prst="rect">
            <a:avLst/>
          </a:prstGeom>
        </p:spPr>
      </p:pic>
    </p:spTree>
    <p:extLst>
      <p:ext uri="{BB962C8B-B14F-4D97-AF65-F5344CB8AC3E}">
        <p14:creationId xmlns:p14="http://schemas.microsoft.com/office/powerpoint/2010/main" val="1317899603"/>
      </p:ext>
    </p:extLst>
  </p:cSld>
  <p:clrMapOvr>
    <a:masterClrMapping/>
  </p:clrMapOvr>
  <p:transition spd="med">
    <p:wipe dir="r"/>
  </p:transition>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C0CCC4-2C49-4DBA-A0F0-228DCA9BC968}"/>
              </a:ext>
            </a:extLst>
          </p:cNvPr>
          <p:cNvSpPr>
            <a:spLocks noGrp="1"/>
          </p:cNvSpPr>
          <p:nvPr>
            <p:ph type="title"/>
          </p:nvPr>
        </p:nvSpPr>
        <p:spPr/>
        <p:txBody>
          <a:bodyPr/>
          <a:lstStyle/>
          <a:p>
            <a:r>
              <a:rPr lang="en-US" dirty="0"/>
              <a:t>Sampling different types</a:t>
            </a:r>
          </a:p>
        </p:txBody>
      </p:sp>
      <p:sp>
        <p:nvSpPr>
          <p:cNvPr id="3" name="Content Placeholder 2">
            <a:extLst>
              <a:ext uri="{FF2B5EF4-FFF2-40B4-BE49-F238E27FC236}">
                <a16:creationId xmlns:a16="http://schemas.microsoft.com/office/drawing/2014/main" id="{C63772CA-1792-445E-939B-C9DB6594D13D}"/>
              </a:ext>
            </a:extLst>
          </p:cNvPr>
          <p:cNvSpPr>
            <a:spLocks noGrp="1"/>
          </p:cNvSpPr>
          <p:nvPr>
            <p:ph sz="half" idx="13"/>
          </p:nvPr>
        </p:nvSpPr>
        <p:spPr>
          <a:xfrm>
            <a:off x="274319" y="1280160"/>
            <a:ext cx="7955279" cy="3200400"/>
          </a:xfrm>
        </p:spPr>
        <p:txBody>
          <a:bodyPr/>
          <a:lstStyle/>
          <a:p>
            <a:endParaRPr lang="en-US" dirty="0"/>
          </a:p>
        </p:txBody>
      </p:sp>
    </p:spTree>
    <p:extLst>
      <p:ext uri="{BB962C8B-B14F-4D97-AF65-F5344CB8AC3E}">
        <p14:creationId xmlns:p14="http://schemas.microsoft.com/office/powerpoint/2010/main" val="1454838917"/>
      </p:ext>
    </p:extLst>
  </p:cSld>
  <p:clrMapOvr>
    <a:masterClrMapping/>
  </p:clrMapOvr>
  <p:transition spd="med">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B392B1B-F39D-4768-935E-054CB31A20FF}"/>
              </a:ext>
            </a:extLst>
          </p:cNvPr>
          <p:cNvSpPr>
            <a:spLocks noGrp="1"/>
          </p:cNvSpPr>
          <p:nvPr>
            <p:ph type="title"/>
          </p:nvPr>
        </p:nvSpPr>
        <p:spPr>
          <a:xfrm>
            <a:off x="0" y="0"/>
            <a:ext cx="8963626" cy="640080"/>
          </a:xfrm>
        </p:spPr>
        <p:txBody>
          <a:bodyPr/>
          <a:lstStyle/>
          <a:p>
            <a:r>
              <a:rPr lang="en-US" dirty="0"/>
              <a:t>Understanding Observational Study &amp; Experiment </a:t>
            </a:r>
            <a:br>
              <a:rPr lang="en-US" dirty="0"/>
            </a:br>
            <a:r>
              <a:rPr lang="en-US" dirty="0"/>
              <a:t>					       </a:t>
            </a:r>
            <a:r>
              <a:rPr lang="en-US" dirty="0">
                <a:solidFill>
                  <a:schemeClr val="bg2">
                    <a:lumMod val="50000"/>
                    <a:lumOff val="50000"/>
                  </a:schemeClr>
                </a:solidFill>
              </a:rPr>
              <a:t>With an Example</a:t>
            </a:r>
          </a:p>
        </p:txBody>
      </p:sp>
      <p:sp>
        <p:nvSpPr>
          <p:cNvPr id="6" name="TextBox 5">
            <a:extLst>
              <a:ext uri="{FF2B5EF4-FFF2-40B4-BE49-F238E27FC236}">
                <a16:creationId xmlns:a16="http://schemas.microsoft.com/office/drawing/2014/main" id="{DCB63690-E772-4BAF-822C-38DD0D858D8E}"/>
              </a:ext>
            </a:extLst>
          </p:cNvPr>
          <p:cNvSpPr txBox="1"/>
          <p:nvPr/>
        </p:nvSpPr>
        <p:spPr>
          <a:xfrm>
            <a:off x="43185" y="1704742"/>
            <a:ext cx="5966726" cy="1631216"/>
          </a:xfrm>
          <a:prstGeom prst="rect">
            <a:avLst/>
          </a:prstGeom>
          <a:noFill/>
        </p:spPr>
        <p:txBody>
          <a:bodyPr wrap="square" rtlCol="0">
            <a:spAutoFit/>
          </a:bodyPr>
          <a:lstStyle/>
          <a:p>
            <a:pPr marL="0" indent="0">
              <a:buNone/>
            </a:pPr>
            <a:r>
              <a:rPr lang="en-US" sz="1400" b="1" i="1" dirty="0">
                <a:solidFill>
                  <a:schemeClr val="accent1"/>
                </a:solidFill>
              </a:rPr>
              <a:t>Study 3 : </a:t>
            </a:r>
          </a:p>
          <a:p>
            <a:pPr marL="0" indent="0">
              <a:buNone/>
            </a:pPr>
            <a:r>
              <a:rPr lang="en-US" sz="1400" i="1" dirty="0">
                <a:solidFill>
                  <a:schemeClr val="bg2">
                    <a:lumMod val="50000"/>
                    <a:lumOff val="50000"/>
                  </a:schemeClr>
                </a:solidFill>
              </a:rPr>
              <a:t>Does listening to music improve students’ ability to quickly identify information?</a:t>
            </a:r>
          </a:p>
          <a:p>
            <a:pPr marL="0" indent="0">
              <a:buNone/>
            </a:pPr>
            <a:endParaRPr lang="en-US" sz="1400" i="1" dirty="0">
              <a:solidFill>
                <a:schemeClr val="bg2">
                  <a:lumMod val="50000"/>
                  <a:lumOff val="50000"/>
                </a:schemeClr>
              </a:solidFill>
              <a:latin typeface="+mn-lt"/>
            </a:endParaRPr>
          </a:p>
          <a:p>
            <a:pPr marL="0" indent="0">
              <a:buNone/>
            </a:pPr>
            <a:r>
              <a:rPr lang="en-US" sz="1000" dirty="0">
                <a:solidFill>
                  <a:schemeClr val="bg2">
                    <a:lumMod val="50000"/>
                    <a:lumOff val="50000"/>
                  </a:schemeClr>
                </a:solidFill>
                <a:latin typeface="+mn-lt"/>
              </a:rPr>
              <a:t>To investigate this question, the instructor uses word-search puzzles. She divides the class into two groups. Students on one side of the room do a word puzzle for 3 minutes while listening to music on an iPod. Students on the other side of the room do a word puzzle for 3 minutes without music. The instructor calculates the average number of words found by each group.</a:t>
            </a:r>
          </a:p>
        </p:txBody>
      </p:sp>
      <p:pic>
        <p:nvPicPr>
          <p:cNvPr id="7" name="Picture 6">
            <a:extLst>
              <a:ext uri="{FF2B5EF4-FFF2-40B4-BE49-F238E27FC236}">
                <a16:creationId xmlns:a16="http://schemas.microsoft.com/office/drawing/2014/main" id="{7313401C-CCD6-4372-B248-82C8D3522CA6}"/>
              </a:ext>
            </a:extLst>
          </p:cNvPr>
          <p:cNvPicPr>
            <a:picLocks noChangeAspect="1"/>
          </p:cNvPicPr>
          <p:nvPr/>
        </p:nvPicPr>
        <p:blipFill>
          <a:blip r:embed="rId2"/>
          <a:stretch>
            <a:fillRect/>
          </a:stretch>
        </p:blipFill>
        <p:spPr>
          <a:xfrm>
            <a:off x="6009911" y="1524296"/>
            <a:ext cx="2998809" cy="2094907"/>
          </a:xfrm>
          <a:prstGeom prst="rect">
            <a:avLst/>
          </a:prstGeom>
        </p:spPr>
      </p:pic>
    </p:spTree>
    <p:extLst>
      <p:ext uri="{BB962C8B-B14F-4D97-AF65-F5344CB8AC3E}">
        <p14:creationId xmlns:p14="http://schemas.microsoft.com/office/powerpoint/2010/main" val="4271565730"/>
      </p:ext>
    </p:extLst>
  </p:cSld>
  <p:clrMapOvr>
    <a:masterClrMapping/>
  </p:clrMapOvr>
  <p:transition spd="med">
    <p:wipe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93A03-5898-4C6C-BF44-6F13B753C34B}"/>
              </a:ext>
            </a:extLst>
          </p:cNvPr>
          <p:cNvSpPr>
            <a:spLocks noGrp="1"/>
          </p:cNvSpPr>
          <p:nvPr>
            <p:ph type="title"/>
          </p:nvPr>
        </p:nvSpPr>
        <p:spPr>
          <a:xfrm>
            <a:off x="137160" y="22860"/>
            <a:ext cx="7955280" cy="640080"/>
          </a:xfrm>
        </p:spPr>
        <p:txBody>
          <a:bodyPr/>
          <a:lstStyle/>
          <a:p>
            <a:r>
              <a:rPr lang="en-US" dirty="0"/>
              <a:t>Control Experiment – drug test example</a:t>
            </a:r>
          </a:p>
        </p:txBody>
      </p:sp>
      <p:sp>
        <p:nvSpPr>
          <p:cNvPr id="3" name="Content Placeholder 2">
            <a:extLst>
              <a:ext uri="{FF2B5EF4-FFF2-40B4-BE49-F238E27FC236}">
                <a16:creationId xmlns:a16="http://schemas.microsoft.com/office/drawing/2014/main" id="{B284F41B-5C6B-486A-A6B7-4AF38B491853}"/>
              </a:ext>
            </a:extLst>
          </p:cNvPr>
          <p:cNvSpPr>
            <a:spLocks noGrp="1"/>
          </p:cNvSpPr>
          <p:nvPr>
            <p:ph sz="half" idx="13"/>
          </p:nvPr>
        </p:nvSpPr>
        <p:spPr>
          <a:xfrm>
            <a:off x="230478" y="716489"/>
            <a:ext cx="7955279" cy="3200400"/>
          </a:xfrm>
        </p:spPr>
        <p:txBody>
          <a:bodyPr/>
          <a:lstStyle/>
          <a:p>
            <a:r>
              <a:rPr lang="en-US" dirty="0">
                <a:solidFill>
                  <a:schemeClr val="bg2">
                    <a:lumMod val="50000"/>
                    <a:lumOff val="50000"/>
                  </a:schemeClr>
                </a:solidFill>
              </a:rPr>
              <a:t>If we are studying the effectiveness of a pill, we should also compare it to a placebo. It is often the case that the act of receiving a treatment that a person believe will be beneficial with itself result in a beneficial effect. Regardless of whether the treatment is otherwise effective</a:t>
            </a:r>
          </a:p>
        </p:txBody>
      </p:sp>
      <p:pic>
        <p:nvPicPr>
          <p:cNvPr id="5" name="Picture 4" descr="A picture containing table, indoor, wooden, slice&#10;&#10;Description automatically generated">
            <a:extLst>
              <a:ext uri="{FF2B5EF4-FFF2-40B4-BE49-F238E27FC236}">
                <a16:creationId xmlns:a16="http://schemas.microsoft.com/office/drawing/2014/main" id="{2ABCDDB0-5640-4524-AB37-630EFD094CBD}"/>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194782" y="1912562"/>
            <a:ext cx="3834432" cy="2156868"/>
          </a:xfrm>
          <a:prstGeom prst="rect">
            <a:avLst/>
          </a:prstGeom>
        </p:spPr>
      </p:pic>
      <p:sp>
        <p:nvSpPr>
          <p:cNvPr id="6" name="TextBox 5">
            <a:extLst>
              <a:ext uri="{FF2B5EF4-FFF2-40B4-BE49-F238E27FC236}">
                <a16:creationId xmlns:a16="http://schemas.microsoft.com/office/drawing/2014/main" id="{DCF10603-437E-4C7A-980F-322B67C14954}"/>
              </a:ext>
            </a:extLst>
          </p:cNvPr>
          <p:cNvSpPr txBox="1"/>
          <p:nvPr/>
        </p:nvSpPr>
        <p:spPr>
          <a:xfrm>
            <a:off x="4097350" y="5245622"/>
            <a:ext cx="5046650" cy="230832"/>
          </a:xfrm>
          <a:prstGeom prst="rect">
            <a:avLst/>
          </a:prstGeom>
          <a:noFill/>
        </p:spPr>
        <p:txBody>
          <a:bodyPr wrap="square" rtlCol="0">
            <a:spAutoFit/>
          </a:bodyPr>
          <a:lstStyle/>
          <a:p>
            <a:r>
              <a:rPr lang="en-US" sz="900">
                <a:hlinkClick r:id="rId3" tooltip="http://capitalcurrent.ca/opioid-overdoses-dwarf-covid-19/"/>
              </a:rPr>
              <a:t>This Photo</a:t>
            </a:r>
            <a:r>
              <a:rPr lang="en-US" sz="900"/>
              <a:t> by Unknown Author is licensed under </a:t>
            </a:r>
            <a:r>
              <a:rPr lang="en-US" sz="900">
                <a:hlinkClick r:id="rId4" tooltip="https://creativecommons.org/licenses/by-nc-nd/3.0/"/>
              </a:rPr>
              <a:t>CC BY-NC-ND</a:t>
            </a:r>
            <a:endParaRPr lang="en-US" sz="900"/>
          </a:p>
        </p:txBody>
      </p:sp>
    </p:spTree>
    <p:extLst>
      <p:ext uri="{BB962C8B-B14F-4D97-AF65-F5344CB8AC3E}">
        <p14:creationId xmlns:p14="http://schemas.microsoft.com/office/powerpoint/2010/main" val="4145885228"/>
      </p:ext>
    </p:extLst>
  </p:cSld>
  <p:clrMapOvr>
    <a:masterClrMapping/>
  </p:clrMapOvr>
  <p:transition spd="med">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10BFA-B9A1-46D8-8A38-A0F4A1088A5A}"/>
              </a:ext>
            </a:extLst>
          </p:cNvPr>
          <p:cNvSpPr>
            <a:spLocks noGrp="1"/>
          </p:cNvSpPr>
          <p:nvPr>
            <p:ph type="title"/>
          </p:nvPr>
        </p:nvSpPr>
        <p:spPr>
          <a:xfrm>
            <a:off x="67639" y="109048"/>
            <a:ext cx="7955280" cy="640080"/>
          </a:xfrm>
        </p:spPr>
        <p:txBody>
          <a:bodyPr/>
          <a:lstStyle/>
          <a:p>
            <a:r>
              <a:rPr lang="en-US" dirty="0"/>
              <a:t>Controlled Experiment</a:t>
            </a:r>
          </a:p>
        </p:txBody>
      </p:sp>
      <p:sp>
        <p:nvSpPr>
          <p:cNvPr id="3" name="Content Placeholder 2">
            <a:extLst>
              <a:ext uri="{FF2B5EF4-FFF2-40B4-BE49-F238E27FC236}">
                <a16:creationId xmlns:a16="http://schemas.microsoft.com/office/drawing/2014/main" id="{8DB84CCF-42DD-4079-ADB2-9916B5BABF84}"/>
              </a:ext>
            </a:extLst>
          </p:cNvPr>
          <p:cNvSpPr>
            <a:spLocks noGrp="1"/>
          </p:cNvSpPr>
          <p:nvPr>
            <p:ph sz="half" idx="13"/>
          </p:nvPr>
        </p:nvSpPr>
        <p:spPr>
          <a:xfrm>
            <a:off x="67639" y="879327"/>
            <a:ext cx="8518951" cy="3200400"/>
          </a:xfrm>
        </p:spPr>
        <p:txBody>
          <a:bodyPr/>
          <a:lstStyle/>
          <a:p>
            <a:r>
              <a:rPr lang="en-US" dirty="0">
                <a:solidFill>
                  <a:schemeClr val="bg2">
                    <a:lumMod val="50000"/>
                    <a:lumOff val="50000"/>
                  </a:schemeClr>
                </a:solidFill>
              </a:rPr>
              <a:t>In a controlled experiment, we can be reasonably comfortable inferring that the treatment applied to one group but not to the other caused whatever difference we observe between the two</a:t>
            </a:r>
          </a:p>
          <a:p>
            <a:r>
              <a:rPr lang="en-US" dirty="0">
                <a:solidFill>
                  <a:schemeClr val="bg2">
                    <a:lumMod val="50000"/>
                    <a:lumOff val="50000"/>
                  </a:schemeClr>
                </a:solidFill>
              </a:rPr>
              <a:t>But other we must remember that correlation does not imply causation </a:t>
            </a:r>
          </a:p>
          <a:p>
            <a:r>
              <a:rPr lang="en-US" dirty="0">
                <a:solidFill>
                  <a:schemeClr val="bg2">
                    <a:lumMod val="50000"/>
                    <a:lumOff val="50000"/>
                  </a:schemeClr>
                </a:solidFill>
              </a:rPr>
              <a:t>Variables are correlated if they “move together”, </a:t>
            </a:r>
            <a:r>
              <a:rPr lang="en-US" dirty="0" err="1">
                <a:solidFill>
                  <a:schemeClr val="bg2">
                    <a:lumMod val="50000"/>
                    <a:lumOff val="50000"/>
                  </a:schemeClr>
                </a:solidFill>
              </a:rPr>
              <a:t>i.e</a:t>
            </a:r>
            <a:r>
              <a:rPr lang="en-US" dirty="0">
                <a:solidFill>
                  <a:schemeClr val="bg2">
                    <a:lumMod val="50000"/>
                    <a:lumOff val="50000"/>
                  </a:schemeClr>
                </a:solidFill>
              </a:rPr>
              <a:t> when one variable changes the other one trends to change as well</a:t>
            </a:r>
          </a:p>
          <a:p>
            <a:r>
              <a:rPr lang="en-US" b="1" dirty="0">
                <a:solidFill>
                  <a:schemeClr val="bg2">
                    <a:lumMod val="50000"/>
                    <a:lumOff val="50000"/>
                  </a:schemeClr>
                </a:solidFill>
              </a:rPr>
              <a:t>Ex : </a:t>
            </a:r>
          </a:p>
          <a:p>
            <a:pPr lvl="1"/>
            <a:r>
              <a:rPr lang="en-US" dirty="0">
                <a:solidFill>
                  <a:schemeClr val="bg2">
                    <a:lumMod val="50000"/>
                    <a:lumOff val="50000"/>
                  </a:schemeClr>
                </a:solidFill>
              </a:rPr>
              <a:t>Temp is related to the time of the day</a:t>
            </a:r>
          </a:p>
          <a:p>
            <a:pPr lvl="1"/>
            <a:r>
              <a:rPr lang="en-US" dirty="0">
                <a:solidFill>
                  <a:schemeClr val="bg2">
                    <a:lumMod val="50000"/>
                    <a:lumOff val="50000"/>
                  </a:schemeClr>
                </a:solidFill>
              </a:rPr>
              <a:t>Human height correlated to human weight</a:t>
            </a:r>
          </a:p>
        </p:txBody>
      </p:sp>
      <p:sp>
        <p:nvSpPr>
          <p:cNvPr id="5" name="TextBox 4">
            <a:extLst>
              <a:ext uri="{FF2B5EF4-FFF2-40B4-BE49-F238E27FC236}">
                <a16:creationId xmlns:a16="http://schemas.microsoft.com/office/drawing/2014/main" id="{5CEE9E77-FE13-4C40-8BC2-E1D5843FD82C}"/>
              </a:ext>
            </a:extLst>
          </p:cNvPr>
          <p:cNvSpPr txBox="1"/>
          <p:nvPr/>
        </p:nvSpPr>
        <p:spPr>
          <a:xfrm>
            <a:off x="67639" y="3341063"/>
            <a:ext cx="8832056"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mn-lt"/>
              </a:rPr>
              <a:t>When height increase human weight increase. When one variable change the other variable also changes. It can increase or decrease. Hence, I am using the word changes, this is called as correlation</a:t>
            </a:r>
          </a:p>
        </p:txBody>
      </p:sp>
    </p:spTree>
    <p:extLst>
      <p:ext uri="{BB962C8B-B14F-4D97-AF65-F5344CB8AC3E}">
        <p14:creationId xmlns:p14="http://schemas.microsoft.com/office/powerpoint/2010/main" val="2719943119"/>
      </p:ext>
    </p:extLst>
  </p:cSld>
  <p:clrMapOvr>
    <a:masterClrMapping/>
  </p:clrMapOvr>
  <p:transition spd="med">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40426-E2C8-4003-8D16-72F1439DEA50}"/>
              </a:ext>
            </a:extLst>
          </p:cNvPr>
          <p:cNvSpPr>
            <a:spLocks noGrp="1"/>
          </p:cNvSpPr>
          <p:nvPr>
            <p:ph type="title"/>
          </p:nvPr>
        </p:nvSpPr>
        <p:spPr>
          <a:xfrm>
            <a:off x="137160" y="104362"/>
            <a:ext cx="7955280" cy="640080"/>
          </a:xfrm>
        </p:spPr>
        <p:txBody>
          <a:bodyPr/>
          <a:lstStyle/>
          <a:p>
            <a:r>
              <a:rPr lang="en-US" dirty="0"/>
              <a:t>Correlation and Causation</a:t>
            </a:r>
          </a:p>
        </p:txBody>
      </p:sp>
      <p:sp>
        <p:nvSpPr>
          <p:cNvPr id="3" name="Content Placeholder 2">
            <a:extLst>
              <a:ext uri="{FF2B5EF4-FFF2-40B4-BE49-F238E27FC236}">
                <a16:creationId xmlns:a16="http://schemas.microsoft.com/office/drawing/2014/main" id="{56A6245D-E2DD-4B22-B2B2-507AB068A965}"/>
              </a:ext>
            </a:extLst>
          </p:cNvPr>
          <p:cNvSpPr>
            <a:spLocks noGrp="1"/>
          </p:cNvSpPr>
          <p:nvPr>
            <p:ph sz="half" idx="13"/>
          </p:nvPr>
        </p:nvSpPr>
        <p:spPr>
          <a:xfrm>
            <a:off x="137160" y="811006"/>
            <a:ext cx="8234486" cy="3200400"/>
          </a:xfrm>
        </p:spPr>
        <p:txBody>
          <a:bodyPr/>
          <a:lstStyle/>
          <a:p>
            <a:r>
              <a:rPr lang="en-US" dirty="0">
                <a:solidFill>
                  <a:schemeClr val="bg2">
                    <a:lumMod val="50000"/>
                    <a:lumOff val="50000"/>
                  </a:schemeClr>
                </a:solidFill>
              </a:rPr>
              <a:t>If changing one variable caused a change in another, they will be correlated. But the converse is not necessarily true</a:t>
            </a:r>
          </a:p>
          <a:p>
            <a:r>
              <a:rPr lang="en-US" dirty="0">
                <a:solidFill>
                  <a:schemeClr val="bg2">
                    <a:lumMod val="50000"/>
                    <a:lumOff val="50000"/>
                  </a:schemeClr>
                </a:solidFill>
              </a:rPr>
              <a:t>If two variable are correlated, it is not necessarily the case that one has caused the other to change</a:t>
            </a:r>
          </a:p>
          <a:p>
            <a:r>
              <a:rPr lang="en-US" dirty="0">
                <a:solidFill>
                  <a:schemeClr val="bg2">
                    <a:lumMod val="50000"/>
                    <a:lumOff val="50000"/>
                  </a:schemeClr>
                </a:solidFill>
              </a:rPr>
              <a:t>For instance, Marriage &amp; Income</a:t>
            </a:r>
          </a:p>
          <a:p>
            <a:pPr lvl="1"/>
            <a:r>
              <a:rPr lang="en-US" dirty="0">
                <a:solidFill>
                  <a:schemeClr val="bg2">
                    <a:lumMod val="50000"/>
                    <a:lumOff val="50000"/>
                  </a:schemeClr>
                </a:solidFill>
              </a:rPr>
              <a:t>It is said that people who are married make more money, But is it not true that more money can get people married </a:t>
            </a:r>
          </a:p>
        </p:txBody>
      </p:sp>
    </p:spTree>
    <p:extLst>
      <p:ext uri="{BB962C8B-B14F-4D97-AF65-F5344CB8AC3E}">
        <p14:creationId xmlns:p14="http://schemas.microsoft.com/office/powerpoint/2010/main" val="3561234959"/>
      </p:ext>
    </p:extLst>
  </p:cSld>
  <p:clrMapOvr>
    <a:masterClrMapping/>
  </p:clrMapOvr>
  <p:transition spd="med">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3C837C-ACCC-4FC8-BB8D-6A764353E397}"/>
              </a:ext>
            </a:extLst>
          </p:cNvPr>
          <p:cNvSpPr>
            <a:spLocks noGrp="1"/>
          </p:cNvSpPr>
          <p:nvPr>
            <p:ph type="title"/>
          </p:nvPr>
        </p:nvSpPr>
        <p:spPr>
          <a:xfrm>
            <a:off x="0" y="0"/>
            <a:ext cx="7955280" cy="640080"/>
          </a:xfrm>
        </p:spPr>
        <p:txBody>
          <a:bodyPr/>
          <a:lstStyle/>
          <a:p>
            <a:r>
              <a:rPr lang="en-US" dirty="0"/>
              <a:t>Confounding Variable</a:t>
            </a:r>
          </a:p>
        </p:txBody>
      </p:sp>
      <p:sp>
        <p:nvSpPr>
          <p:cNvPr id="3" name="Content Placeholder 2">
            <a:extLst>
              <a:ext uri="{FF2B5EF4-FFF2-40B4-BE49-F238E27FC236}">
                <a16:creationId xmlns:a16="http://schemas.microsoft.com/office/drawing/2014/main" id="{3E01CF73-0B6D-4BB3-8A14-4D46D9C0DF3D}"/>
              </a:ext>
            </a:extLst>
          </p:cNvPr>
          <p:cNvSpPr>
            <a:spLocks noGrp="1"/>
          </p:cNvSpPr>
          <p:nvPr>
            <p:ph sz="half" idx="13"/>
          </p:nvPr>
        </p:nvSpPr>
        <p:spPr>
          <a:xfrm>
            <a:off x="137160" y="640080"/>
            <a:ext cx="8418064" cy="1600549"/>
          </a:xfrm>
        </p:spPr>
        <p:txBody>
          <a:bodyPr>
            <a:normAutofit/>
          </a:bodyPr>
          <a:lstStyle/>
          <a:p>
            <a:r>
              <a:rPr lang="en-US" sz="1200" kern="1200" dirty="0">
                <a:solidFill>
                  <a:schemeClr val="bg2">
                    <a:lumMod val="50000"/>
                    <a:lumOff val="50000"/>
                  </a:schemeClr>
                </a:solidFill>
                <a:latin typeface="+mn-lt"/>
                <a:ea typeface="+mn-ea"/>
                <a:cs typeface="+mn-cs"/>
              </a:rPr>
              <a:t>Confounding variables (a.k.a. confounders or confounding factors) are a type of extraneous variable that are related to a study’s independent and dependent variables. A variable must meet two conditions to be a confounder:</a:t>
            </a:r>
          </a:p>
          <a:p>
            <a:pPr lvl="1"/>
            <a:r>
              <a:rPr lang="en-US" kern="1200" dirty="0">
                <a:solidFill>
                  <a:schemeClr val="bg2">
                    <a:lumMod val="50000"/>
                    <a:lumOff val="50000"/>
                  </a:schemeClr>
                </a:solidFill>
                <a:latin typeface="+mn-lt"/>
                <a:ea typeface="+mn-ea"/>
                <a:cs typeface="+mn-cs"/>
              </a:rPr>
              <a:t>It must be correlated with the independent variable. This may be a causal relationship, but it does not have to be.</a:t>
            </a:r>
          </a:p>
          <a:p>
            <a:pPr lvl="1"/>
            <a:r>
              <a:rPr lang="en-US" kern="1200" dirty="0">
                <a:solidFill>
                  <a:schemeClr val="bg2">
                    <a:lumMod val="50000"/>
                    <a:lumOff val="50000"/>
                  </a:schemeClr>
                </a:solidFill>
                <a:latin typeface="+mn-lt"/>
                <a:ea typeface="+mn-ea"/>
                <a:cs typeface="+mn-cs"/>
              </a:rPr>
              <a:t>It must be causally related to the dependent variable.</a:t>
            </a:r>
          </a:p>
          <a:p>
            <a:r>
              <a:rPr lang="en-US" sz="1200" kern="1200" dirty="0">
                <a:solidFill>
                  <a:schemeClr val="bg2">
                    <a:lumMod val="50000"/>
                    <a:lumOff val="50000"/>
                  </a:schemeClr>
                </a:solidFill>
                <a:latin typeface="+mn-lt"/>
                <a:ea typeface="+mn-ea"/>
                <a:cs typeface="+mn-cs"/>
              </a:rPr>
              <a:t>A variable that hides the true effect of another variable in your experiment. This can happen when another variable is closely related to a variable you are interested in, but you haven’t controlled it in your experiment.</a:t>
            </a:r>
          </a:p>
        </p:txBody>
      </p:sp>
      <p:sp>
        <p:nvSpPr>
          <p:cNvPr id="5" name="Rectangle 4">
            <a:extLst>
              <a:ext uri="{FF2B5EF4-FFF2-40B4-BE49-F238E27FC236}">
                <a16:creationId xmlns:a16="http://schemas.microsoft.com/office/drawing/2014/main" id="{05419016-60B7-41A0-8339-FA52456F977A}"/>
              </a:ext>
            </a:extLst>
          </p:cNvPr>
          <p:cNvSpPr/>
          <p:nvPr/>
        </p:nvSpPr>
        <p:spPr>
          <a:xfrm>
            <a:off x="137160" y="2135055"/>
            <a:ext cx="8418064" cy="767817"/>
          </a:xfrm>
          <a:prstGeom prst="rect">
            <a:avLst/>
          </a:prstGeom>
          <a:solidFill>
            <a:schemeClr val="tx1">
              <a:lumMod val="20000"/>
              <a:lumOff val="80000"/>
            </a:schemeClr>
          </a:solidFill>
          <a:ln w="12700" cmpd="sng">
            <a:noFill/>
          </a:ln>
          <a:effectLst/>
        </p:spPr>
        <p:txBody>
          <a:bodyPr wrap="square" lIns="182880" tIns="137160" rIns="137160" bIns="137160" rtlCol="0" anchor="ctr">
            <a:noAutofit/>
          </a:bodyPr>
          <a:lstStyle/>
          <a:p>
            <a:pPr>
              <a:lnSpc>
                <a:spcPct val="90000"/>
              </a:lnSpc>
              <a:spcBef>
                <a:spcPts val="600"/>
              </a:spcBef>
              <a:spcAft>
                <a:spcPts val="0"/>
              </a:spcAft>
            </a:pPr>
            <a:r>
              <a:rPr lang="en-US" sz="1200" dirty="0">
                <a:latin typeface="+mn-lt"/>
              </a:rPr>
              <a:t>You collect data on sunburns and ice cream consumption. You find that higher ice cream consumption is associated with a higher probability of sunburn. Does that mean ice cream consumption causes sunburn?</a:t>
            </a:r>
          </a:p>
          <a:p>
            <a:pPr>
              <a:lnSpc>
                <a:spcPct val="90000"/>
              </a:lnSpc>
              <a:spcBef>
                <a:spcPts val="600"/>
              </a:spcBef>
              <a:spcAft>
                <a:spcPts val="0"/>
              </a:spcAft>
            </a:pPr>
            <a:r>
              <a:rPr lang="en-US" sz="1200" dirty="0">
                <a:latin typeface="+mn-lt"/>
              </a:rPr>
              <a:t>Here, the confounding variable is temperature: hot temperatures cause people to both eat more ice cream and spend more time outdoors under the sun, resulting in more sunburns.</a:t>
            </a:r>
          </a:p>
        </p:txBody>
      </p:sp>
      <p:sp>
        <p:nvSpPr>
          <p:cNvPr id="6" name="Rectangle 5">
            <a:extLst>
              <a:ext uri="{FF2B5EF4-FFF2-40B4-BE49-F238E27FC236}">
                <a16:creationId xmlns:a16="http://schemas.microsoft.com/office/drawing/2014/main" id="{3D92DDC2-8FCD-45ED-B27B-D1857B405C77}"/>
              </a:ext>
            </a:extLst>
          </p:cNvPr>
          <p:cNvSpPr/>
          <p:nvPr/>
        </p:nvSpPr>
        <p:spPr>
          <a:xfrm>
            <a:off x="137160" y="2135056"/>
            <a:ext cx="135066" cy="753856"/>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pic>
        <p:nvPicPr>
          <p:cNvPr id="8" name="Picture 7">
            <a:extLst>
              <a:ext uri="{FF2B5EF4-FFF2-40B4-BE49-F238E27FC236}">
                <a16:creationId xmlns:a16="http://schemas.microsoft.com/office/drawing/2014/main" id="{E6C9A3F4-824D-4ACA-A39D-E5D996A7F2E9}"/>
              </a:ext>
            </a:extLst>
          </p:cNvPr>
          <p:cNvPicPr>
            <a:picLocks noChangeAspect="1"/>
          </p:cNvPicPr>
          <p:nvPr/>
        </p:nvPicPr>
        <p:blipFill>
          <a:blip r:embed="rId2"/>
          <a:stretch>
            <a:fillRect/>
          </a:stretch>
        </p:blipFill>
        <p:spPr>
          <a:xfrm>
            <a:off x="1948225" y="2902872"/>
            <a:ext cx="4508415" cy="2235080"/>
          </a:xfrm>
          <a:prstGeom prst="rect">
            <a:avLst/>
          </a:prstGeom>
        </p:spPr>
      </p:pic>
    </p:spTree>
    <p:extLst>
      <p:ext uri="{BB962C8B-B14F-4D97-AF65-F5344CB8AC3E}">
        <p14:creationId xmlns:p14="http://schemas.microsoft.com/office/powerpoint/2010/main" val="1334523387"/>
      </p:ext>
    </p:extLst>
  </p:cSld>
  <p:clrMapOvr>
    <a:masterClrMapping/>
  </p:clrMapOvr>
  <p:transition spd="med">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E2CF5-7F0B-4C91-B3F0-3D73FE55E935}"/>
              </a:ext>
            </a:extLst>
          </p:cNvPr>
          <p:cNvSpPr>
            <a:spLocks noGrp="1"/>
          </p:cNvSpPr>
          <p:nvPr>
            <p:ph type="title"/>
          </p:nvPr>
        </p:nvSpPr>
        <p:spPr/>
        <p:txBody>
          <a:bodyPr/>
          <a:lstStyle/>
          <a:p>
            <a:r>
              <a:rPr lang="en-US" dirty="0"/>
              <a:t>Some examples of how statistics shape our life</a:t>
            </a:r>
          </a:p>
        </p:txBody>
      </p:sp>
      <p:sp>
        <p:nvSpPr>
          <p:cNvPr id="3" name="Content Placeholder 2">
            <a:extLst>
              <a:ext uri="{FF2B5EF4-FFF2-40B4-BE49-F238E27FC236}">
                <a16:creationId xmlns:a16="http://schemas.microsoft.com/office/drawing/2014/main" id="{0E6F2195-EBAF-4B7F-9882-86101EF6A643}"/>
              </a:ext>
            </a:extLst>
          </p:cNvPr>
          <p:cNvSpPr>
            <a:spLocks noGrp="1"/>
          </p:cNvSpPr>
          <p:nvPr>
            <p:ph sz="half" idx="1"/>
          </p:nvPr>
        </p:nvSpPr>
        <p:spPr>
          <a:xfrm>
            <a:off x="274319" y="1067217"/>
            <a:ext cx="7924386" cy="3200400"/>
          </a:xfrm>
        </p:spPr>
        <p:txBody>
          <a:bodyPr/>
          <a:lstStyle/>
          <a:p>
            <a:r>
              <a:rPr lang="en-US" dirty="0">
                <a:solidFill>
                  <a:schemeClr val="bg2">
                    <a:lumMod val="50000"/>
                    <a:lumOff val="50000"/>
                  </a:schemeClr>
                </a:solidFill>
              </a:rPr>
              <a:t>Weather Forecast</a:t>
            </a:r>
          </a:p>
          <a:p>
            <a:r>
              <a:rPr lang="en-US" dirty="0">
                <a:solidFill>
                  <a:schemeClr val="bg2">
                    <a:lumMod val="50000"/>
                    <a:lumOff val="50000"/>
                  </a:schemeClr>
                </a:solidFill>
              </a:rPr>
              <a:t>Stock Markets</a:t>
            </a:r>
          </a:p>
          <a:p>
            <a:r>
              <a:rPr lang="en-US" dirty="0">
                <a:solidFill>
                  <a:schemeClr val="bg2">
                    <a:lumMod val="50000"/>
                    <a:lumOff val="50000"/>
                  </a:schemeClr>
                </a:solidFill>
              </a:rPr>
              <a:t>Predicting emergencies</a:t>
            </a:r>
          </a:p>
          <a:p>
            <a:r>
              <a:rPr lang="en-US" dirty="0">
                <a:solidFill>
                  <a:schemeClr val="bg2">
                    <a:lumMod val="50000"/>
                    <a:lumOff val="50000"/>
                  </a:schemeClr>
                </a:solidFill>
              </a:rPr>
              <a:t>Political Campaigns</a:t>
            </a:r>
          </a:p>
          <a:p>
            <a:r>
              <a:rPr lang="en-US" dirty="0">
                <a:solidFill>
                  <a:schemeClr val="bg2">
                    <a:lumMod val="50000"/>
                    <a:lumOff val="50000"/>
                  </a:schemeClr>
                </a:solidFill>
              </a:rPr>
              <a:t>Insurance</a:t>
            </a:r>
          </a:p>
          <a:p>
            <a:r>
              <a:rPr lang="en-US" dirty="0">
                <a:solidFill>
                  <a:schemeClr val="bg2">
                    <a:lumMod val="50000"/>
                    <a:lumOff val="50000"/>
                  </a:schemeClr>
                </a:solidFill>
              </a:rPr>
              <a:t>Medical Studies</a:t>
            </a:r>
          </a:p>
          <a:p>
            <a:r>
              <a:rPr lang="en-US" dirty="0">
                <a:solidFill>
                  <a:schemeClr val="bg2">
                    <a:lumMod val="50000"/>
                    <a:lumOff val="50000"/>
                  </a:schemeClr>
                </a:solidFill>
              </a:rPr>
              <a:t>Genetics</a:t>
            </a:r>
          </a:p>
          <a:p>
            <a:endParaRPr lang="en-US" dirty="0"/>
          </a:p>
          <a:p>
            <a:endParaRPr lang="en-US" dirty="0"/>
          </a:p>
        </p:txBody>
      </p:sp>
      <p:pic>
        <p:nvPicPr>
          <p:cNvPr id="5" name="Picture 4" descr="A picture containing outdoor, wave, water, nature&#10;&#10;Description automatically generated">
            <a:extLst>
              <a:ext uri="{FF2B5EF4-FFF2-40B4-BE49-F238E27FC236}">
                <a16:creationId xmlns:a16="http://schemas.microsoft.com/office/drawing/2014/main" id="{037C017C-AD27-419E-8BA5-40FE9B8B1644}"/>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783110" y="1050665"/>
            <a:ext cx="1838977" cy="1838977"/>
          </a:xfrm>
          <a:prstGeom prst="rect">
            <a:avLst/>
          </a:prstGeom>
        </p:spPr>
      </p:pic>
      <p:pic>
        <p:nvPicPr>
          <p:cNvPr id="7" name="Picture 6" descr="A picture containing text, sign&#10;&#10;Description automatically generated">
            <a:extLst>
              <a:ext uri="{FF2B5EF4-FFF2-40B4-BE49-F238E27FC236}">
                <a16:creationId xmlns:a16="http://schemas.microsoft.com/office/drawing/2014/main" id="{FC3D719A-FC4D-4456-B226-363C83621C38}"/>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6622087" y="2392516"/>
            <a:ext cx="2248422" cy="1143533"/>
          </a:xfrm>
          <a:prstGeom prst="rect">
            <a:avLst/>
          </a:prstGeom>
        </p:spPr>
      </p:pic>
      <p:pic>
        <p:nvPicPr>
          <p:cNvPr id="10" name="Picture 9" descr="A picture containing graphical user interface&#10;&#10;Description automatically generated">
            <a:extLst>
              <a:ext uri="{FF2B5EF4-FFF2-40B4-BE49-F238E27FC236}">
                <a16:creationId xmlns:a16="http://schemas.microsoft.com/office/drawing/2014/main" id="{742977D8-6CEA-45C9-9BFF-C1A34B9D06F2}"/>
              </a:ext>
            </a:extLst>
          </p:cNvPr>
          <p:cNvPicPr>
            <a:picLocks noChangeAspect="1"/>
          </p:cNvPicPr>
          <p:nvPr/>
        </p:nvPicPr>
        <p:blipFill>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6723414" y="1050665"/>
            <a:ext cx="2012777" cy="1341851"/>
          </a:xfrm>
          <a:prstGeom prst="rect">
            <a:avLst/>
          </a:prstGeom>
        </p:spPr>
      </p:pic>
      <p:pic>
        <p:nvPicPr>
          <p:cNvPr id="13" name="Picture 12" descr="A picture containing text&#10;&#10;Description automatically generated">
            <a:extLst>
              <a:ext uri="{FF2B5EF4-FFF2-40B4-BE49-F238E27FC236}">
                <a16:creationId xmlns:a16="http://schemas.microsoft.com/office/drawing/2014/main" id="{98D16ED9-0F12-4F5A-8975-608CF107F8E1}"/>
              </a:ext>
            </a:extLst>
          </p:cNvPr>
          <p:cNvPicPr>
            <a:picLocks noChangeAspect="1"/>
          </p:cNvPicPr>
          <p:nvPr/>
        </p:nvPicPr>
        <p:blipFill>
          <a:blip r:embed="rId8" cstate="print">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4783110" y="3044893"/>
            <a:ext cx="1485677" cy="1684240"/>
          </a:xfrm>
          <a:prstGeom prst="rect">
            <a:avLst/>
          </a:prstGeom>
        </p:spPr>
      </p:pic>
      <p:pic>
        <p:nvPicPr>
          <p:cNvPr id="16" name="Picture 15" descr="A picture containing sky, outdoor, people, tarmac&#10;&#10;Description automatically generated">
            <a:extLst>
              <a:ext uri="{FF2B5EF4-FFF2-40B4-BE49-F238E27FC236}">
                <a16:creationId xmlns:a16="http://schemas.microsoft.com/office/drawing/2014/main" id="{C1AA6E6E-6CBC-428E-8B65-5E4D26ECFE59}"/>
              </a:ext>
            </a:extLst>
          </p:cNvPr>
          <p:cNvPicPr>
            <a:picLocks noChangeAspect="1"/>
          </p:cNvPicPr>
          <p:nvPr/>
        </p:nvPicPr>
        <p:blipFill>
          <a:blip r:embed="rId10" cstate="print">
            <a:extLst>
              <a:ext uri="{28A0092B-C50C-407E-A947-70E740481C1C}">
                <a14:useLocalDpi xmlns:a14="http://schemas.microsoft.com/office/drawing/2010/main" val="0"/>
              </a:ext>
              <a:ext uri="{837473B0-CC2E-450A-ABE3-18F120FF3D39}">
                <a1611:picAttrSrcUrl xmlns:a1611="http://schemas.microsoft.com/office/drawing/2016/11/main" r:id="rId11"/>
              </a:ext>
            </a:extLst>
          </a:blip>
          <a:stretch>
            <a:fillRect/>
          </a:stretch>
        </p:blipFill>
        <p:spPr>
          <a:xfrm>
            <a:off x="6357532" y="3536049"/>
            <a:ext cx="1750231" cy="1168532"/>
          </a:xfrm>
          <a:prstGeom prst="rect">
            <a:avLst/>
          </a:prstGeom>
        </p:spPr>
      </p:pic>
    </p:spTree>
    <p:extLst>
      <p:ext uri="{BB962C8B-B14F-4D97-AF65-F5344CB8AC3E}">
        <p14:creationId xmlns:p14="http://schemas.microsoft.com/office/powerpoint/2010/main" val="2470375232"/>
      </p:ext>
    </p:extLst>
  </p:cSld>
  <p:clrMapOvr>
    <a:masterClrMapping/>
  </p:clrMapOvr>
  <p:transition spd="med">
    <p:wipe dir="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1D70DB-7CD4-42FE-987B-CA260299C227}"/>
              </a:ext>
            </a:extLst>
          </p:cNvPr>
          <p:cNvSpPr>
            <a:spLocks noGrp="1"/>
          </p:cNvSpPr>
          <p:nvPr>
            <p:ph type="title"/>
          </p:nvPr>
        </p:nvSpPr>
        <p:spPr>
          <a:xfrm>
            <a:off x="0" y="0"/>
            <a:ext cx="7955280" cy="640080"/>
          </a:xfrm>
        </p:spPr>
        <p:txBody>
          <a:bodyPr/>
          <a:lstStyle/>
          <a:p>
            <a:r>
              <a:rPr lang="en-US" dirty="0"/>
              <a:t>Confounding variable – another example</a:t>
            </a:r>
          </a:p>
        </p:txBody>
      </p:sp>
      <p:pic>
        <p:nvPicPr>
          <p:cNvPr id="6" name="Picture 5">
            <a:extLst>
              <a:ext uri="{FF2B5EF4-FFF2-40B4-BE49-F238E27FC236}">
                <a16:creationId xmlns:a16="http://schemas.microsoft.com/office/drawing/2014/main" id="{9FEF74AE-492F-4044-AB48-F898E20FD7C4}"/>
              </a:ext>
            </a:extLst>
          </p:cNvPr>
          <p:cNvPicPr>
            <a:picLocks noChangeAspect="1"/>
          </p:cNvPicPr>
          <p:nvPr/>
        </p:nvPicPr>
        <p:blipFill>
          <a:blip r:embed="rId2"/>
          <a:stretch>
            <a:fillRect/>
          </a:stretch>
        </p:blipFill>
        <p:spPr>
          <a:xfrm>
            <a:off x="1778048" y="2621078"/>
            <a:ext cx="4483149" cy="2390490"/>
          </a:xfrm>
          <a:prstGeom prst="rect">
            <a:avLst/>
          </a:prstGeom>
        </p:spPr>
      </p:pic>
      <p:pic>
        <p:nvPicPr>
          <p:cNvPr id="8" name="Picture 7">
            <a:extLst>
              <a:ext uri="{FF2B5EF4-FFF2-40B4-BE49-F238E27FC236}">
                <a16:creationId xmlns:a16="http://schemas.microsoft.com/office/drawing/2014/main" id="{9CB35E85-EAE6-4AF3-81B5-25A0F95A4565}"/>
              </a:ext>
            </a:extLst>
          </p:cNvPr>
          <p:cNvPicPr>
            <a:picLocks noChangeAspect="1"/>
          </p:cNvPicPr>
          <p:nvPr/>
        </p:nvPicPr>
        <p:blipFill>
          <a:blip r:embed="rId3"/>
          <a:stretch>
            <a:fillRect/>
          </a:stretch>
        </p:blipFill>
        <p:spPr>
          <a:xfrm>
            <a:off x="1305288" y="637701"/>
            <a:ext cx="5572125" cy="685800"/>
          </a:xfrm>
          <a:prstGeom prst="rect">
            <a:avLst/>
          </a:prstGeom>
        </p:spPr>
      </p:pic>
      <p:sp>
        <p:nvSpPr>
          <p:cNvPr id="9" name="TextBox 8">
            <a:extLst>
              <a:ext uri="{FF2B5EF4-FFF2-40B4-BE49-F238E27FC236}">
                <a16:creationId xmlns:a16="http://schemas.microsoft.com/office/drawing/2014/main" id="{F454474E-454D-495E-BF3A-33238FDCC41B}"/>
              </a:ext>
            </a:extLst>
          </p:cNvPr>
          <p:cNvSpPr txBox="1"/>
          <p:nvPr/>
        </p:nvSpPr>
        <p:spPr>
          <a:xfrm>
            <a:off x="0" y="1321122"/>
            <a:ext cx="9095139" cy="1061829"/>
          </a:xfrm>
          <a:prstGeom prst="rect">
            <a:avLst/>
          </a:prstGeom>
          <a:noFill/>
        </p:spPr>
        <p:txBody>
          <a:bodyPr wrap="square" rtlCol="0">
            <a:spAutoFit/>
          </a:bodyPr>
          <a:lstStyle/>
          <a:p>
            <a:pPr marL="171450" indent="-171450">
              <a:spcBef>
                <a:spcPts val="0"/>
              </a:spcBef>
              <a:spcAft>
                <a:spcPts val="0"/>
              </a:spcAft>
              <a:buClr>
                <a:schemeClr val="bg1"/>
              </a:buClr>
              <a:buFont typeface="Arial" panose="020B0604020202020204" pitchFamily="34" charset="0"/>
              <a:buChar char="•"/>
            </a:pPr>
            <a:r>
              <a:rPr lang="en-US" sz="1050" dirty="0">
                <a:solidFill>
                  <a:schemeClr val="bg2">
                    <a:lumMod val="50000"/>
                    <a:lumOff val="50000"/>
                  </a:schemeClr>
                </a:solidFill>
                <a:latin typeface="+mn-lt"/>
              </a:rPr>
              <a:t>If you find that people who consume more alcohol are more likely to die, it might seem intuitive to conclude that alcohol use increases the risk of death. However, the situation might be more complex. It is possible that alcohol use is not the only mortality-affecting factor that differs between the two groups.</a:t>
            </a:r>
          </a:p>
          <a:p>
            <a:pPr>
              <a:spcBef>
                <a:spcPts val="0"/>
              </a:spcBef>
              <a:spcAft>
                <a:spcPts val="0"/>
              </a:spcAft>
              <a:buClr>
                <a:schemeClr val="bg1"/>
              </a:buClr>
            </a:pPr>
            <a:endParaRPr lang="en-US" sz="1050" dirty="0">
              <a:solidFill>
                <a:schemeClr val="bg2">
                  <a:lumMod val="50000"/>
                  <a:lumOff val="50000"/>
                </a:schemeClr>
              </a:solidFill>
              <a:latin typeface="+mn-lt"/>
            </a:endParaRPr>
          </a:p>
          <a:p>
            <a:pPr marL="171450" indent="-171450">
              <a:spcBef>
                <a:spcPts val="0"/>
              </a:spcBef>
              <a:spcAft>
                <a:spcPts val="0"/>
              </a:spcAft>
              <a:buClr>
                <a:schemeClr val="bg1"/>
              </a:buClr>
              <a:buFont typeface="Arial" panose="020B0604020202020204" pitchFamily="34" charset="0"/>
              <a:buChar char="•"/>
            </a:pPr>
            <a:r>
              <a:rPr lang="en-US" sz="1050" dirty="0">
                <a:solidFill>
                  <a:schemeClr val="bg2">
                    <a:lumMod val="50000"/>
                    <a:lumOff val="50000"/>
                  </a:schemeClr>
                </a:solidFill>
                <a:latin typeface="+mn-lt"/>
              </a:rPr>
              <a:t>People who consume less alcohol might be more likely to eat a healthier diet or less likely to smoke, for example. Eating a healthy diet or smoking might in turn affect mortality. These other influencing factors are called </a:t>
            </a:r>
            <a:r>
              <a:rPr lang="en-US" sz="1050" b="1" dirty="0">
                <a:solidFill>
                  <a:schemeClr val="bg2">
                    <a:lumMod val="50000"/>
                    <a:lumOff val="50000"/>
                  </a:schemeClr>
                </a:solidFill>
                <a:latin typeface="+mn-lt"/>
              </a:rPr>
              <a:t>confounding variables.</a:t>
            </a:r>
          </a:p>
        </p:txBody>
      </p:sp>
    </p:spTree>
    <p:extLst>
      <p:ext uri="{BB962C8B-B14F-4D97-AF65-F5344CB8AC3E}">
        <p14:creationId xmlns:p14="http://schemas.microsoft.com/office/powerpoint/2010/main" val="1826951538"/>
      </p:ext>
    </p:extLst>
  </p:cSld>
  <p:clrMapOvr>
    <a:masterClrMapping/>
  </p:clrMapOvr>
  <p:transition spd="med">
    <p:wipe dir="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7D1EA-7DF3-48CC-B31A-49D4AA1AAF47}"/>
              </a:ext>
            </a:extLst>
          </p:cNvPr>
          <p:cNvSpPr>
            <a:spLocks noGrp="1"/>
          </p:cNvSpPr>
          <p:nvPr>
            <p:ph type="title"/>
          </p:nvPr>
        </p:nvSpPr>
        <p:spPr>
          <a:xfrm>
            <a:off x="0" y="22860"/>
            <a:ext cx="7955280" cy="640080"/>
          </a:xfrm>
        </p:spPr>
        <p:txBody>
          <a:bodyPr/>
          <a:lstStyle/>
          <a:p>
            <a:r>
              <a:rPr lang="en-US" dirty="0"/>
              <a:t>What is hypothesis ? </a:t>
            </a:r>
          </a:p>
        </p:txBody>
      </p:sp>
      <p:sp>
        <p:nvSpPr>
          <p:cNvPr id="3" name="Content Placeholder 2">
            <a:extLst>
              <a:ext uri="{FF2B5EF4-FFF2-40B4-BE49-F238E27FC236}">
                <a16:creationId xmlns:a16="http://schemas.microsoft.com/office/drawing/2014/main" id="{752E4901-1085-409B-A059-026B6D6F6B60}"/>
              </a:ext>
            </a:extLst>
          </p:cNvPr>
          <p:cNvSpPr>
            <a:spLocks noGrp="1"/>
          </p:cNvSpPr>
          <p:nvPr>
            <p:ph sz="half" idx="13"/>
          </p:nvPr>
        </p:nvSpPr>
        <p:spPr>
          <a:xfrm>
            <a:off x="120755" y="662939"/>
            <a:ext cx="8918543" cy="3615895"/>
          </a:xfrm>
        </p:spPr>
        <p:txBody>
          <a:bodyPr>
            <a:normAutofit fontScale="92500" lnSpcReduction="20000"/>
          </a:bodyPr>
          <a:lstStyle/>
          <a:p>
            <a:pPr marL="0" indent="0">
              <a:buNone/>
            </a:pPr>
            <a:r>
              <a:rPr lang="en-US" sz="2000" kern="1200" dirty="0">
                <a:solidFill>
                  <a:schemeClr val="bg2">
                    <a:lumMod val="50000"/>
                    <a:lumOff val="50000"/>
                  </a:schemeClr>
                </a:solidFill>
                <a:latin typeface="+mn-lt"/>
                <a:ea typeface="+mn-ea"/>
                <a:cs typeface="+mn-cs"/>
              </a:rPr>
              <a:t>A hypothesis is a </a:t>
            </a:r>
            <a:r>
              <a:rPr lang="en-US" sz="2000" b="1" kern="1200" dirty="0">
                <a:solidFill>
                  <a:schemeClr val="bg2">
                    <a:lumMod val="50000"/>
                    <a:lumOff val="50000"/>
                  </a:schemeClr>
                </a:solidFill>
                <a:latin typeface="+mn-lt"/>
                <a:ea typeface="+mn-ea"/>
                <a:cs typeface="+mn-cs"/>
              </a:rPr>
              <a:t>tentative statement </a:t>
            </a:r>
            <a:r>
              <a:rPr lang="en-US" sz="2000" kern="1200" dirty="0">
                <a:solidFill>
                  <a:schemeClr val="bg2">
                    <a:lumMod val="50000"/>
                    <a:lumOff val="50000"/>
                  </a:schemeClr>
                </a:solidFill>
                <a:latin typeface="+mn-lt"/>
                <a:ea typeface="+mn-ea"/>
                <a:cs typeface="+mn-cs"/>
              </a:rPr>
              <a:t>about the relationship between </a:t>
            </a:r>
            <a:r>
              <a:rPr lang="en-US" sz="2000" b="1" kern="1200" dirty="0">
                <a:solidFill>
                  <a:schemeClr val="bg2">
                    <a:lumMod val="50000"/>
                    <a:lumOff val="50000"/>
                  </a:schemeClr>
                </a:solidFill>
                <a:latin typeface="+mn-lt"/>
                <a:ea typeface="+mn-ea"/>
                <a:cs typeface="+mn-cs"/>
              </a:rPr>
              <a:t>two or more variables</a:t>
            </a:r>
            <a:r>
              <a:rPr lang="en-US" sz="2000" kern="1200" dirty="0">
                <a:solidFill>
                  <a:schemeClr val="bg2">
                    <a:lumMod val="50000"/>
                    <a:lumOff val="50000"/>
                  </a:schemeClr>
                </a:solidFill>
                <a:latin typeface="+mn-lt"/>
                <a:ea typeface="+mn-ea"/>
                <a:cs typeface="+mn-cs"/>
              </a:rPr>
              <a:t>. It is a specific, testable prediction about what you expect to happen in a study.</a:t>
            </a:r>
          </a:p>
          <a:p>
            <a:pPr marL="0" indent="0">
              <a:buNone/>
            </a:pPr>
            <a:endParaRPr lang="en-US" sz="2000" kern="1200" dirty="0">
              <a:solidFill>
                <a:schemeClr val="bg2">
                  <a:lumMod val="50000"/>
                  <a:lumOff val="50000"/>
                </a:schemeClr>
              </a:solidFill>
              <a:latin typeface="+mn-lt"/>
              <a:ea typeface="+mn-ea"/>
              <a:cs typeface="+mn-cs"/>
            </a:endParaRPr>
          </a:p>
          <a:p>
            <a:pPr marL="0" indent="0" algn="l" fontAlgn="base">
              <a:buNone/>
            </a:pPr>
            <a:r>
              <a:rPr lang="en-US" sz="2000" b="1" kern="1200" dirty="0">
                <a:solidFill>
                  <a:schemeClr val="accent1"/>
                </a:solidFill>
                <a:latin typeface="+mn-lt"/>
                <a:ea typeface="+mn-ea"/>
                <a:cs typeface="+mn-cs"/>
              </a:rPr>
              <a:t>A few examples:</a:t>
            </a:r>
          </a:p>
          <a:p>
            <a:pPr algn="l" fontAlgn="base">
              <a:buFont typeface="Arial" panose="020B0604020202020204" pitchFamily="34" charset="0"/>
              <a:buChar char="•"/>
            </a:pPr>
            <a:r>
              <a:rPr lang="en-US" sz="2000" kern="1200" dirty="0">
                <a:solidFill>
                  <a:schemeClr val="bg2">
                    <a:lumMod val="50000"/>
                    <a:lumOff val="50000"/>
                  </a:schemeClr>
                </a:solidFill>
                <a:latin typeface="+mn-lt"/>
                <a:ea typeface="+mn-ea"/>
                <a:cs typeface="+mn-cs"/>
              </a:rPr>
              <a:t>"Students who eat breakfast will perform better on a math exam than students who do not eat breakfast."</a:t>
            </a:r>
          </a:p>
          <a:p>
            <a:pPr algn="l" fontAlgn="base">
              <a:buFont typeface="Arial" panose="020B0604020202020204" pitchFamily="34" charset="0"/>
              <a:buChar char="•"/>
            </a:pPr>
            <a:r>
              <a:rPr lang="en-US" sz="2000" kern="1200" dirty="0">
                <a:solidFill>
                  <a:schemeClr val="bg2">
                    <a:lumMod val="50000"/>
                    <a:lumOff val="50000"/>
                  </a:schemeClr>
                </a:solidFill>
                <a:latin typeface="+mn-lt"/>
                <a:ea typeface="+mn-ea"/>
                <a:cs typeface="+mn-cs"/>
              </a:rPr>
              <a:t>"Students who experience test anxiety prior to an English exam will get higher scores than students who do not experience test anxiety."​</a:t>
            </a:r>
          </a:p>
          <a:p>
            <a:pPr algn="l" fontAlgn="base">
              <a:buFont typeface="Arial" panose="020B0604020202020204" pitchFamily="34" charset="0"/>
              <a:buChar char="•"/>
            </a:pPr>
            <a:r>
              <a:rPr lang="en-US" sz="2000" kern="1200" dirty="0">
                <a:solidFill>
                  <a:schemeClr val="bg2">
                    <a:lumMod val="50000"/>
                    <a:lumOff val="50000"/>
                  </a:schemeClr>
                </a:solidFill>
                <a:latin typeface="+mn-lt"/>
                <a:ea typeface="+mn-ea"/>
                <a:cs typeface="+mn-cs"/>
              </a:rPr>
              <a:t>"Motorists who talk on the phone while driving will be more likely to make errors on a driving course than those who do not talk on the phone."</a:t>
            </a:r>
          </a:p>
          <a:p>
            <a:endParaRPr lang="en-US" dirty="0"/>
          </a:p>
        </p:txBody>
      </p:sp>
    </p:spTree>
    <p:extLst>
      <p:ext uri="{BB962C8B-B14F-4D97-AF65-F5344CB8AC3E}">
        <p14:creationId xmlns:p14="http://schemas.microsoft.com/office/powerpoint/2010/main" val="864598898"/>
      </p:ext>
    </p:extLst>
  </p:cSld>
  <p:clrMapOvr>
    <a:masterClrMapping/>
  </p:clrMapOvr>
  <p:transition spd="med">
    <p:wipe dir="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1A2DF-C782-43C3-85DD-ED0625E18554}"/>
              </a:ext>
            </a:extLst>
          </p:cNvPr>
          <p:cNvSpPr>
            <a:spLocks noGrp="1"/>
          </p:cNvSpPr>
          <p:nvPr>
            <p:ph type="title"/>
          </p:nvPr>
        </p:nvSpPr>
        <p:spPr>
          <a:xfrm>
            <a:off x="104702" y="179389"/>
            <a:ext cx="7955280" cy="640080"/>
          </a:xfrm>
        </p:spPr>
        <p:txBody>
          <a:bodyPr/>
          <a:lstStyle/>
          <a:p>
            <a:r>
              <a:rPr lang="en-US" dirty="0"/>
              <a:t>Blinding</a:t>
            </a:r>
          </a:p>
        </p:txBody>
      </p:sp>
      <p:sp>
        <p:nvSpPr>
          <p:cNvPr id="3" name="Content Placeholder 2">
            <a:extLst>
              <a:ext uri="{FF2B5EF4-FFF2-40B4-BE49-F238E27FC236}">
                <a16:creationId xmlns:a16="http://schemas.microsoft.com/office/drawing/2014/main" id="{CA9BD4F2-0478-4661-9007-E1477BAC0E01}"/>
              </a:ext>
            </a:extLst>
          </p:cNvPr>
          <p:cNvSpPr>
            <a:spLocks noGrp="1"/>
          </p:cNvSpPr>
          <p:nvPr>
            <p:ph sz="half" idx="13"/>
          </p:nvPr>
        </p:nvSpPr>
        <p:spPr>
          <a:xfrm>
            <a:off x="146583" y="819469"/>
            <a:ext cx="8606528" cy="3200400"/>
          </a:xfrm>
        </p:spPr>
        <p:txBody>
          <a:bodyPr/>
          <a:lstStyle/>
          <a:p>
            <a:pPr marL="0" indent="0">
              <a:buNone/>
            </a:pPr>
            <a:r>
              <a:rPr lang="en-US" sz="1900" kern="1200" dirty="0">
                <a:solidFill>
                  <a:schemeClr val="bg2">
                    <a:lumMod val="50000"/>
                    <a:lumOff val="50000"/>
                  </a:schemeClr>
                </a:solidFill>
                <a:latin typeface="+mn-lt"/>
                <a:ea typeface="+mn-ea"/>
                <a:cs typeface="+mn-cs"/>
              </a:rPr>
              <a:t>In medical trials, the term blinding, or double-blind, usually refers to the practice of keeping patients in the dark as to whether they are receiving a placebo or not. It can also refer to allocation concealment, which is used to avoid selection bias.</a:t>
            </a:r>
          </a:p>
          <a:p>
            <a:endParaRPr lang="en-US" dirty="0"/>
          </a:p>
        </p:txBody>
      </p:sp>
      <p:sp>
        <p:nvSpPr>
          <p:cNvPr id="7" name="TextBox 6">
            <a:extLst>
              <a:ext uri="{FF2B5EF4-FFF2-40B4-BE49-F238E27FC236}">
                <a16:creationId xmlns:a16="http://schemas.microsoft.com/office/drawing/2014/main" id="{57A9F8A8-4B62-43A5-827C-02314C36DAE8}"/>
              </a:ext>
            </a:extLst>
          </p:cNvPr>
          <p:cNvSpPr txBox="1"/>
          <p:nvPr/>
        </p:nvSpPr>
        <p:spPr>
          <a:xfrm>
            <a:off x="104702" y="2052165"/>
            <a:ext cx="495591"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a:t>
            </a:r>
          </a:p>
        </p:txBody>
      </p:sp>
      <p:pic>
        <p:nvPicPr>
          <p:cNvPr id="12" name="Picture 11">
            <a:extLst>
              <a:ext uri="{FF2B5EF4-FFF2-40B4-BE49-F238E27FC236}">
                <a16:creationId xmlns:a16="http://schemas.microsoft.com/office/drawing/2014/main" id="{FA7E0177-D7DE-4E84-A38C-4853407DF3DE}"/>
              </a:ext>
            </a:extLst>
          </p:cNvPr>
          <p:cNvPicPr>
            <a:picLocks noChangeAspect="1"/>
          </p:cNvPicPr>
          <p:nvPr/>
        </p:nvPicPr>
        <p:blipFill>
          <a:blip r:embed="rId2"/>
          <a:stretch>
            <a:fillRect/>
          </a:stretch>
        </p:blipFill>
        <p:spPr>
          <a:xfrm>
            <a:off x="7203518" y="1848169"/>
            <a:ext cx="1828800" cy="2171700"/>
          </a:xfrm>
          <a:prstGeom prst="rect">
            <a:avLst/>
          </a:prstGeom>
        </p:spPr>
      </p:pic>
    </p:spTree>
    <p:extLst>
      <p:ext uri="{BB962C8B-B14F-4D97-AF65-F5344CB8AC3E}">
        <p14:creationId xmlns:p14="http://schemas.microsoft.com/office/powerpoint/2010/main" val="339969583"/>
      </p:ext>
    </p:extLst>
  </p:cSld>
  <p:clrMapOvr>
    <a:masterClrMapping/>
  </p:clrMapOvr>
  <p:transition spd="med">
    <p:wipe dir="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B2BFF-8604-46B0-8FE4-7231BB82B7EE}"/>
              </a:ext>
            </a:extLst>
          </p:cNvPr>
          <p:cNvSpPr>
            <a:spLocks noGrp="1"/>
          </p:cNvSpPr>
          <p:nvPr>
            <p:ph type="title"/>
          </p:nvPr>
        </p:nvSpPr>
        <p:spPr>
          <a:xfrm>
            <a:off x="137160" y="174163"/>
            <a:ext cx="7955280" cy="640080"/>
          </a:xfrm>
        </p:spPr>
        <p:txBody>
          <a:bodyPr/>
          <a:lstStyle/>
          <a:p>
            <a:r>
              <a:rPr lang="en-US" dirty="0"/>
              <a:t>Double Blinding</a:t>
            </a:r>
          </a:p>
        </p:txBody>
      </p:sp>
      <p:sp>
        <p:nvSpPr>
          <p:cNvPr id="3" name="Content Placeholder 2">
            <a:extLst>
              <a:ext uri="{FF2B5EF4-FFF2-40B4-BE49-F238E27FC236}">
                <a16:creationId xmlns:a16="http://schemas.microsoft.com/office/drawing/2014/main" id="{7D960FF3-9A2A-4E15-829A-89A59910B291}"/>
              </a:ext>
            </a:extLst>
          </p:cNvPr>
          <p:cNvSpPr>
            <a:spLocks noGrp="1"/>
          </p:cNvSpPr>
          <p:nvPr>
            <p:ph sz="half" idx="13"/>
          </p:nvPr>
        </p:nvSpPr>
        <p:spPr>
          <a:xfrm>
            <a:off x="204694" y="767197"/>
            <a:ext cx="8681040" cy="3200400"/>
          </a:xfrm>
        </p:spPr>
        <p:txBody>
          <a:bodyPr/>
          <a:lstStyle/>
          <a:p>
            <a:r>
              <a:rPr lang="en-US" sz="1900" kern="1200" dirty="0">
                <a:solidFill>
                  <a:schemeClr val="bg2">
                    <a:lumMod val="50000"/>
                    <a:lumOff val="50000"/>
                  </a:schemeClr>
                </a:solidFill>
                <a:latin typeface="+mn-lt"/>
                <a:ea typeface="+mn-ea"/>
                <a:cs typeface="+mn-cs"/>
              </a:rPr>
              <a:t>A double-blind study is one in which neither the participants nor the experimenters know who is receiving a particular treatment. </a:t>
            </a:r>
          </a:p>
        </p:txBody>
      </p:sp>
      <p:sp>
        <p:nvSpPr>
          <p:cNvPr id="5" name="Rectangle 4">
            <a:extLst>
              <a:ext uri="{FF2B5EF4-FFF2-40B4-BE49-F238E27FC236}">
                <a16:creationId xmlns:a16="http://schemas.microsoft.com/office/drawing/2014/main" id="{467F6821-631D-4CAA-A896-3A96D96D480A}"/>
              </a:ext>
            </a:extLst>
          </p:cNvPr>
          <p:cNvSpPr/>
          <p:nvPr/>
        </p:nvSpPr>
        <p:spPr>
          <a:xfrm>
            <a:off x="137160" y="3561440"/>
            <a:ext cx="8606527" cy="767817"/>
          </a:xfrm>
          <a:prstGeom prst="rect">
            <a:avLst/>
          </a:prstGeom>
          <a:solidFill>
            <a:schemeClr val="tx1">
              <a:lumMod val="20000"/>
              <a:lumOff val="80000"/>
            </a:schemeClr>
          </a:solidFill>
          <a:ln w="12700" cmpd="sng">
            <a:noFill/>
          </a:ln>
          <a:effectLst/>
        </p:spPr>
        <p:txBody>
          <a:bodyPr wrap="square" lIns="182880" tIns="137160" rIns="137160" bIns="137160" rtlCol="0" anchor="ctr">
            <a:noAutofit/>
          </a:bodyPr>
          <a:lstStyle/>
          <a:p>
            <a:pPr>
              <a:lnSpc>
                <a:spcPct val="90000"/>
              </a:lnSpc>
              <a:spcBef>
                <a:spcPts val="600"/>
              </a:spcBef>
              <a:spcAft>
                <a:spcPts val="0"/>
              </a:spcAft>
            </a:pPr>
            <a:r>
              <a:rPr lang="en-US" sz="1200" dirty="0">
                <a:latin typeface="+mn-lt"/>
              </a:rPr>
              <a:t>Blinding and double blinding are methods that are used to try and eliminate bias that occurs when researchers and the subject are aware of which group is in which study </a:t>
            </a:r>
          </a:p>
        </p:txBody>
      </p:sp>
      <p:sp>
        <p:nvSpPr>
          <p:cNvPr id="6" name="Rectangle 5">
            <a:extLst>
              <a:ext uri="{FF2B5EF4-FFF2-40B4-BE49-F238E27FC236}">
                <a16:creationId xmlns:a16="http://schemas.microsoft.com/office/drawing/2014/main" id="{CB4C82C2-5050-4599-A646-370098578078}"/>
              </a:ext>
            </a:extLst>
          </p:cNvPr>
          <p:cNvSpPr/>
          <p:nvPr/>
        </p:nvSpPr>
        <p:spPr>
          <a:xfrm>
            <a:off x="137161" y="3561441"/>
            <a:ext cx="135066" cy="753856"/>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7" name="TextBox 6">
            <a:extLst>
              <a:ext uri="{FF2B5EF4-FFF2-40B4-BE49-F238E27FC236}">
                <a16:creationId xmlns:a16="http://schemas.microsoft.com/office/drawing/2014/main" id="{951382A6-2BCC-493A-B623-979398C5254C}"/>
              </a:ext>
            </a:extLst>
          </p:cNvPr>
          <p:cNvSpPr txBox="1"/>
          <p:nvPr/>
        </p:nvSpPr>
        <p:spPr>
          <a:xfrm>
            <a:off x="137160" y="1702653"/>
            <a:ext cx="495591"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a:t>
            </a:r>
          </a:p>
        </p:txBody>
      </p:sp>
      <p:pic>
        <p:nvPicPr>
          <p:cNvPr id="8" name="Picture 7" descr="Icon&#10;&#10;Description automatically generated">
            <a:extLst>
              <a:ext uri="{FF2B5EF4-FFF2-40B4-BE49-F238E27FC236}">
                <a16:creationId xmlns:a16="http://schemas.microsoft.com/office/drawing/2014/main" id="{60E230BE-A23E-4204-8EAF-66940F443B76}"/>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327980" y="1606424"/>
            <a:ext cx="2678860" cy="1607316"/>
          </a:xfrm>
          <a:prstGeom prst="rect">
            <a:avLst/>
          </a:prstGeom>
        </p:spPr>
      </p:pic>
    </p:spTree>
    <p:extLst>
      <p:ext uri="{BB962C8B-B14F-4D97-AF65-F5344CB8AC3E}">
        <p14:creationId xmlns:p14="http://schemas.microsoft.com/office/powerpoint/2010/main" val="643188253"/>
      </p:ext>
    </p:extLst>
  </p:cSld>
  <p:clrMapOvr>
    <a:masterClrMapping/>
  </p:clrMapOvr>
  <p:transition spd="med">
    <p:wipe dir="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0A2F82-C58B-485C-BE38-1016ABFCB027}"/>
              </a:ext>
            </a:extLst>
          </p:cNvPr>
          <p:cNvSpPr>
            <a:spLocks noGrp="1"/>
          </p:cNvSpPr>
          <p:nvPr>
            <p:ph type="title"/>
          </p:nvPr>
        </p:nvSpPr>
        <p:spPr>
          <a:xfrm>
            <a:off x="50954" y="118322"/>
            <a:ext cx="7955280" cy="640080"/>
          </a:xfrm>
        </p:spPr>
        <p:txBody>
          <a:bodyPr/>
          <a:lstStyle/>
          <a:p>
            <a:r>
              <a:rPr lang="en-US" dirty="0"/>
              <a:t>Why blinding is important in Statistics?</a:t>
            </a:r>
          </a:p>
        </p:txBody>
      </p:sp>
      <p:sp>
        <p:nvSpPr>
          <p:cNvPr id="3" name="Content Placeholder 2">
            <a:extLst>
              <a:ext uri="{FF2B5EF4-FFF2-40B4-BE49-F238E27FC236}">
                <a16:creationId xmlns:a16="http://schemas.microsoft.com/office/drawing/2014/main" id="{2FB9D893-65BA-48E9-9032-45983A01F364}"/>
              </a:ext>
            </a:extLst>
          </p:cNvPr>
          <p:cNvSpPr>
            <a:spLocks noGrp="1"/>
          </p:cNvSpPr>
          <p:nvPr>
            <p:ph sz="half" idx="13"/>
          </p:nvPr>
        </p:nvSpPr>
        <p:spPr>
          <a:xfrm>
            <a:off x="169617" y="971550"/>
            <a:ext cx="7836617" cy="3200400"/>
          </a:xfrm>
        </p:spPr>
        <p:txBody>
          <a:bodyPr/>
          <a:lstStyle/>
          <a:p>
            <a:r>
              <a:rPr lang="en-US" sz="1900" kern="1200" dirty="0">
                <a:solidFill>
                  <a:schemeClr val="bg2">
                    <a:lumMod val="50000"/>
                    <a:lumOff val="50000"/>
                  </a:schemeClr>
                </a:solidFill>
                <a:latin typeface="+mn-lt"/>
                <a:ea typeface="+mn-ea"/>
                <a:cs typeface="+mn-cs"/>
              </a:rPr>
              <a:t>Blinding is especially important in subjective trials to avoid skewed results</a:t>
            </a:r>
            <a:r>
              <a:rPr lang="en-US" sz="1800" kern="1200" dirty="0">
                <a:solidFill>
                  <a:schemeClr val="bg2">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a:t>
            </a:r>
            <a:r>
              <a:rPr lang="en-US" sz="1800" dirty="0">
                <a:effectLst/>
                <a:latin typeface="Calibri" panose="020F0502020204030204" pitchFamily="34" charset="0"/>
                <a:ea typeface="DengXian" panose="02010600030101010101" pitchFamily="2" charset="-122"/>
                <a:cs typeface="Times New Roman" panose="02020603050405020304" pitchFamily="18" charset="0"/>
              </a:rPr>
              <a:t> </a:t>
            </a:r>
            <a:endParaRPr lang="en-US" dirty="0"/>
          </a:p>
        </p:txBody>
      </p:sp>
      <p:sp>
        <p:nvSpPr>
          <p:cNvPr id="5" name="TextBox 4">
            <a:extLst>
              <a:ext uri="{FF2B5EF4-FFF2-40B4-BE49-F238E27FC236}">
                <a16:creationId xmlns:a16="http://schemas.microsoft.com/office/drawing/2014/main" id="{5918F907-DDBC-4B77-AF68-08312351098E}"/>
              </a:ext>
            </a:extLst>
          </p:cNvPr>
          <p:cNvSpPr txBox="1"/>
          <p:nvPr/>
        </p:nvSpPr>
        <p:spPr>
          <a:xfrm>
            <a:off x="169617" y="1793395"/>
            <a:ext cx="495591"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a:t>
            </a:r>
          </a:p>
        </p:txBody>
      </p:sp>
    </p:spTree>
    <p:extLst>
      <p:ext uri="{BB962C8B-B14F-4D97-AF65-F5344CB8AC3E}">
        <p14:creationId xmlns:p14="http://schemas.microsoft.com/office/powerpoint/2010/main" val="2582633460"/>
      </p:ext>
    </p:extLst>
  </p:cSld>
  <p:clrMapOvr>
    <a:masterClrMapping/>
  </p:clrMapOvr>
  <p:transition spd="med">
    <p:wipe dir="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iagram&#10;&#10;Description automatically generated with low confidence">
            <a:extLst>
              <a:ext uri="{FF2B5EF4-FFF2-40B4-BE49-F238E27FC236}">
                <a16:creationId xmlns:a16="http://schemas.microsoft.com/office/drawing/2014/main" id="{1D351213-FBD3-480C-A88B-DF5DA84D0032}"/>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0" y="0"/>
            <a:ext cx="9144000" cy="5143500"/>
          </a:xfrm>
          <a:prstGeom prst="rect">
            <a:avLst/>
          </a:prstGeom>
        </p:spPr>
      </p:pic>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2181" name="think-cell Slide" r:id="rId8" imgW="529" imgH="530" progId="TCLayout.ActiveDocument.1">
                  <p:embed/>
                </p:oleObj>
              </mc:Choice>
              <mc:Fallback>
                <p:oleObj name="think-cell Slide" r:id="rId8"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9"/>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33" name="Title 32">
            <a:extLst>
              <a:ext uri="{FF2B5EF4-FFF2-40B4-BE49-F238E27FC236}">
                <a16:creationId xmlns:a16="http://schemas.microsoft.com/office/drawing/2014/main" id="{2F9043AA-1BB2-49E3-B702-D663491C3B65}"/>
              </a:ext>
            </a:extLst>
          </p:cNvPr>
          <p:cNvSpPr>
            <a:spLocks noGrp="1"/>
          </p:cNvSpPr>
          <p:nvPr>
            <p:ph type="title"/>
          </p:nvPr>
        </p:nvSpPr>
        <p:spPr>
          <a:xfrm>
            <a:off x="75610" y="1382590"/>
            <a:ext cx="8992779" cy="3035543"/>
          </a:xfrm>
        </p:spPr>
        <p:txBody>
          <a:bodyPr/>
          <a:lstStyle/>
          <a:p>
            <a:r>
              <a:rPr lang="en-US" sz="4800" dirty="0">
                <a:solidFill>
                  <a:schemeClr val="tx2"/>
                </a:solidFill>
              </a:rPr>
              <a:t>Describing Data through Statistics</a:t>
            </a:r>
            <a:br>
              <a:rPr lang="en-US" dirty="0"/>
            </a:br>
            <a:br>
              <a:rPr lang="en-US" dirty="0"/>
            </a:br>
            <a:r>
              <a:rPr lang="en-US" dirty="0"/>
              <a:t> </a:t>
            </a:r>
          </a:p>
        </p:txBody>
      </p:sp>
    </p:spTree>
    <p:extLst>
      <p:ext uri="{BB962C8B-B14F-4D97-AF65-F5344CB8AC3E}">
        <p14:creationId xmlns:p14="http://schemas.microsoft.com/office/powerpoint/2010/main" val="850901763"/>
      </p:ext>
    </p:extLst>
  </p:cSld>
  <p:clrMapOvr>
    <a:masterClrMapping/>
  </p:clrMapOvr>
  <p:transition spd="med">
    <p:wipe dir="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3188"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pic>
        <p:nvPicPr>
          <p:cNvPr id="18" name="Picture 17" descr="Diagram&#10;&#10;Description automatically generated with medium confidence">
            <a:extLst>
              <a:ext uri="{FF2B5EF4-FFF2-40B4-BE49-F238E27FC236}">
                <a16:creationId xmlns:a16="http://schemas.microsoft.com/office/drawing/2014/main" id="{E58CA81C-C243-431A-9819-E31BF6C52308}"/>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0" y="0"/>
            <a:ext cx="9144000" cy="5143500"/>
          </a:xfrm>
          <a:prstGeom prst="rect">
            <a:avLst/>
          </a:prstGeom>
        </p:spPr>
      </p:pic>
      <p:sp>
        <p:nvSpPr>
          <p:cNvPr id="22" name="Title 32">
            <a:extLst>
              <a:ext uri="{FF2B5EF4-FFF2-40B4-BE49-F238E27FC236}">
                <a16:creationId xmlns:a16="http://schemas.microsoft.com/office/drawing/2014/main" id="{7DE4F7AF-87AC-4CE0-9C4D-A5C0A40E4C2E}"/>
              </a:ext>
            </a:extLst>
          </p:cNvPr>
          <p:cNvSpPr>
            <a:spLocks noGrp="1"/>
          </p:cNvSpPr>
          <p:nvPr>
            <p:ph type="title"/>
          </p:nvPr>
        </p:nvSpPr>
        <p:spPr>
          <a:xfrm>
            <a:off x="75610" y="1249967"/>
            <a:ext cx="8992779" cy="3035543"/>
          </a:xfrm>
        </p:spPr>
        <p:txBody>
          <a:bodyPr/>
          <a:lstStyle/>
          <a:p>
            <a:r>
              <a:rPr lang="en-US" sz="4800" dirty="0">
                <a:solidFill>
                  <a:schemeClr val="tx2"/>
                </a:solidFill>
              </a:rPr>
              <a:t>Measure of  </a:t>
            </a:r>
            <a:br>
              <a:rPr lang="en-US" sz="4800" dirty="0">
                <a:solidFill>
                  <a:schemeClr val="tx2"/>
                </a:solidFill>
              </a:rPr>
            </a:br>
            <a:r>
              <a:rPr lang="en-US" sz="4800" dirty="0">
                <a:solidFill>
                  <a:schemeClr val="tx2"/>
                </a:solidFill>
              </a:rPr>
              <a:t>Central Tendency</a:t>
            </a:r>
            <a:br>
              <a:rPr lang="en-US" dirty="0"/>
            </a:br>
            <a:br>
              <a:rPr lang="en-US" dirty="0"/>
            </a:br>
            <a:r>
              <a:rPr lang="en-US" dirty="0"/>
              <a:t> </a:t>
            </a:r>
          </a:p>
        </p:txBody>
      </p:sp>
    </p:spTree>
    <p:extLst>
      <p:ext uri="{BB962C8B-B14F-4D97-AF65-F5344CB8AC3E}">
        <p14:creationId xmlns:p14="http://schemas.microsoft.com/office/powerpoint/2010/main" val="665294110"/>
      </p:ext>
    </p:extLst>
  </p:cSld>
  <p:clrMapOvr>
    <a:masterClrMapping/>
  </p:clrMapOvr>
  <p:transition spd="med">
    <p:wipe dir="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0B17AC-8C6F-4E8F-927B-93ABAEA6606B}"/>
              </a:ext>
            </a:extLst>
          </p:cNvPr>
          <p:cNvSpPr>
            <a:spLocks noGrp="1"/>
          </p:cNvSpPr>
          <p:nvPr>
            <p:ph type="title"/>
          </p:nvPr>
        </p:nvSpPr>
        <p:spPr>
          <a:xfrm>
            <a:off x="261756" y="147311"/>
            <a:ext cx="8229600" cy="637794"/>
          </a:xfrm>
        </p:spPr>
        <p:txBody>
          <a:bodyPr/>
          <a:lstStyle/>
          <a:p>
            <a:r>
              <a:rPr lang="en-US" dirty="0"/>
              <a:t>Finding Central Value</a:t>
            </a:r>
          </a:p>
        </p:txBody>
      </p:sp>
      <p:sp>
        <p:nvSpPr>
          <p:cNvPr id="3" name="TextBox 2">
            <a:extLst>
              <a:ext uri="{FF2B5EF4-FFF2-40B4-BE49-F238E27FC236}">
                <a16:creationId xmlns:a16="http://schemas.microsoft.com/office/drawing/2014/main" id="{338B153F-82EC-4EC3-A01C-319C19798D05}"/>
              </a:ext>
            </a:extLst>
          </p:cNvPr>
          <p:cNvSpPr txBox="1"/>
          <p:nvPr/>
        </p:nvSpPr>
        <p:spPr>
          <a:xfrm>
            <a:off x="349008" y="1088904"/>
            <a:ext cx="6421740" cy="1815882"/>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For Two Numbers </a:t>
            </a:r>
            <a:r>
              <a:rPr lang="en-US" sz="1400" b="1">
                <a:solidFill>
                  <a:schemeClr val="bg2">
                    <a:lumMod val="50000"/>
                    <a:lumOff val="50000"/>
                  </a:schemeClr>
                </a:solidFill>
                <a:latin typeface="+mn-lt"/>
              </a:rPr>
              <a:t>:   3 </a:t>
            </a:r>
            <a:r>
              <a:rPr lang="en-US" sz="1400" b="1" dirty="0">
                <a:solidFill>
                  <a:schemeClr val="bg2">
                    <a:lumMod val="50000"/>
                    <a:lumOff val="50000"/>
                  </a:schemeClr>
                </a:solidFill>
                <a:latin typeface="+mn-lt"/>
              </a:rPr>
              <a:t>and 7 </a:t>
            </a:r>
          </a:p>
          <a:p>
            <a:pPr>
              <a:spcBef>
                <a:spcPts val="0"/>
              </a:spcBef>
              <a:spcAft>
                <a:spcPts val="0"/>
              </a:spcAft>
              <a:buClr>
                <a:schemeClr val="bg1"/>
              </a:buClr>
            </a:pPr>
            <a:r>
              <a:rPr lang="en-US" sz="1400" dirty="0">
                <a:solidFill>
                  <a:schemeClr val="bg2">
                    <a:lumMod val="50000"/>
                    <a:lumOff val="50000"/>
                  </a:schemeClr>
                </a:solidFill>
                <a:latin typeface="+mn-lt"/>
              </a:rPr>
              <a:t>	</a:t>
            </a:r>
          </a:p>
          <a:p>
            <a:pPr>
              <a:spcBef>
                <a:spcPts val="0"/>
              </a:spcBef>
              <a:spcAft>
                <a:spcPts val="0"/>
              </a:spcAft>
              <a:buClr>
                <a:schemeClr val="bg1"/>
              </a:buClr>
            </a:pPr>
            <a:r>
              <a:rPr lang="en-US" sz="1400" dirty="0">
                <a:solidFill>
                  <a:schemeClr val="bg2">
                    <a:lumMod val="50000"/>
                    <a:lumOff val="50000"/>
                  </a:schemeClr>
                </a:solidFill>
                <a:latin typeface="+mn-lt"/>
              </a:rPr>
              <a:t>	Central value </a:t>
            </a:r>
            <a:r>
              <a:rPr lang="en-US" sz="1400">
                <a:solidFill>
                  <a:schemeClr val="bg2">
                    <a:lumMod val="50000"/>
                    <a:lumOff val="50000"/>
                  </a:schemeClr>
                </a:solidFill>
                <a:latin typeface="+mn-lt"/>
              </a:rPr>
              <a:t>: (3 </a:t>
            </a:r>
            <a:r>
              <a:rPr lang="en-US" sz="1400" dirty="0">
                <a:solidFill>
                  <a:schemeClr val="bg2">
                    <a:lumMod val="50000"/>
                    <a:lumOff val="50000"/>
                  </a:schemeClr>
                </a:solidFill>
                <a:latin typeface="+mn-lt"/>
              </a:rPr>
              <a:t>+ 7) / 2 = </a:t>
            </a:r>
          </a:p>
          <a:p>
            <a:pPr>
              <a:spcBef>
                <a:spcPts val="0"/>
              </a:spcBef>
              <a:spcAft>
                <a:spcPts val="0"/>
              </a:spcAft>
              <a:buClr>
                <a:schemeClr val="bg1"/>
              </a:buClr>
            </a:pPr>
            <a:endParaRPr lang="en-US" sz="1400" dirty="0">
              <a:solidFill>
                <a:schemeClr val="bg2">
                  <a:lumMod val="50000"/>
                  <a:lumOff val="50000"/>
                </a:schemeClr>
              </a:solidFill>
              <a:latin typeface="+mn-lt"/>
            </a:endParaRPr>
          </a:p>
          <a:p>
            <a:pPr>
              <a:spcBef>
                <a:spcPts val="0"/>
              </a:spcBef>
              <a:spcAft>
                <a:spcPts val="0"/>
              </a:spcAft>
              <a:buClr>
                <a:schemeClr val="bg1"/>
              </a:buClr>
            </a:pPr>
            <a:endParaRPr lang="en-US" sz="1400" dirty="0">
              <a:solidFill>
                <a:schemeClr val="bg2">
                  <a:lumMod val="50000"/>
                  <a:lumOff val="50000"/>
                </a:schemeClr>
              </a:solidFill>
              <a:latin typeface="+mn-lt"/>
            </a:endParaRPr>
          </a:p>
          <a:p>
            <a:pPr>
              <a:spcBef>
                <a:spcPts val="0"/>
              </a:spcBef>
              <a:spcAft>
                <a:spcPts val="0"/>
              </a:spcAft>
              <a:buClr>
                <a:schemeClr val="bg1"/>
              </a:buClr>
            </a:pPr>
            <a:r>
              <a:rPr lang="en-US" sz="1400" b="1" dirty="0">
                <a:solidFill>
                  <a:schemeClr val="bg2">
                    <a:lumMod val="50000"/>
                    <a:lumOff val="50000"/>
                  </a:schemeClr>
                </a:solidFill>
                <a:latin typeface="+mn-lt"/>
              </a:rPr>
              <a:t>For three numbers </a:t>
            </a:r>
            <a:r>
              <a:rPr lang="en-US" sz="1400" b="1">
                <a:solidFill>
                  <a:schemeClr val="bg2">
                    <a:lumMod val="50000"/>
                    <a:lumOff val="50000"/>
                  </a:schemeClr>
                </a:solidFill>
                <a:latin typeface="+mn-lt"/>
              </a:rPr>
              <a:t>: 3, </a:t>
            </a:r>
            <a:r>
              <a:rPr lang="en-US" sz="1400" b="1" dirty="0">
                <a:solidFill>
                  <a:schemeClr val="bg2">
                    <a:lumMod val="50000"/>
                    <a:lumOff val="50000"/>
                  </a:schemeClr>
                </a:solidFill>
                <a:latin typeface="+mn-lt"/>
              </a:rPr>
              <a:t>7, 8</a:t>
            </a:r>
          </a:p>
          <a:p>
            <a:pPr>
              <a:spcBef>
                <a:spcPts val="0"/>
              </a:spcBef>
              <a:spcAft>
                <a:spcPts val="0"/>
              </a:spcAft>
              <a:buClr>
                <a:schemeClr val="bg1"/>
              </a:buClr>
            </a:pPr>
            <a:endParaRPr lang="en-US" sz="1400" dirty="0">
              <a:solidFill>
                <a:schemeClr val="bg2">
                  <a:lumMod val="50000"/>
                  <a:lumOff val="50000"/>
                </a:schemeClr>
              </a:solidFill>
              <a:latin typeface="+mn-lt"/>
            </a:endParaRPr>
          </a:p>
          <a:p>
            <a:pPr>
              <a:spcBef>
                <a:spcPts val="0"/>
              </a:spcBef>
              <a:spcAft>
                <a:spcPts val="0"/>
              </a:spcAft>
              <a:buClr>
                <a:schemeClr val="bg1"/>
              </a:buClr>
            </a:pPr>
            <a:r>
              <a:rPr lang="en-US" sz="1400" dirty="0">
                <a:solidFill>
                  <a:schemeClr val="bg2">
                    <a:lumMod val="50000"/>
                    <a:lumOff val="50000"/>
                  </a:schemeClr>
                </a:solidFill>
                <a:latin typeface="+mn-lt"/>
              </a:rPr>
              <a:t>	Central value </a:t>
            </a:r>
            <a:r>
              <a:rPr lang="en-US" sz="1400">
                <a:solidFill>
                  <a:schemeClr val="bg2">
                    <a:lumMod val="50000"/>
                    <a:lumOff val="50000"/>
                  </a:schemeClr>
                </a:solidFill>
                <a:latin typeface="+mn-lt"/>
              </a:rPr>
              <a:t>: (3+7+8</a:t>
            </a:r>
            <a:r>
              <a:rPr lang="en-US" sz="1400" dirty="0">
                <a:solidFill>
                  <a:schemeClr val="bg2">
                    <a:lumMod val="50000"/>
                    <a:lumOff val="50000"/>
                  </a:schemeClr>
                </a:solidFill>
                <a:latin typeface="+mn-lt"/>
              </a:rPr>
              <a:t>) / 2 = </a:t>
            </a:r>
          </a:p>
        </p:txBody>
      </p:sp>
    </p:spTree>
    <p:extLst>
      <p:ext uri="{BB962C8B-B14F-4D97-AF65-F5344CB8AC3E}">
        <p14:creationId xmlns:p14="http://schemas.microsoft.com/office/powerpoint/2010/main" val="3501129861"/>
      </p:ext>
    </p:extLst>
  </p:cSld>
  <p:clrMapOvr>
    <a:masterClrMapping/>
  </p:clrMapOvr>
  <p:transition spd="med">
    <p:wipe dir="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3019A-8969-4E41-917D-0CD27630D77D}"/>
              </a:ext>
            </a:extLst>
          </p:cNvPr>
          <p:cNvSpPr>
            <a:spLocks noGrp="1"/>
          </p:cNvSpPr>
          <p:nvPr>
            <p:ph type="title"/>
          </p:nvPr>
        </p:nvSpPr>
        <p:spPr>
          <a:xfrm>
            <a:off x="0" y="0"/>
            <a:ext cx="8229600" cy="637794"/>
          </a:xfrm>
        </p:spPr>
        <p:txBody>
          <a:bodyPr/>
          <a:lstStyle/>
          <a:p>
            <a:r>
              <a:rPr lang="en-US" dirty="0"/>
              <a:t>Measure of Central Tendency</a:t>
            </a:r>
          </a:p>
        </p:txBody>
      </p:sp>
      <p:sp>
        <p:nvSpPr>
          <p:cNvPr id="4" name="Content Placeholder 2">
            <a:extLst>
              <a:ext uri="{FF2B5EF4-FFF2-40B4-BE49-F238E27FC236}">
                <a16:creationId xmlns:a16="http://schemas.microsoft.com/office/drawing/2014/main" id="{39E72A63-31AC-4F6E-9D77-DF5F16FB8C2D}"/>
              </a:ext>
            </a:extLst>
          </p:cNvPr>
          <p:cNvSpPr txBox="1">
            <a:spLocks/>
          </p:cNvSpPr>
          <p:nvPr/>
        </p:nvSpPr>
        <p:spPr>
          <a:xfrm>
            <a:off x="196491" y="637794"/>
            <a:ext cx="7836617" cy="3200400"/>
          </a:xfrm>
          <a:prstGeom prst="rect">
            <a:avLst/>
          </a:prstGeom>
        </p:spPr>
        <p:txBody>
          <a:bodyPr/>
          <a:lst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r>
              <a:rPr lang="en-US" sz="1900" b="1" kern="1200" dirty="0">
                <a:solidFill>
                  <a:schemeClr val="bg2">
                    <a:lumMod val="50000"/>
                    <a:lumOff val="50000"/>
                  </a:schemeClr>
                </a:solidFill>
                <a:latin typeface="+mn-lt"/>
                <a:ea typeface="+mn-ea"/>
              </a:rPr>
              <a:t>Measure of central tendency </a:t>
            </a:r>
            <a:r>
              <a:rPr lang="en-US" sz="1900" i="1" kern="1200" dirty="0">
                <a:solidFill>
                  <a:schemeClr val="bg2">
                    <a:lumMod val="50000"/>
                    <a:lumOff val="50000"/>
                  </a:schemeClr>
                </a:solidFill>
                <a:latin typeface="+mn-lt"/>
                <a:ea typeface="+mn-ea"/>
              </a:rPr>
              <a:t>yield information about the center, or middle part,</a:t>
            </a:r>
            <a:r>
              <a:rPr lang="en-US" sz="1900" kern="1200" dirty="0">
                <a:solidFill>
                  <a:schemeClr val="bg2">
                    <a:lumMod val="50000"/>
                    <a:lumOff val="50000"/>
                  </a:schemeClr>
                </a:solidFill>
                <a:latin typeface="+mn-lt"/>
                <a:ea typeface="+mn-ea"/>
              </a:rPr>
              <a:t> </a:t>
            </a:r>
            <a:r>
              <a:rPr lang="en-US" sz="1900" i="1" kern="1200" dirty="0">
                <a:solidFill>
                  <a:schemeClr val="bg2">
                    <a:lumMod val="50000"/>
                    <a:lumOff val="50000"/>
                  </a:schemeClr>
                </a:solidFill>
                <a:latin typeface="+mn-lt"/>
                <a:ea typeface="+mn-ea"/>
              </a:rPr>
              <a:t>of a group of numbers</a:t>
            </a:r>
            <a:endParaRPr lang="en-US" i="1" kern="0" dirty="0"/>
          </a:p>
        </p:txBody>
      </p:sp>
      <p:sp>
        <p:nvSpPr>
          <p:cNvPr id="5" name="Rectangle 4">
            <a:extLst>
              <a:ext uri="{FF2B5EF4-FFF2-40B4-BE49-F238E27FC236}">
                <a16:creationId xmlns:a16="http://schemas.microsoft.com/office/drawing/2014/main" id="{A43048EA-074A-4CE3-A9B1-938902706637}"/>
              </a:ext>
            </a:extLst>
          </p:cNvPr>
          <p:cNvSpPr/>
          <p:nvPr/>
        </p:nvSpPr>
        <p:spPr>
          <a:xfrm>
            <a:off x="320041" y="1584495"/>
            <a:ext cx="2226668" cy="192652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6" name="TextBox 5">
            <a:extLst>
              <a:ext uri="{FF2B5EF4-FFF2-40B4-BE49-F238E27FC236}">
                <a16:creationId xmlns:a16="http://schemas.microsoft.com/office/drawing/2014/main" id="{700023B3-6EF9-4F3A-8FD6-79F54B337413}"/>
              </a:ext>
            </a:extLst>
          </p:cNvPr>
          <p:cNvSpPr txBox="1"/>
          <p:nvPr/>
        </p:nvSpPr>
        <p:spPr>
          <a:xfrm>
            <a:off x="390889" y="1745038"/>
            <a:ext cx="1961422" cy="1631216"/>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accent1"/>
                </a:solidFill>
                <a:latin typeface="+mn-lt"/>
              </a:rPr>
              <a:t>MEAN :</a:t>
            </a:r>
          </a:p>
          <a:p>
            <a:pPr>
              <a:spcBef>
                <a:spcPts val="0"/>
              </a:spcBef>
              <a:spcAft>
                <a:spcPts val="0"/>
              </a:spcAft>
              <a:buClr>
                <a:schemeClr val="bg1"/>
              </a:buClr>
            </a:pPr>
            <a:endParaRPr lang="en-US" sz="1400" b="1" dirty="0">
              <a:solidFill>
                <a:schemeClr val="accent1"/>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Inter"/>
              </a:rPr>
              <a:t>T</a:t>
            </a:r>
            <a:r>
              <a:rPr lang="en-US" sz="1800" b="0" i="0" dirty="0">
                <a:solidFill>
                  <a:schemeClr val="bg2">
                    <a:lumMod val="50000"/>
                    <a:lumOff val="50000"/>
                  </a:schemeClr>
                </a:solidFill>
                <a:effectLst/>
                <a:latin typeface="Inter"/>
              </a:rPr>
              <a:t>he sum of all values divided by the total number of values</a:t>
            </a:r>
            <a:endParaRPr lang="en-US" b="1" dirty="0">
              <a:solidFill>
                <a:schemeClr val="bg2">
                  <a:lumMod val="50000"/>
                  <a:lumOff val="50000"/>
                </a:schemeClr>
              </a:solidFill>
              <a:latin typeface="+mn-lt"/>
            </a:endParaRPr>
          </a:p>
        </p:txBody>
      </p:sp>
      <p:sp>
        <p:nvSpPr>
          <p:cNvPr id="7" name="Rectangle 6">
            <a:extLst>
              <a:ext uri="{FF2B5EF4-FFF2-40B4-BE49-F238E27FC236}">
                <a16:creationId xmlns:a16="http://schemas.microsoft.com/office/drawing/2014/main" id="{1A7A125E-8E88-4D2C-B02B-C3AD10A4C40F}"/>
              </a:ext>
            </a:extLst>
          </p:cNvPr>
          <p:cNvSpPr/>
          <p:nvPr/>
        </p:nvSpPr>
        <p:spPr>
          <a:xfrm>
            <a:off x="3306964" y="1584495"/>
            <a:ext cx="2226668" cy="192652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8" name="TextBox 7">
            <a:extLst>
              <a:ext uri="{FF2B5EF4-FFF2-40B4-BE49-F238E27FC236}">
                <a16:creationId xmlns:a16="http://schemas.microsoft.com/office/drawing/2014/main" id="{89DAB812-C601-44F9-A00D-018D6B1E0839}"/>
              </a:ext>
            </a:extLst>
          </p:cNvPr>
          <p:cNvSpPr txBox="1"/>
          <p:nvPr/>
        </p:nvSpPr>
        <p:spPr>
          <a:xfrm>
            <a:off x="3377812" y="1745038"/>
            <a:ext cx="1961422" cy="130805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accent1"/>
                </a:solidFill>
                <a:latin typeface="+mn-lt"/>
              </a:rPr>
              <a:t>MEDIAN :</a:t>
            </a:r>
            <a:endParaRPr lang="en-US" sz="1100" b="1" dirty="0">
              <a:solidFill>
                <a:schemeClr val="accent1"/>
              </a:solidFill>
              <a:latin typeface="+mn-lt"/>
            </a:endParaRPr>
          </a:p>
          <a:p>
            <a:pPr>
              <a:spcBef>
                <a:spcPts val="0"/>
              </a:spcBef>
              <a:spcAft>
                <a:spcPts val="0"/>
              </a:spcAft>
              <a:buClr>
                <a:schemeClr val="bg1"/>
              </a:buClr>
            </a:pPr>
            <a:endParaRPr lang="en-US" sz="1100" b="1" dirty="0">
              <a:solidFill>
                <a:schemeClr val="accent1"/>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Inter"/>
              </a:rPr>
              <a:t>The middle number in an ordered data set</a:t>
            </a:r>
          </a:p>
        </p:txBody>
      </p:sp>
      <p:sp>
        <p:nvSpPr>
          <p:cNvPr id="9" name="Rectangle 8">
            <a:extLst>
              <a:ext uri="{FF2B5EF4-FFF2-40B4-BE49-F238E27FC236}">
                <a16:creationId xmlns:a16="http://schemas.microsoft.com/office/drawing/2014/main" id="{905A28FF-286E-472E-85BF-8CEB657F1CF3}"/>
              </a:ext>
            </a:extLst>
          </p:cNvPr>
          <p:cNvSpPr/>
          <p:nvPr/>
        </p:nvSpPr>
        <p:spPr>
          <a:xfrm>
            <a:off x="6293888" y="1584495"/>
            <a:ext cx="2226668" cy="192652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0" name="TextBox 9">
            <a:extLst>
              <a:ext uri="{FF2B5EF4-FFF2-40B4-BE49-F238E27FC236}">
                <a16:creationId xmlns:a16="http://schemas.microsoft.com/office/drawing/2014/main" id="{67FCE0DA-E98D-49E1-B9C2-4C30AF458A0C}"/>
              </a:ext>
            </a:extLst>
          </p:cNvPr>
          <p:cNvSpPr txBox="1"/>
          <p:nvPr/>
        </p:nvSpPr>
        <p:spPr>
          <a:xfrm>
            <a:off x="6364736" y="1745038"/>
            <a:ext cx="1961422" cy="892552"/>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accent1"/>
                </a:solidFill>
                <a:latin typeface="+mn-lt"/>
              </a:rPr>
              <a:t>MODE :</a:t>
            </a:r>
            <a:endParaRPr lang="en-US" sz="1000" b="1" dirty="0">
              <a:solidFill>
                <a:schemeClr val="accent1"/>
              </a:solidFill>
              <a:latin typeface="+mn-lt"/>
            </a:endParaRPr>
          </a:p>
          <a:p>
            <a:pPr>
              <a:spcBef>
                <a:spcPts val="0"/>
              </a:spcBef>
              <a:spcAft>
                <a:spcPts val="0"/>
              </a:spcAft>
              <a:buClr>
                <a:schemeClr val="bg1"/>
              </a:buClr>
            </a:pPr>
            <a:endParaRPr lang="en-US" sz="1000" b="1" dirty="0">
              <a:solidFill>
                <a:schemeClr val="accent1"/>
              </a:solidFill>
              <a:latin typeface="+mn-lt"/>
            </a:endParaRPr>
          </a:p>
          <a:p>
            <a:pPr>
              <a:spcBef>
                <a:spcPts val="0"/>
              </a:spcBef>
              <a:spcAft>
                <a:spcPts val="0"/>
              </a:spcAft>
              <a:buClr>
                <a:schemeClr val="bg1"/>
              </a:buClr>
            </a:pPr>
            <a:r>
              <a:rPr lang="en-US" sz="1400" dirty="0">
                <a:solidFill>
                  <a:schemeClr val="bg2">
                    <a:lumMod val="50000"/>
                    <a:lumOff val="50000"/>
                  </a:schemeClr>
                </a:solidFill>
                <a:latin typeface="Inter"/>
              </a:rPr>
              <a:t>The most frequent value</a:t>
            </a:r>
          </a:p>
          <a:p>
            <a:pPr>
              <a:spcBef>
                <a:spcPts val="0"/>
              </a:spcBef>
              <a:spcAft>
                <a:spcPts val="0"/>
              </a:spcAft>
              <a:buClr>
                <a:schemeClr val="bg1"/>
              </a:buClr>
            </a:pPr>
            <a:endParaRPr lang="en-US" sz="1400" b="1" dirty="0">
              <a:solidFill>
                <a:schemeClr val="accent1"/>
              </a:solidFill>
              <a:latin typeface="+mn-lt"/>
            </a:endParaRPr>
          </a:p>
        </p:txBody>
      </p:sp>
    </p:spTree>
    <p:extLst>
      <p:ext uri="{BB962C8B-B14F-4D97-AF65-F5344CB8AC3E}">
        <p14:creationId xmlns:p14="http://schemas.microsoft.com/office/powerpoint/2010/main" val="4068607360"/>
      </p:ext>
    </p:extLst>
  </p:cSld>
  <p:clrMapOvr>
    <a:masterClrMapping/>
  </p:clrMapOvr>
  <p:transition spd="med">
    <p:wipe dir="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1">
            <a:extLst>
              <a:ext uri="{FF2B5EF4-FFF2-40B4-BE49-F238E27FC236}">
                <a16:creationId xmlns:a16="http://schemas.microsoft.com/office/drawing/2014/main" id="{58C326E3-E793-4419-9749-AAB5C1FA8435}"/>
              </a:ext>
            </a:extLst>
          </p:cNvPr>
          <p:cNvSpPr>
            <a:spLocks noGrp="1"/>
          </p:cNvSpPr>
          <p:nvPr>
            <p:ph type="body" sz="quarter" idx="10"/>
          </p:nvPr>
        </p:nvSpPr>
        <p:spPr>
          <a:xfrm>
            <a:off x="274318" y="659921"/>
            <a:ext cx="7955280" cy="238842"/>
          </a:xfrm>
        </p:spPr>
        <p:txBody>
          <a:bodyPr/>
          <a:lstStyle/>
          <a:p>
            <a:pPr marL="0" indent="0">
              <a:buNone/>
            </a:pPr>
            <a:r>
              <a:rPr lang="en-US" dirty="0"/>
              <a:t>Let’s </a:t>
            </a:r>
            <a:r>
              <a:rPr lang="en-US" dirty="0" err="1"/>
              <a:t>Gooooooooooo</a:t>
            </a:r>
            <a:r>
              <a:rPr lang="en-US" dirty="0"/>
              <a:t>… </a:t>
            </a:r>
          </a:p>
        </p:txBody>
      </p:sp>
      <p:sp>
        <p:nvSpPr>
          <p:cNvPr id="2" name="Title 1">
            <a:extLst>
              <a:ext uri="{FF2B5EF4-FFF2-40B4-BE49-F238E27FC236}">
                <a16:creationId xmlns:a16="http://schemas.microsoft.com/office/drawing/2014/main" id="{4643F953-1C23-46FD-AAAE-48D1EF3239AA}"/>
              </a:ext>
            </a:extLst>
          </p:cNvPr>
          <p:cNvSpPr>
            <a:spLocks noGrp="1"/>
          </p:cNvSpPr>
          <p:nvPr>
            <p:ph type="title"/>
          </p:nvPr>
        </p:nvSpPr>
        <p:spPr>
          <a:xfrm>
            <a:off x="176597" y="73388"/>
            <a:ext cx="7955280" cy="640080"/>
          </a:xfrm>
        </p:spPr>
        <p:txBody>
          <a:bodyPr>
            <a:normAutofit/>
          </a:bodyPr>
          <a:lstStyle/>
          <a:p>
            <a:r>
              <a:rPr lang="en-US" sz="3200" dirty="0"/>
              <a:t>Ready ??????????????</a:t>
            </a:r>
            <a:endParaRPr lang="en-US" dirty="0"/>
          </a:p>
        </p:txBody>
      </p:sp>
      <p:pic>
        <p:nvPicPr>
          <p:cNvPr id="6" name="Picture 5" descr="A red car driving on a road&#10;&#10;Description automatically generated with medium confidence">
            <a:extLst>
              <a:ext uri="{FF2B5EF4-FFF2-40B4-BE49-F238E27FC236}">
                <a16:creationId xmlns:a16="http://schemas.microsoft.com/office/drawing/2014/main" id="{24B9B8C4-AA54-41BC-B108-D9677BC81090}"/>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274318" y="1189538"/>
            <a:ext cx="6908259" cy="3570926"/>
          </a:xfrm>
          <a:prstGeom prst="rect">
            <a:avLst/>
          </a:prstGeom>
        </p:spPr>
      </p:pic>
    </p:spTree>
    <p:extLst>
      <p:ext uri="{BB962C8B-B14F-4D97-AF65-F5344CB8AC3E}">
        <p14:creationId xmlns:p14="http://schemas.microsoft.com/office/powerpoint/2010/main" val="3790379752"/>
      </p:ext>
    </p:extLst>
  </p:cSld>
  <p:clrMapOvr>
    <a:masterClrMapping/>
  </p:clrMapOvr>
  <p:transition spd="med">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p:spTree>
    <p:extLst>
      <p:ext uri="{BB962C8B-B14F-4D97-AF65-F5344CB8AC3E}">
        <p14:creationId xmlns:p14="http://schemas.microsoft.com/office/powerpoint/2010/main" val="2602528787"/>
      </p:ext>
    </p:extLst>
  </p:cSld>
  <p:clrMapOvr>
    <a:masterClrMapping/>
  </p:clrMapOvr>
  <p:transition spd="med">
    <p:wipe dir="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06C7DD8-E1BC-4EBD-BFD4-E6A6AF47F2E0}"/>
              </a:ext>
            </a:extLst>
          </p:cNvPr>
          <p:cNvSpPr>
            <a:spLocks noGrp="1"/>
          </p:cNvSpPr>
          <p:nvPr>
            <p:ph type="title"/>
          </p:nvPr>
        </p:nvSpPr>
        <p:spPr>
          <a:xfrm>
            <a:off x="113776" y="118322"/>
            <a:ext cx="7955280" cy="640080"/>
          </a:xfrm>
        </p:spPr>
        <p:txBody>
          <a:bodyPr/>
          <a:lstStyle/>
          <a:p>
            <a:r>
              <a:rPr lang="en-US" dirty="0"/>
              <a:t>Mean </a:t>
            </a:r>
          </a:p>
        </p:txBody>
      </p:sp>
      <p:sp>
        <p:nvSpPr>
          <p:cNvPr id="4" name="Content Placeholder 3">
            <a:extLst>
              <a:ext uri="{FF2B5EF4-FFF2-40B4-BE49-F238E27FC236}">
                <a16:creationId xmlns:a16="http://schemas.microsoft.com/office/drawing/2014/main" id="{76ABAD4C-07E6-4B48-A259-F8E361E4AAD0}"/>
              </a:ext>
            </a:extLst>
          </p:cNvPr>
          <p:cNvSpPr>
            <a:spLocks noGrp="1"/>
          </p:cNvSpPr>
          <p:nvPr>
            <p:ph sz="half" idx="1"/>
          </p:nvPr>
        </p:nvSpPr>
        <p:spPr>
          <a:xfrm>
            <a:off x="113776" y="828544"/>
            <a:ext cx="7955280" cy="3017520"/>
          </a:xfrm>
        </p:spPr>
        <p:txBody>
          <a:bodyPr/>
          <a:lstStyle/>
          <a:p>
            <a:r>
              <a:rPr lang="en-US" dirty="0"/>
              <a:t>The mean is the average of a group of number and is computed by summing all numbers and dividing by the number of numbers.</a:t>
            </a:r>
          </a:p>
          <a:p>
            <a:endParaRPr lang="en-US" dirty="0"/>
          </a:p>
          <a:p>
            <a:pPr marL="0" indent="0">
              <a:buNone/>
            </a:pPr>
            <a:r>
              <a:rPr lang="en-US" b="1" dirty="0"/>
              <a:t>Ex: </a:t>
            </a:r>
            <a:r>
              <a:rPr lang="en-US" dirty="0"/>
              <a:t>of a Jumping castle</a:t>
            </a:r>
          </a:p>
          <a:p>
            <a:endParaRPr lang="en-US" dirty="0"/>
          </a:p>
          <a:p>
            <a:pPr marL="0" indent="0">
              <a:buNone/>
            </a:pPr>
            <a:endParaRPr lang="en-US" dirty="0"/>
          </a:p>
        </p:txBody>
      </p:sp>
      <p:pic>
        <p:nvPicPr>
          <p:cNvPr id="8" name="Picture 7" descr="A picture containing tree, outdoor, colorful&#10;&#10;Description automatically generated">
            <a:extLst>
              <a:ext uri="{FF2B5EF4-FFF2-40B4-BE49-F238E27FC236}">
                <a16:creationId xmlns:a16="http://schemas.microsoft.com/office/drawing/2014/main" id="{431D9C13-880E-4616-A698-2D43B2DD595D}"/>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940741" y="1898600"/>
            <a:ext cx="2919771" cy="1947464"/>
          </a:xfrm>
          <a:prstGeom prst="rect">
            <a:avLst/>
          </a:prstGeom>
        </p:spPr>
      </p:pic>
      <p:sp>
        <p:nvSpPr>
          <p:cNvPr id="10" name="TextBox 9">
            <a:extLst>
              <a:ext uri="{FF2B5EF4-FFF2-40B4-BE49-F238E27FC236}">
                <a16:creationId xmlns:a16="http://schemas.microsoft.com/office/drawing/2014/main" id="{9527B901-F112-4CF6-B0AB-5B0206A695F7}"/>
              </a:ext>
            </a:extLst>
          </p:cNvPr>
          <p:cNvSpPr txBox="1"/>
          <p:nvPr/>
        </p:nvSpPr>
        <p:spPr>
          <a:xfrm>
            <a:off x="113776" y="4271853"/>
            <a:ext cx="5086438"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ere the mean is accurate but not useful</a:t>
            </a:r>
          </a:p>
        </p:txBody>
      </p:sp>
    </p:spTree>
    <p:extLst>
      <p:ext uri="{BB962C8B-B14F-4D97-AF65-F5344CB8AC3E}">
        <p14:creationId xmlns:p14="http://schemas.microsoft.com/office/powerpoint/2010/main" val="2688859099"/>
      </p:ext>
    </p:extLst>
  </p:cSld>
  <p:clrMapOvr>
    <a:masterClrMapping/>
  </p:clrMapOvr>
  <p:transition spd="med">
    <p:wipe dir="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22DD31-3378-4BFD-858A-45134180E98B}"/>
              </a:ext>
            </a:extLst>
          </p:cNvPr>
          <p:cNvSpPr>
            <a:spLocks noGrp="1"/>
          </p:cNvSpPr>
          <p:nvPr>
            <p:ph type="title"/>
          </p:nvPr>
        </p:nvSpPr>
        <p:spPr>
          <a:xfrm>
            <a:off x="78874" y="83421"/>
            <a:ext cx="7955280" cy="640080"/>
          </a:xfrm>
        </p:spPr>
        <p:txBody>
          <a:bodyPr/>
          <a:lstStyle/>
          <a:p>
            <a:r>
              <a:rPr lang="en-US" dirty="0"/>
              <a:t>Median</a:t>
            </a:r>
          </a:p>
        </p:txBody>
      </p:sp>
      <p:sp>
        <p:nvSpPr>
          <p:cNvPr id="4" name="Content Placeholder 3">
            <a:extLst>
              <a:ext uri="{FF2B5EF4-FFF2-40B4-BE49-F238E27FC236}">
                <a16:creationId xmlns:a16="http://schemas.microsoft.com/office/drawing/2014/main" id="{6E9599F9-7E29-4BD8-8E52-18FF8C724383}"/>
              </a:ext>
            </a:extLst>
          </p:cNvPr>
          <p:cNvSpPr>
            <a:spLocks noGrp="1"/>
          </p:cNvSpPr>
          <p:nvPr>
            <p:ph sz="half" idx="1"/>
          </p:nvPr>
        </p:nvSpPr>
        <p:spPr>
          <a:xfrm>
            <a:off x="204517" y="870425"/>
            <a:ext cx="8269388" cy="3017520"/>
          </a:xfrm>
        </p:spPr>
        <p:txBody>
          <a:bodyPr/>
          <a:lstStyle/>
          <a:p>
            <a:r>
              <a:rPr lang="en-US" dirty="0"/>
              <a:t>List all the numbers in order and choose the middle one</a:t>
            </a:r>
          </a:p>
          <a:p>
            <a:r>
              <a:rPr lang="en-US" dirty="0"/>
              <a:t>Ex : Jumping castle continued </a:t>
            </a:r>
          </a:p>
          <a:p>
            <a:r>
              <a:rPr lang="en-US" dirty="0"/>
              <a:t>List the ages in order.</a:t>
            </a:r>
          </a:p>
        </p:txBody>
      </p:sp>
      <p:pic>
        <p:nvPicPr>
          <p:cNvPr id="6" name="Picture 5" descr="A group of planets in space&#10;&#10;Description automatically generated with low confidence">
            <a:extLst>
              <a:ext uri="{FF2B5EF4-FFF2-40B4-BE49-F238E27FC236}">
                <a16:creationId xmlns:a16="http://schemas.microsoft.com/office/drawing/2014/main" id="{375C0BAF-A535-485E-8530-85DE19CD3DC7}"/>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272543" y="1502296"/>
            <a:ext cx="3666940" cy="2446035"/>
          </a:xfrm>
          <a:prstGeom prst="rect">
            <a:avLst/>
          </a:prstGeom>
        </p:spPr>
      </p:pic>
    </p:spTree>
    <p:extLst>
      <p:ext uri="{BB962C8B-B14F-4D97-AF65-F5344CB8AC3E}">
        <p14:creationId xmlns:p14="http://schemas.microsoft.com/office/powerpoint/2010/main" val="1532996662"/>
      </p:ext>
    </p:extLst>
  </p:cSld>
  <p:clrMapOvr>
    <a:masterClrMapping/>
  </p:clrMapOvr>
  <p:transition spd="med">
    <p:wipe dir="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ABBA51-A685-4F2C-AE0B-DE4088F8EF66}"/>
              </a:ext>
            </a:extLst>
          </p:cNvPr>
          <p:cNvSpPr>
            <a:spLocks noGrp="1"/>
          </p:cNvSpPr>
          <p:nvPr>
            <p:ph type="title"/>
          </p:nvPr>
        </p:nvSpPr>
        <p:spPr/>
        <p:txBody>
          <a:bodyPr/>
          <a:lstStyle/>
          <a:p>
            <a:r>
              <a:rPr lang="en-US" dirty="0"/>
              <a:t>Median – Two middle numbers</a:t>
            </a:r>
          </a:p>
        </p:txBody>
      </p:sp>
      <p:sp>
        <p:nvSpPr>
          <p:cNvPr id="4" name="Content Placeholder 3">
            <a:extLst>
              <a:ext uri="{FF2B5EF4-FFF2-40B4-BE49-F238E27FC236}">
                <a16:creationId xmlns:a16="http://schemas.microsoft.com/office/drawing/2014/main" id="{B4DE2912-DDA6-440E-BEA6-B3A254DD16E9}"/>
              </a:ext>
            </a:extLst>
          </p:cNvPr>
          <p:cNvSpPr>
            <a:spLocks noGrp="1"/>
          </p:cNvSpPr>
          <p:nvPr>
            <p:ph sz="half" idx="1"/>
          </p:nvPr>
        </p:nvSpPr>
        <p:spPr>
          <a:xfrm>
            <a:off x="274319" y="1010028"/>
            <a:ext cx="7955280" cy="3017520"/>
          </a:xfrm>
        </p:spPr>
        <p:txBody>
          <a:bodyPr/>
          <a:lstStyle/>
          <a:p>
            <a:r>
              <a:rPr lang="en-US" dirty="0"/>
              <a:t>If there are two middle number, then just take the average of those two numbers</a:t>
            </a:r>
          </a:p>
          <a:p>
            <a:endParaRPr lang="en-US" dirty="0"/>
          </a:p>
          <a:p>
            <a:r>
              <a:rPr lang="en-US" dirty="0"/>
              <a:t>Ex : find Median of 7,9,10,11,11,15</a:t>
            </a:r>
          </a:p>
        </p:txBody>
      </p:sp>
    </p:spTree>
    <p:extLst>
      <p:ext uri="{BB962C8B-B14F-4D97-AF65-F5344CB8AC3E}">
        <p14:creationId xmlns:p14="http://schemas.microsoft.com/office/powerpoint/2010/main" val="3262174151"/>
      </p:ext>
    </p:extLst>
  </p:cSld>
  <p:clrMapOvr>
    <a:masterClrMapping/>
  </p:clrMapOvr>
  <p:transition spd="med">
    <p:wipe dir="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25CB22-FF51-4206-A208-F34D589823FC}"/>
              </a:ext>
            </a:extLst>
          </p:cNvPr>
          <p:cNvSpPr>
            <a:spLocks noGrp="1"/>
          </p:cNvSpPr>
          <p:nvPr>
            <p:ph type="title"/>
          </p:nvPr>
        </p:nvSpPr>
        <p:spPr>
          <a:xfrm>
            <a:off x="78874" y="139262"/>
            <a:ext cx="7955280" cy="640080"/>
          </a:xfrm>
        </p:spPr>
        <p:txBody>
          <a:bodyPr/>
          <a:lstStyle/>
          <a:p>
            <a:r>
              <a:rPr lang="en-US" dirty="0"/>
              <a:t>Mode</a:t>
            </a:r>
          </a:p>
        </p:txBody>
      </p:sp>
      <p:sp>
        <p:nvSpPr>
          <p:cNvPr id="4" name="Content Placeholder 3">
            <a:extLst>
              <a:ext uri="{FF2B5EF4-FFF2-40B4-BE49-F238E27FC236}">
                <a16:creationId xmlns:a16="http://schemas.microsoft.com/office/drawing/2014/main" id="{38C4030F-B49C-4D2E-A105-0BDA558200F7}"/>
              </a:ext>
            </a:extLst>
          </p:cNvPr>
          <p:cNvSpPr>
            <a:spLocks noGrp="1"/>
          </p:cNvSpPr>
          <p:nvPr>
            <p:ph sz="half" idx="1"/>
          </p:nvPr>
        </p:nvSpPr>
        <p:spPr>
          <a:xfrm>
            <a:off x="148677" y="670095"/>
            <a:ext cx="7955280" cy="3908885"/>
          </a:xfrm>
        </p:spPr>
        <p:txBody>
          <a:bodyPr/>
          <a:lstStyle/>
          <a:p>
            <a:r>
              <a:rPr lang="en-US" sz="1400" dirty="0">
                <a:solidFill>
                  <a:schemeClr val="bg2">
                    <a:lumMod val="50000"/>
                    <a:lumOff val="50000"/>
                  </a:schemeClr>
                </a:solidFill>
                <a:latin typeface="Inter"/>
              </a:rPr>
              <a:t>The most frequent value. (the value that occurs the highest number of times)</a:t>
            </a:r>
          </a:p>
          <a:p>
            <a:endParaRPr lang="en-US" dirty="0">
              <a:solidFill>
                <a:schemeClr val="bg2">
                  <a:lumMod val="50000"/>
                  <a:lumOff val="50000"/>
                </a:schemeClr>
              </a:solidFill>
              <a:latin typeface="Inter"/>
            </a:endParaRPr>
          </a:p>
          <a:p>
            <a:r>
              <a:rPr lang="en-US" sz="1400" dirty="0">
                <a:solidFill>
                  <a:schemeClr val="bg2">
                    <a:lumMod val="50000"/>
                    <a:lumOff val="50000"/>
                  </a:schemeClr>
                </a:solidFill>
                <a:latin typeface="Inter"/>
              </a:rPr>
              <a:t>Ex : Jumping castle continued</a:t>
            </a:r>
          </a:p>
          <a:p>
            <a:r>
              <a:rPr lang="en-US" dirty="0">
                <a:solidFill>
                  <a:schemeClr val="bg2">
                    <a:lumMod val="50000"/>
                    <a:lumOff val="50000"/>
                  </a:schemeClr>
                </a:solidFill>
                <a:latin typeface="Inter"/>
              </a:rPr>
              <a:t>Group the numbers so we can count them : </a:t>
            </a:r>
            <a:endParaRPr lang="en-US" sz="1400" dirty="0">
              <a:solidFill>
                <a:schemeClr val="bg2">
                  <a:lumMod val="50000"/>
                  <a:lumOff val="50000"/>
                </a:schemeClr>
              </a:solidFill>
              <a:latin typeface="Inter"/>
            </a:endParaRPr>
          </a:p>
          <a:p>
            <a:endParaRPr lang="en-US" dirty="0"/>
          </a:p>
        </p:txBody>
      </p:sp>
      <p:pic>
        <p:nvPicPr>
          <p:cNvPr id="6" name="Picture 5" descr="A group of planets in space&#10;&#10;Description automatically generated with low confidence">
            <a:extLst>
              <a:ext uri="{FF2B5EF4-FFF2-40B4-BE49-F238E27FC236}">
                <a16:creationId xmlns:a16="http://schemas.microsoft.com/office/drawing/2014/main" id="{9913AA4F-182A-4CFF-96F3-3A802A25BE2F}"/>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272543" y="1502296"/>
            <a:ext cx="3666940" cy="2446035"/>
          </a:xfrm>
          <a:prstGeom prst="rect">
            <a:avLst/>
          </a:prstGeom>
        </p:spPr>
      </p:pic>
    </p:spTree>
    <p:extLst>
      <p:ext uri="{BB962C8B-B14F-4D97-AF65-F5344CB8AC3E}">
        <p14:creationId xmlns:p14="http://schemas.microsoft.com/office/powerpoint/2010/main" val="636038740"/>
      </p:ext>
    </p:extLst>
  </p:cSld>
  <p:clrMapOvr>
    <a:masterClrMapping/>
  </p:clrMapOvr>
  <p:transition spd="med">
    <p:wipe dir="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7D0E9BB-181B-4BF0-A706-7A35CF408AD5}"/>
              </a:ext>
            </a:extLst>
          </p:cNvPr>
          <p:cNvSpPr>
            <a:spLocks noGrp="1"/>
          </p:cNvSpPr>
          <p:nvPr>
            <p:ph type="title"/>
          </p:nvPr>
        </p:nvSpPr>
        <p:spPr>
          <a:xfrm>
            <a:off x="204518" y="132282"/>
            <a:ext cx="7955280" cy="640080"/>
          </a:xfrm>
        </p:spPr>
        <p:txBody>
          <a:bodyPr/>
          <a:lstStyle/>
          <a:p>
            <a:r>
              <a:rPr lang="en-US" dirty="0"/>
              <a:t>Mode</a:t>
            </a:r>
          </a:p>
        </p:txBody>
      </p:sp>
      <p:sp>
        <p:nvSpPr>
          <p:cNvPr id="4" name="Content Placeholder 3">
            <a:extLst>
              <a:ext uri="{FF2B5EF4-FFF2-40B4-BE49-F238E27FC236}">
                <a16:creationId xmlns:a16="http://schemas.microsoft.com/office/drawing/2014/main" id="{F7D859AF-EC6C-404E-A3A5-5C9B7B9266E3}"/>
              </a:ext>
            </a:extLst>
          </p:cNvPr>
          <p:cNvSpPr>
            <a:spLocks noGrp="1"/>
          </p:cNvSpPr>
          <p:nvPr>
            <p:ph sz="half" idx="1"/>
          </p:nvPr>
        </p:nvSpPr>
        <p:spPr>
          <a:xfrm>
            <a:off x="274320" y="718956"/>
            <a:ext cx="7955280" cy="3853044"/>
          </a:xfrm>
        </p:spPr>
        <p:txBody>
          <a:bodyPr/>
          <a:lstStyle/>
          <a:p>
            <a:r>
              <a:rPr lang="en-US" dirty="0">
                <a:solidFill>
                  <a:schemeClr val="bg2">
                    <a:lumMod val="50000"/>
                    <a:lumOff val="50000"/>
                  </a:schemeClr>
                </a:solidFill>
              </a:rPr>
              <a:t>But Mode can be tricky, there can sometime be more than one mode</a:t>
            </a:r>
          </a:p>
          <a:p>
            <a:endParaRPr lang="en-US" dirty="0">
              <a:solidFill>
                <a:schemeClr val="bg2">
                  <a:lumMod val="50000"/>
                  <a:lumOff val="50000"/>
                </a:schemeClr>
              </a:solidFill>
            </a:endParaRPr>
          </a:p>
          <a:p>
            <a:r>
              <a:rPr lang="en-US" dirty="0">
                <a:solidFill>
                  <a:schemeClr val="bg2">
                    <a:lumMod val="50000"/>
                    <a:lumOff val="50000"/>
                  </a:schemeClr>
                </a:solidFill>
              </a:rPr>
              <a:t>Ex : What is the Mode of 10,11,11,12,12,13,14</a:t>
            </a:r>
          </a:p>
          <a:p>
            <a:endParaRPr lang="en-US" dirty="0"/>
          </a:p>
          <a:p>
            <a:endParaRPr lang="en-US" dirty="0"/>
          </a:p>
        </p:txBody>
      </p:sp>
    </p:spTree>
    <p:extLst>
      <p:ext uri="{BB962C8B-B14F-4D97-AF65-F5344CB8AC3E}">
        <p14:creationId xmlns:p14="http://schemas.microsoft.com/office/powerpoint/2010/main" val="3651340896"/>
      </p:ext>
    </p:extLst>
  </p:cSld>
  <p:clrMapOvr>
    <a:masterClrMapping/>
  </p:clrMapOvr>
  <p:transition spd="med">
    <p:wipe dir="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5105FE6-98FF-4D7B-B314-563F75F834DB}"/>
              </a:ext>
            </a:extLst>
          </p:cNvPr>
          <p:cNvSpPr>
            <a:spLocks noGrp="1"/>
          </p:cNvSpPr>
          <p:nvPr>
            <p:ph type="title"/>
          </p:nvPr>
        </p:nvSpPr>
        <p:spPr>
          <a:xfrm>
            <a:off x="50954" y="83420"/>
            <a:ext cx="7955280" cy="640080"/>
          </a:xfrm>
        </p:spPr>
        <p:txBody>
          <a:bodyPr/>
          <a:lstStyle/>
          <a:p>
            <a:r>
              <a:rPr lang="en-US" dirty="0"/>
              <a:t>Grouping</a:t>
            </a:r>
          </a:p>
        </p:txBody>
      </p:sp>
      <p:sp>
        <p:nvSpPr>
          <p:cNvPr id="4" name="Content Placeholder 3">
            <a:extLst>
              <a:ext uri="{FF2B5EF4-FFF2-40B4-BE49-F238E27FC236}">
                <a16:creationId xmlns:a16="http://schemas.microsoft.com/office/drawing/2014/main" id="{7467BCD5-CB99-4999-9385-6B8338F1F152}"/>
              </a:ext>
            </a:extLst>
          </p:cNvPr>
          <p:cNvSpPr>
            <a:spLocks noGrp="1"/>
          </p:cNvSpPr>
          <p:nvPr>
            <p:ph sz="half" idx="1"/>
          </p:nvPr>
        </p:nvSpPr>
        <p:spPr>
          <a:xfrm>
            <a:off x="50953" y="870425"/>
            <a:ext cx="8583495" cy="3757416"/>
          </a:xfrm>
        </p:spPr>
        <p:txBody>
          <a:bodyPr/>
          <a:lstStyle/>
          <a:p>
            <a:r>
              <a:rPr lang="en-US" dirty="0">
                <a:solidFill>
                  <a:schemeClr val="bg2">
                    <a:lumMod val="50000"/>
                    <a:lumOff val="50000"/>
                  </a:schemeClr>
                </a:solidFill>
                <a:latin typeface="Inter"/>
              </a:rPr>
              <a:t>In Some cases (such as when all values appear the same number of times) the mode is not useful. But we can group the values to see if one group has more than the others </a:t>
            </a:r>
          </a:p>
          <a:p>
            <a:r>
              <a:rPr lang="en-US" dirty="0">
                <a:solidFill>
                  <a:schemeClr val="bg2">
                    <a:lumMod val="50000"/>
                    <a:lumOff val="50000"/>
                  </a:schemeClr>
                </a:solidFill>
                <a:latin typeface="Inter"/>
              </a:rPr>
              <a:t>Ex : 5, 8, 12, 17, 21</a:t>
            </a:r>
            <a:r>
              <a:rPr lang="en-US">
                <a:solidFill>
                  <a:schemeClr val="bg2">
                    <a:lumMod val="50000"/>
                    <a:lumOff val="50000"/>
                  </a:schemeClr>
                </a:solidFill>
                <a:latin typeface="Inter"/>
              </a:rPr>
              <a:t>, 23, </a:t>
            </a:r>
            <a:r>
              <a:rPr lang="en-US" dirty="0">
                <a:solidFill>
                  <a:schemeClr val="bg2">
                    <a:lumMod val="50000"/>
                    <a:lumOff val="50000"/>
                  </a:schemeClr>
                </a:solidFill>
                <a:latin typeface="Inter"/>
              </a:rPr>
              <a:t>26, 27</a:t>
            </a:r>
            <a:r>
              <a:rPr lang="en-US">
                <a:solidFill>
                  <a:schemeClr val="bg2">
                    <a:lumMod val="50000"/>
                    <a:lumOff val="50000"/>
                  </a:schemeClr>
                </a:solidFill>
                <a:latin typeface="Inter"/>
              </a:rPr>
              <a:t>, 34</a:t>
            </a:r>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r>
              <a:rPr lang="en-US" b="1" i="1" dirty="0">
                <a:solidFill>
                  <a:schemeClr val="bg2">
                    <a:lumMod val="50000"/>
                    <a:lumOff val="50000"/>
                  </a:schemeClr>
                </a:solidFill>
                <a:latin typeface="Inter"/>
              </a:rPr>
              <a:t>Note : You could use different grouping and get a different answer</a:t>
            </a:r>
          </a:p>
        </p:txBody>
      </p:sp>
    </p:spTree>
    <p:extLst>
      <p:ext uri="{BB962C8B-B14F-4D97-AF65-F5344CB8AC3E}">
        <p14:creationId xmlns:p14="http://schemas.microsoft.com/office/powerpoint/2010/main" val="1995959026"/>
      </p:ext>
    </p:extLst>
  </p:cSld>
  <p:clrMapOvr>
    <a:masterClrMapping/>
  </p:clrMapOvr>
  <p:transition spd="med">
    <p:wipe dir="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BDE561-1E11-496C-86F7-9FC450554141}"/>
              </a:ext>
            </a:extLst>
          </p:cNvPr>
          <p:cNvSpPr>
            <a:spLocks noGrp="1"/>
          </p:cNvSpPr>
          <p:nvPr>
            <p:ph type="title"/>
          </p:nvPr>
        </p:nvSpPr>
        <p:spPr>
          <a:xfrm>
            <a:off x="0" y="27981"/>
            <a:ext cx="7955280" cy="640080"/>
          </a:xfrm>
        </p:spPr>
        <p:txBody>
          <a:bodyPr/>
          <a:lstStyle/>
          <a:p>
            <a:r>
              <a:rPr lang="en-US" dirty="0"/>
              <a:t>Grouping another example</a:t>
            </a:r>
          </a:p>
        </p:txBody>
      </p:sp>
      <p:sp>
        <p:nvSpPr>
          <p:cNvPr id="4" name="Content Placeholder 3">
            <a:extLst>
              <a:ext uri="{FF2B5EF4-FFF2-40B4-BE49-F238E27FC236}">
                <a16:creationId xmlns:a16="http://schemas.microsoft.com/office/drawing/2014/main" id="{835414F6-32F3-427B-8782-BB4FFF32D390}"/>
              </a:ext>
            </a:extLst>
          </p:cNvPr>
          <p:cNvSpPr>
            <a:spLocks noGrp="1"/>
          </p:cNvSpPr>
          <p:nvPr>
            <p:ph sz="half" idx="1"/>
          </p:nvPr>
        </p:nvSpPr>
        <p:spPr>
          <a:xfrm>
            <a:off x="0" y="528398"/>
            <a:ext cx="8890620" cy="3952860"/>
          </a:xfrm>
        </p:spPr>
        <p:txBody>
          <a:bodyPr>
            <a:normAutofit/>
          </a:bodyPr>
          <a:lstStyle/>
          <a:p>
            <a:r>
              <a:rPr lang="en-US" dirty="0">
                <a:solidFill>
                  <a:schemeClr val="bg2">
                    <a:lumMod val="50000"/>
                    <a:lumOff val="50000"/>
                  </a:schemeClr>
                </a:solidFill>
              </a:rPr>
              <a:t>Grouping also help to find what the typical values are when the real-world messes things up!</a:t>
            </a:r>
          </a:p>
          <a:p>
            <a:r>
              <a:rPr lang="en-US" dirty="0">
                <a:solidFill>
                  <a:schemeClr val="bg2">
                    <a:lumMod val="50000"/>
                    <a:lumOff val="50000"/>
                  </a:schemeClr>
                </a:solidFill>
              </a:rPr>
              <a:t>Ex : How long to load a truck?</a:t>
            </a:r>
          </a:p>
          <a:p>
            <a:r>
              <a:rPr lang="en-US" dirty="0">
                <a:solidFill>
                  <a:schemeClr val="bg2">
                    <a:lumMod val="50000"/>
                    <a:lumOff val="50000"/>
                  </a:schemeClr>
                </a:solidFill>
              </a:rPr>
              <a:t>Robert recorded how long it take to load a truck in minutes:</a:t>
            </a:r>
          </a:p>
          <a:p>
            <a:pPr lvl="2"/>
            <a:r>
              <a:rPr lang="en-US" sz="1400" dirty="0">
                <a:solidFill>
                  <a:schemeClr val="bg2">
                    <a:lumMod val="50000"/>
                    <a:lumOff val="50000"/>
                  </a:schemeClr>
                </a:solidFill>
              </a:rPr>
              <a:t>46, 47, 43, 53, 69, 67, 46, 50, 57, 58, 45, 48, 61</a:t>
            </a:r>
          </a:p>
          <a:p>
            <a:r>
              <a:rPr lang="en-US" dirty="0">
                <a:solidFill>
                  <a:schemeClr val="bg2">
                    <a:lumMod val="50000"/>
                    <a:lumOff val="50000"/>
                  </a:schemeClr>
                </a:solidFill>
              </a:rPr>
              <a:t>It takes longer when there is break time or lunch so an average is not very useful.</a:t>
            </a:r>
          </a:p>
          <a:p>
            <a:r>
              <a:rPr lang="en-US" dirty="0">
                <a:solidFill>
                  <a:schemeClr val="bg2">
                    <a:lumMod val="50000"/>
                    <a:lumOff val="50000"/>
                  </a:schemeClr>
                </a:solidFill>
              </a:rPr>
              <a:t>But grouping by 5s gives:</a:t>
            </a:r>
          </a:p>
          <a:p>
            <a:pPr marL="0" indent="0">
              <a:buNone/>
            </a:pPr>
            <a:endParaRPr lang="en-US" dirty="0">
              <a:solidFill>
                <a:schemeClr val="bg2">
                  <a:lumMod val="50000"/>
                  <a:lumOff val="50000"/>
                </a:schemeClr>
              </a:solidFill>
            </a:endParaRPr>
          </a:p>
          <a:p>
            <a:pPr>
              <a:lnSpc>
                <a:spcPct val="10000"/>
              </a:lnSpc>
            </a:pPr>
            <a:r>
              <a:rPr lang="en-US" dirty="0">
                <a:solidFill>
                  <a:schemeClr val="bg2">
                    <a:lumMod val="50000"/>
                    <a:lumOff val="50000"/>
                  </a:schemeClr>
                </a:solidFill>
              </a:rPr>
              <a:t>40 - 44 : 1</a:t>
            </a:r>
          </a:p>
          <a:p>
            <a:pPr>
              <a:lnSpc>
                <a:spcPct val="10000"/>
              </a:lnSpc>
            </a:pPr>
            <a:r>
              <a:rPr lang="en-US" dirty="0">
                <a:solidFill>
                  <a:schemeClr val="bg2">
                    <a:lumMod val="50000"/>
                    <a:lumOff val="50000"/>
                  </a:schemeClr>
                </a:solidFill>
              </a:rPr>
              <a:t>45 - 49 : 5</a:t>
            </a:r>
          </a:p>
          <a:p>
            <a:pPr>
              <a:lnSpc>
                <a:spcPct val="10000"/>
              </a:lnSpc>
            </a:pPr>
            <a:r>
              <a:rPr lang="en-US" dirty="0">
                <a:solidFill>
                  <a:schemeClr val="bg2">
                    <a:lumMod val="50000"/>
                    <a:lumOff val="50000"/>
                  </a:schemeClr>
                </a:solidFill>
              </a:rPr>
              <a:t>50 – 54 : 2</a:t>
            </a:r>
          </a:p>
          <a:p>
            <a:pPr>
              <a:lnSpc>
                <a:spcPct val="10000"/>
              </a:lnSpc>
            </a:pPr>
            <a:r>
              <a:rPr lang="en-US" dirty="0">
                <a:solidFill>
                  <a:schemeClr val="bg2">
                    <a:lumMod val="50000"/>
                    <a:lumOff val="50000"/>
                  </a:schemeClr>
                </a:solidFill>
              </a:rPr>
              <a:t>55 – 59 : 2</a:t>
            </a:r>
          </a:p>
          <a:p>
            <a:pPr>
              <a:lnSpc>
                <a:spcPct val="10000"/>
              </a:lnSpc>
            </a:pPr>
            <a:r>
              <a:rPr lang="en-US" dirty="0">
                <a:solidFill>
                  <a:schemeClr val="bg2">
                    <a:lumMod val="50000"/>
                    <a:lumOff val="50000"/>
                  </a:schemeClr>
                </a:solidFill>
              </a:rPr>
              <a:t>60 – 64 : 1</a:t>
            </a:r>
          </a:p>
          <a:p>
            <a:pPr>
              <a:lnSpc>
                <a:spcPct val="10000"/>
              </a:lnSpc>
            </a:pPr>
            <a:r>
              <a:rPr lang="en-US" dirty="0">
                <a:solidFill>
                  <a:schemeClr val="bg2">
                    <a:lumMod val="50000"/>
                    <a:lumOff val="50000"/>
                  </a:schemeClr>
                </a:solidFill>
              </a:rPr>
              <a:t>64 – 69 : 2</a:t>
            </a:r>
          </a:p>
          <a:p>
            <a:r>
              <a:rPr lang="en-US" dirty="0">
                <a:solidFill>
                  <a:schemeClr val="bg2">
                    <a:lumMod val="50000"/>
                    <a:lumOff val="50000"/>
                  </a:schemeClr>
                </a:solidFill>
              </a:rPr>
              <a:t>“45 – 49” appear most often, so we can say it normally take about 37 minutes to fill a pallet</a:t>
            </a:r>
          </a:p>
          <a:p>
            <a:endParaRPr lang="en-US" sz="1600" dirty="0"/>
          </a:p>
          <a:p>
            <a:pPr lvl="3"/>
            <a:endParaRPr lang="en-US" sz="1600" dirty="0"/>
          </a:p>
          <a:p>
            <a:pPr lvl="3"/>
            <a:endParaRPr lang="en-US" sz="1600" dirty="0"/>
          </a:p>
        </p:txBody>
      </p:sp>
      <p:pic>
        <p:nvPicPr>
          <p:cNvPr id="11" name="Picture 10" descr="A picture containing truck, green, road, sky&#10;&#10;Description automatically generated">
            <a:extLst>
              <a:ext uri="{FF2B5EF4-FFF2-40B4-BE49-F238E27FC236}">
                <a16:creationId xmlns:a16="http://schemas.microsoft.com/office/drawing/2014/main" id="{DFA02102-7297-4F45-88F7-388D314238A0}"/>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905209" y="2121966"/>
            <a:ext cx="3187834" cy="1793157"/>
          </a:xfrm>
          <a:prstGeom prst="rect">
            <a:avLst/>
          </a:prstGeom>
        </p:spPr>
      </p:pic>
    </p:spTree>
    <p:extLst>
      <p:ext uri="{BB962C8B-B14F-4D97-AF65-F5344CB8AC3E}">
        <p14:creationId xmlns:p14="http://schemas.microsoft.com/office/powerpoint/2010/main" val="3831935352"/>
      </p:ext>
    </p:extLst>
  </p:cSld>
  <p:clrMapOvr>
    <a:masterClrMapping/>
  </p:clrMapOvr>
  <p:transition spd="med">
    <p:wipe dir="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3E6B03A-C11B-445A-B3EE-89676853E2DC}"/>
              </a:ext>
            </a:extLst>
          </p:cNvPr>
          <p:cNvSpPr>
            <a:spLocks noGrp="1"/>
          </p:cNvSpPr>
          <p:nvPr>
            <p:ph type="title"/>
          </p:nvPr>
        </p:nvSpPr>
        <p:spPr>
          <a:xfrm>
            <a:off x="92835" y="90401"/>
            <a:ext cx="7955280" cy="640080"/>
          </a:xfrm>
        </p:spPr>
        <p:txBody>
          <a:bodyPr/>
          <a:lstStyle/>
          <a:p>
            <a:r>
              <a:rPr lang="en-US" dirty="0"/>
              <a:t>Outlier </a:t>
            </a:r>
          </a:p>
        </p:txBody>
      </p:sp>
      <p:sp>
        <p:nvSpPr>
          <p:cNvPr id="4" name="Content Placeholder 3">
            <a:extLst>
              <a:ext uri="{FF2B5EF4-FFF2-40B4-BE49-F238E27FC236}">
                <a16:creationId xmlns:a16="http://schemas.microsoft.com/office/drawing/2014/main" id="{CB5A1369-CDB1-4F9B-ADBB-7DB33F294B4E}"/>
              </a:ext>
            </a:extLst>
          </p:cNvPr>
          <p:cNvSpPr>
            <a:spLocks noGrp="1"/>
          </p:cNvSpPr>
          <p:nvPr>
            <p:ph sz="half" idx="1"/>
          </p:nvPr>
        </p:nvSpPr>
        <p:spPr>
          <a:xfrm>
            <a:off x="197539" y="650990"/>
            <a:ext cx="7955280" cy="3841519"/>
          </a:xfrm>
        </p:spPr>
        <p:txBody>
          <a:bodyPr/>
          <a:lstStyle/>
          <a:p>
            <a:r>
              <a:rPr lang="en-US" dirty="0">
                <a:solidFill>
                  <a:schemeClr val="bg2">
                    <a:lumMod val="50000"/>
                    <a:lumOff val="50000"/>
                  </a:schemeClr>
                </a:solidFill>
                <a:latin typeface="Inter"/>
              </a:rPr>
              <a:t>A value that "lies outside" (is much smaller or larger than) most of the other values in a set of data. They can change the mean a lot, so we can either not used them or use mean median mode instead.</a:t>
            </a:r>
          </a:p>
          <a:p>
            <a:r>
              <a:rPr lang="en-US" dirty="0">
                <a:solidFill>
                  <a:schemeClr val="bg2">
                    <a:lumMod val="50000"/>
                    <a:lumOff val="50000"/>
                  </a:schemeClr>
                </a:solidFill>
                <a:latin typeface="Inter"/>
              </a:rPr>
              <a:t>Ex : In this set of random numbers, 1 and 201 are outliers:</a:t>
            </a:r>
          </a:p>
          <a:p>
            <a:pPr lvl="1"/>
            <a:r>
              <a:rPr lang="en-US" dirty="0">
                <a:solidFill>
                  <a:schemeClr val="bg2">
                    <a:lumMod val="50000"/>
                    <a:lumOff val="50000"/>
                  </a:schemeClr>
                </a:solidFill>
                <a:latin typeface="Inter"/>
              </a:rPr>
              <a:t>1, 99, 100, 101, 103, 109, 110, 201</a:t>
            </a:r>
          </a:p>
          <a:p>
            <a:pPr lvl="1"/>
            <a:r>
              <a:rPr lang="en-US" dirty="0">
                <a:solidFill>
                  <a:schemeClr val="bg2">
                    <a:lumMod val="50000"/>
                    <a:lumOff val="50000"/>
                  </a:schemeClr>
                </a:solidFill>
                <a:latin typeface="Inter"/>
              </a:rPr>
              <a:t>“1” is an extremely low value and “201” is an extremely high value.</a:t>
            </a:r>
          </a:p>
          <a:p>
            <a:r>
              <a:rPr lang="en-US" dirty="0">
                <a:solidFill>
                  <a:schemeClr val="bg2">
                    <a:lumMod val="50000"/>
                    <a:lumOff val="50000"/>
                  </a:schemeClr>
                </a:solidFill>
                <a:latin typeface="Inter"/>
              </a:rPr>
              <a:t>Outliers aren’t always that obvious. Let’s say you received the following paychecks last month:</a:t>
            </a:r>
          </a:p>
          <a:p>
            <a:pPr lvl="1"/>
            <a:r>
              <a:rPr lang="en-US" dirty="0">
                <a:solidFill>
                  <a:schemeClr val="bg2">
                    <a:lumMod val="50000"/>
                    <a:lumOff val="50000"/>
                  </a:schemeClr>
                </a:solidFill>
                <a:latin typeface="Inter"/>
              </a:rPr>
              <a:t>$225, $250, $25, $235.</a:t>
            </a:r>
          </a:p>
          <a:p>
            <a:pPr lvl="1"/>
            <a:r>
              <a:rPr lang="en-US" dirty="0">
                <a:solidFill>
                  <a:schemeClr val="bg2">
                    <a:lumMod val="50000"/>
                    <a:lumOff val="50000"/>
                  </a:schemeClr>
                </a:solidFill>
                <a:latin typeface="Inter"/>
              </a:rPr>
              <a:t>Your average paycheck is $135. But that small paycheck ($25) might be because you went on vacation, so a weekly paycheck average of $135 isn’t a true reflection of how much you earned. Your average is actually closer to $237 if you take the outlier ($25) out of the set.</a:t>
            </a:r>
          </a:p>
          <a:p>
            <a:r>
              <a:rPr lang="en-US" dirty="0">
                <a:solidFill>
                  <a:schemeClr val="bg2">
                    <a:lumMod val="50000"/>
                    <a:lumOff val="50000"/>
                  </a:schemeClr>
                </a:solidFill>
                <a:latin typeface="Inter"/>
              </a:rPr>
              <a:t>Age of students studying Data science in Board Infinity</a:t>
            </a:r>
          </a:p>
          <a:p>
            <a:pPr lvl="1"/>
            <a:r>
              <a:rPr lang="en-US" dirty="0">
                <a:solidFill>
                  <a:schemeClr val="bg2">
                    <a:lumMod val="50000"/>
                    <a:lumOff val="50000"/>
                  </a:schemeClr>
                </a:solidFill>
                <a:latin typeface="Inter"/>
              </a:rPr>
              <a:t>Ex : </a:t>
            </a:r>
          </a:p>
          <a:p>
            <a:pPr lvl="1"/>
            <a:endParaRPr lang="en-US" dirty="0"/>
          </a:p>
        </p:txBody>
      </p:sp>
    </p:spTree>
    <p:extLst>
      <p:ext uri="{BB962C8B-B14F-4D97-AF65-F5344CB8AC3E}">
        <p14:creationId xmlns:p14="http://schemas.microsoft.com/office/powerpoint/2010/main" val="1048263595"/>
      </p:ext>
    </p:extLst>
  </p:cSld>
  <p:clrMapOvr>
    <a:masterClrMapping/>
  </p:clrMapOvr>
  <p:transition spd="med">
    <p:wipe dir="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FC4D7A-EB20-44C5-815F-C0641D331487}"/>
              </a:ext>
            </a:extLst>
          </p:cNvPr>
          <p:cNvSpPr>
            <a:spLocks noGrp="1"/>
          </p:cNvSpPr>
          <p:nvPr>
            <p:ph type="title"/>
          </p:nvPr>
        </p:nvSpPr>
        <p:spPr/>
        <p:txBody>
          <a:bodyPr/>
          <a:lstStyle/>
          <a:p>
            <a:r>
              <a:rPr lang="en-US" dirty="0"/>
              <a:t>Outlier </a:t>
            </a:r>
            <a:r>
              <a:rPr lang="en-US" dirty="0">
                <a:solidFill>
                  <a:schemeClr val="bg2">
                    <a:lumMod val="50000"/>
                    <a:lumOff val="50000"/>
                  </a:schemeClr>
                </a:solidFill>
              </a:rPr>
              <a:t>-</a:t>
            </a:r>
            <a:r>
              <a:rPr lang="en-US" dirty="0"/>
              <a:t> </a:t>
            </a:r>
            <a:r>
              <a:rPr lang="en-US" dirty="0">
                <a:solidFill>
                  <a:schemeClr val="bg2">
                    <a:lumMod val="50000"/>
                    <a:lumOff val="50000"/>
                  </a:schemeClr>
                </a:solidFill>
              </a:rPr>
              <a:t>continued</a:t>
            </a:r>
          </a:p>
        </p:txBody>
      </p:sp>
      <p:pic>
        <p:nvPicPr>
          <p:cNvPr id="6" name="Content Placeholder 5">
            <a:extLst>
              <a:ext uri="{FF2B5EF4-FFF2-40B4-BE49-F238E27FC236}">
                <a16:creationId xmlns:a16="http://schemas.microsoft.com/office/drawing/2014/main" id="{2B7093CC-771B-4C73-A0DC-D3F5C3CE8DED}"/>
              </a:ext>
            </a:extLst>
          </p:cNvPr>
          <p:cNvPicPr>
            <a:picLocks noGrp="1" noChangeAspect="1"/>
          </p:cNvPicPr>
          <p:nvPr>
            <p:ph sz="half" idx="1"/>
          </p:nvPr>
        </p:nvPicPr>
        <p:blipFill>
          <a:blip r:embed="rId2"/>
          <a:stretch>
            <a:fillRect/>
          </a:stretch>
        </p:blipFill>
        <p:spPr>
          <a:xfrm>
            <a:off x="4517801" y="49000"/>
            <a:ext cx="4229100" cy="542925"/>
          </a:xfrm>
        </p:spPr>
      </p:pic>
      <p:grpSp>
        <p:nvGrpSpPr>
          <p:cNvPr id="47" name="Group 46">
            <a:extLst>
              <a:ext uri="{FF2B5EF4-FFF2-40B4-BE49-F238E27FC236}">
                <a16:creationId xmlns:a16="http://schemas.microsoft.com/office/drawing/2014/main" id="{2A49F424-6475-4B80-B98E-BC7A187747C0}"/>
              </a:ext>
            </a:extLst>
          </p:cNvPr>
          <p:cNvGrpSpPr/>
          <p:nvPr/>
        </p:nvGrpSpPr>
        <p:grpSpPr>
          <a:xfrm>
            <a:off x="4879377" y="467558"/>
            <a:ext cx="112680" cy="159840"/>
            <a:chOff x="4879377" y="467558"/>
            <a:chExt cx="112680" cy="159840"/>
          </a:xfrm>
        </p:grpSpPr>
        <mc:AlternateContent xmlns:mc="http://schemas.openxmlformats.org/markup-compatibility/2006" xmlns:p14="http://schemas.microsoft.com/office/powerpoint/2010/main">
          <mc:Choice Requires="p14">
            <p:contentPart p14:bwMode="auto" r:id="rId3">
              <p14:nvContentPartPr>
                <p14:cNvPr id="7" name="Ink 6">
                  <a:extLst>
                    <a:ext uri="{FF2B5EF4-FFF2-40B4-BE49-F238E27FC236}">
                      <a16:creationId xmlns:a16="http://schemas.microsoft.com/office/drawing/2014/main" id="{A3C6882A-8F86-4203-BC54-CC76A101CAD1}"/>
                    </a:ext>
                  </a:extLst>
                </p14:cNvPr>
                <p14:cNvContentPartPr/>
                <p14:nvPr/>
              </p14:nvContentPartPr>
              <p14:xfrm>
                <a:off x="4879377" y="537038"/>
                <a:ext cx="13680" cy="90360"/>
              </p14:xfrm>
            </p:contentPart>
          </mc:Choice>
          <mc:Fallback xmlns="">
            <p:pic>
              <p:nvPicPr>
                <p:cNvPr id="7" name="Ink 6">
                  <a:extLst>
                    <a:ext uri="{FF2B5EF4-FFF2-40B4-BE49-F238E27FC236}">
                      <a16:creationId xmlns:a16="http://schemas.microsoft.com/office/drawing/2014/main" id="{A3C6882A-8F86-4203-BC54-CC76A101CAD1}"/>
                    </a:ext>
                  </a:extLst>
                </p:cNvPr>
                <p:cNvPicPr/>
                <p:nvPr/>
              </p:nvPicPr>
              <p:blipFill>
                <a:blip r:embed="rId4"/>
                <a:stretch>
                  <a:fillRect/>
                </a:stretch>
              </p:blipFill>
              <p:spPr>
                <a:xfrm>
                  <a:off x="4875057" y="532718"/>
                  <a:ext cx="22320" cy="9900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8" name="Ink 7">
                  <a:extLst>
                    <a:ext uri="{FF2B5EF4-FFF2-40B4-BE49-F238E27FC236}">
                      <a16:creationId xmlns:a16="http://schemas.microsoft.com/office/drawing/2014/main" id="{EBEB0D83-5163-4079-A7FB-019746BE0D7F}"/>
                    </a:ext>
                  </a:extLst>
                </p14:cNvPr>
                <p14:cNvContentPartPr/>
                <p14:nvPr/>
              </p14:nvContentPartPr>
              <p14:xfrm>
                <a:off x="4915017" y="544238"/>
                <a:ext cx="77040" cy="78840"/>
              </p14:xfrm>
            </p:contentPart>
          </mc:Choice>
          <mc:Fallback xmlns="">
            <p:pic>
              <p:nvPicPr>
                <p:cNvPr id="8" name="Ink 7">
                  <a:extLst>
                    <a:ext uri="{FF2B5EF4-FFF2-40B4-BE49-F238E27FC236}">
                      <a16:creationId xmlns:a16="http://schemas.microsoft.com/office/drawing/2014/main" id="{EBEB0D83-5163-4079-A7FB-019746BE0D7F}"/>
                    </a:ext>
                  </a:extLst>
                </p:cNvPr>
                <p:cNvPicPr/>
                <p:nvPr/>
              </p:nvPicPr>
              <p:blipFill>
                <a:blip r:embed="rId6"/>
                <a:stretch>
                  <a:fillRect/>
                </a:stretch>
              </p:blipFill>
              <p:spPr>
                <a:xfrm>
                  <a:off x="4910697" y="539918"/>
                  <a:ext cx="85680" cy="8748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41" name="Ink 40">
                  <a:extLst>
                    <a:ext uri="{FF2B5EF4-FFF2-40B4-BE49-F238E27FC236}">
                      <a16:creationId xmlns:a16="http://schemas.microsoft.com/office/drawing/2014/main" id="{9B996CA9-706D-4868-8DFB-7818048A6F32}"/>
                    </a:ext>
                  </a:extLst>
                </p14:cNvPr>
                <p14:cNvContentPartPr/>
                <p14:nvPr/>
              </p14:nvContentPartPr>
              <p14:xfrm>
                <a:off x="4951017" y="467558"/>
                <a:ext cx="18720" cy="55080"/>
              </p14:xfrm>
            </p:contentPart>
          </mc:Choice>
          <mc:Fallback xmlns="">
            <p:pic>
              <p:nvPicPr>
                <p:cNvPr id="41" name="Ink 40">
                  <a:extLst>
                    <a:ext uri="{FF2B5EF4-FFF2-40B4-BE49-F238E27FC236}">
                      <a16:creationId xmlns:a16="http://schemas.microsoft.com/office/drawing/2014/main" id="{9B996CA9-706D-4868-8DFB-7818048A6F32}"/>
                    </a:ext>
                  </a:extLst>
                </p:cNvPr>
                <p:cNvPicPr/>
                <p:nvPr/>
              </p:nvPicPr>
              <p:blipFill>
                <a:blip r:embed="rId8"/>
                <a:stretch>
                  <a:fillRect/>
                </a:stretch>
              </p:blipFill>
              <p:spPr>
                <a:xfrm>
                  <a:off x="4946697" y="463238"/>
                  <a:ext cx="27360" cy="63720"/>
                </a:xfrm>
                <a:prstGeom prst="rect">
                  <a:avLst/>
                </a:prstGeom>
              </p:spPr>
            </p:pic>
          </mc:Fallback>
        </mc:AlternateContent>
      </p:grpSp>
      <p:grpSp>
        <p:nvGrpSpPr>
          <p:cNvPr id="46" name="Group 45">
            <a:extLst>
              <a:ext uri="{FF2B5EF4-FFF2-40B4-BE49-F238E27FC236}">
                <a16:creationId xmlns:a16="http://schemas.microsoft.com/office/drawing/2014/main" id="{982482D8-1D90-4954-A22B-C99127ED1CC2}"/>
              </a:ext>
            </a:extLst>
          </p:cNvPr>
          <p:cNvGrpSpPr/>
          <p:nvPr/>
        </p:nvGrpSpPr>
        <p:grpSpPr>
          <a:xfrm>
            <a:off x="5101857" y="481238"/>
            <a:ext cx="98640" cy="162720"/>
            <a:chOff x="5101857" y="481238"/>
            <a:chExt cx="98640" cy="162720"/>
          </a:xfrm>
        </p:grpSpPr>
        <mc:AlternateContent xmlns:mc="http://schemas.openxmlformats.org/markup-compatibility/2006" xmlns:p14="http://schemas.microsoft.com/office/powerpoint/2010/main">
          <mc:Choice Requires="p14">
            <p:contentPart p14:bwMode="auto" r:id="rId9">
              <p14:nvContentPartPr>
                <p14:cNvPr id="10" name="Ink 9">
                  <a:extLst>
                    <a:ext uri="{FF2B5EF4-FFF2-40B4-BE49-F238E27FC236}">
                      <a16:creationId xmlns:a16="http://schemas.microsoft.com/office/drawing/2014/main" id="{6A7A2615-AD9A-4AAB-8E31-8819C563683E}"/>
                    </a:ext>
                  </a:extLst>
                </p14:cNvPr>
                <p14:cNvContentPartPr/>
                <p14:nvPr/>
              </p14:nvContentPartPr>
              <p14:xfrm>
                <a:off x="5101857" y="578798"/>
                <a:ext cx="48240" cy="65160"/>
              </p14:xfrm>
            </p:contentPart>
          </mc:Choice>
          <mc:Fallback xmlns="">
            <p:pic>
              <p:nvPicPr>
                <p:cNvPr id="10" name="Ink 9">
                  <a:extLst>
                    <a:ext uri="{FF2B5EF4-FFF2-40B4-BE49-F238E27FC236}">
                      <a16:creationId xmlns:a16="http://schemas.microsoft.com/office/drawing/2014/main" id="{6A7A2615-AD9A-4AAB-8E31-8819C563683E}"/>
                    </a:ext>
                  </a:extLst>
                </p:cNvPr>
                <p:cNvPicPr/>
                <p:nvPr/>
              </p:nvPicPr>
              <p:blipFill>
                <a:blip r:embed="rId10"/>
                <a:stretch>
                  <a:fillRect/>
                </a:stretch>
              </p:blipFill>
              <p:spPr>
                <a:xfrm>
                  <a:off x="5097537" y="574478"/>
                  <a:ext cx="56880" cy="738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1" name="Ink 10">
                  <a:extLst>
                    <a:ext uri="{FF2B5EF4-FFF2-40B4-BE49-F238E27FC236}">
                      <a16:creationId xmlns:a16="http://schemas.microsoft.com/office/drawing/2014/main" id="{9E501B2A-6CC0-4031-974F-93C2E718C905}"/>
                    </a:ext>
                  </a:extLst>
                </p14:cNvPr>
                <p14:cNvContentPartPr/>
                <p14:nvPr/>
              </p14:nvContentPartPr>
              <p14:xfrm>
                <a:off x="5167017" y="579158"/>
                <a:ext cx="31680" cy="45000"/>
              </p14:xfrm>
            </p:contentPart>
          </mc:Choice>
          <mc:Fallback xmlns="">
            <p:pic>
              <p:nvPicPr>
                <p:cNvPr id="11" name="Ink 10">
                  <a:extLst>
                    <a:ext uri="{FF2B5EF4-FFF2-40B4-BE49-F238E27FC236}">
                      <a16:creationId xmlns:a16="http://schemas.microsoft.com/office/drawing/2014/main" id="{9E501B2A-6CC0-4031-974F-93C2E718C905}"/>
                    </a:ext>
                  </a:extLst>
                </p:cNvPr>
                <p:cNvPicPr/>
                <p:nvPr/>
              </p:nvPicPr>
              <p:blipFill>
                <a:blip r:embed="rId12"/>
                <a:stretch>
                  <a:fillRect/>
                </a:stretch>
              </p:blipFill>
              <p:spPr>
                <a:xfrm>
                  <a:off x="5162697" y="574838"/>
                  <a:ext cx="40320" cy="5364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42" name="Ink 41">
                  <a:extLst>
                    <a:ext uri="{FF2B5EF4-FFF2-40B4-BE49-F238E27FC236}">
                      <a16:creationId xmlns:a16="http://schemas.microsoft.com/office/drawing/2014/main" id="{3B6C7FA6-96D7-4628-BDF7-0A7E1758641E}"/>
                    </a:ext>
                  </a:extLst>
                </p14:cNvPr>
                <p14:cNvContentPartPr/>
                <p14:nvPr/>
              </p14:nvContentPartPr>
              <p14:xfrm>
                <a:off x="5193657" y="481238"/>
                <a:ext cx="6840" cy="25920"/>
              </p14:xfrm>
            </p:contentPart>
          </mc:Choice>
          <mc:Fallback xmlns="">
            <p:pic>
              <p:nvPicPr>
                <p:cNvPr id="42" name="Ink 41">
                  <a:extLst>
                    <a:ext uri="{FF2B5EF4-FFF2-40B4-BE49-F238E27FC236}">
                      <a16:creationId xmlns:a16="http://schemas.microsoft.com/office/drawing/2014/main" id="{3B6C7FA6-96D7-4628-BDF7-0A7E1758641E}"/>
                    </a:ext>
                  </a:extLst>
                </p:cNvPr>
                <p:cNvPicPr/>
                <p:nvPr/>
              </p:nvPicPr>
              <p:blipFill>
                <a:blip r:embed="rId14"/>
                <a:stretch>
                  <a:fillRect/>
                </a:stretch>
              </p:blipFill>
              <p:spPr>
                <a:xfrm>
                  <a:off x="5189337" y="476918"/>
                  <a:ext cx="15480" cy="34560"/>
                </a:xfrm>
                <a:prstGeom prst="rect">
                  <a:avLst/>
                </a:prstGeom>
              </p:spPr>
            </p:pic>
          </mc:Fallback>
        </mc:AlternateContent>
      </p:grpSp>
      <p:grpSp>
        <p:nvGrpSpPr>
          <p:cNvPr id="87" name="Group 86">
            <a:extLst>
              <a:ext uri="{FF2B5EF4-FFF2-40B4-BE49-F238E27FC236}">
                <a16:creationId xmlns:a16="http://schemas.microsoft.com/office/drawing/2014/main" id="{BE899715-DE73-45A2-8FA6-329D11A9AB88}"/>
              </a:ext>
            </a:extLst>
          </p:cNvPr>
          <p:cNvGrpSpPr/>
          <p:nvPr/>
        </p:nvGrpSpPr>
        <p:grpSpPr>
          <a:xfrm>
            <a:off x="5362137" y="467558"/>
            <a:ext cx="968040" cy="189360"/>
            <a:chOff x="5362137" y="467558"/>
            <a:chExt cx="968040" cy="189360"/>
          </a:xfrm>
        </p:grpSpPr>
        <mc:AlternateContent xmlns:mc="http://schemas.openxmlformats.org/markup-compatibility/2006" xmlns:p14="http://schemas.microsoft.com/office/powerpoint/2010/main">
          <mc:Choice Requires="p14">
            <p:contentPart p14:bwMode="auto" r:id="rId15">
              <p14:nvContentPartPr>
                <p14:cNvPr id="58" name="Ink 57">
                  <a:extLst>
                    <a:ext uri="{FF2B5EF4-FFF2-40B4-BE49-F238E27FC236}">
                      <a16:creationId xmlns:a16="http://schemas.microsoft.com/office/drawing/2014/main" id="{1C92FB37-4929-4EFC-A012-AF8F501A4E2F}"/>
                    </a:ext>
                  </a:extLst>
                </p14:cNvPr>
                <p14:cNvContentPartPr/>
                <p14:nvPr/>
              </p14:nvContentPartPr>
              <p14:xfrm>
                <a:off x="5362137" y="565118"/>
                <a:ext cx="52920" cy="91800"/>
              </p14:xfrm>
            </p:contentPart>
          </mc:Choice>
          <mc:Fallback xmlns="">
            <p:pic>
              <p:nvPicPr>
                <p:cNvPr id="58" name="Ink 57">
                  <a:extLst>
                    <a:ext uri="{FF2B5EF4-FFF2-40B4-BE49-F238E27FC236}">
                      <a16:creationId xmlns:a16="http://schemas.microsoft.com/office/drawing/2014/main" id="{1C92FB37-4929-4EFC-A012-AF8F501A4E2F}"/>
                    </a:ext>
                  </a:extLst>
                </p:cNvPr>
                <p:cNvPicPr/>
                <p:nvPr/>
              </p:nvPicPr>
              <p:blipFill>
                <a:blip r:embed="rId16"/>
                <a:stretch>
                  <a:fillRect/>
                </a:stretch>
              </p:blipFill>
              <p:spPr>
                <a:xfrm>
                  <a:off x="5357817" y="560798"/>
                  <a:ext cx="61560" cy="10044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59" name="Ink 58">
                  <a:extLst>
                    <a:ext uri="{FF2B5EF4-FFF2-40B4-BE49-F238E27FC236}">
                      <a16:creationId xmlns:a16="http://schemas.microsoft.com/office/drawing/2014/main" id="{2CF6E14A-C62A-4911-B466-F65E664E95BE}"/>
                    </a:ext>
                  </a:extLst>
                </p14:cNvPr>
                <p14:cNvContentPartPr/>
                <p14:nvPr/>
              </p14:nvContentPartPr>
              <p14:xfrm>
                <a:off x="5417217" y="591398"/>
                <a:ext cx="58680" cy="51120"/>
              </p14:xfrm>
            </p:contentPart>
          </mc:Choice>
          <mc:Fallback xmlns="">
            <p:pic>
              <p:nvPicPr>
                <p:cNvPr id="59" name="Ink 58">
                  <a:extLst>
                    <a:ext uri="{FF2B5EF4-FFF2-40B4-BE49-F238E27FC236}">
                      <a16:creationId xmlns:a16="http://schemas.microsoft.com/office/drawing/2014/main" id="{2CF6E14A-C62A-4911-B466-F65E664E95BE}"/>
                    </a:ext>
                  </a:extLst>
                </p:cNvPr>
                <p:cNvPicPr/>
                <p:nvPr/>
              </p:nvPicPr>
              <p:blipFill>
                <a:blip r:embed="rId18"/>
                <a:stretch>
                  <a:fillRect/>
                </a:stretch>
              </p:blipFill>
              <p:spPr>
                <a:xfrm>
                  <a:off x="5412897" y="587078"/>
                  <a:ext cx="67320" cy="5976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60" name="Ink 59">
                  <a:extLst>
                    <a:ext uri="{FF2B5EF4-FFF2-40B4-BE49-F238E27FC236}">
                      <a16:creationId xmlns:a16="http://schemas.microsoft.com/office/drawing/2014/main" id="{55A31FE8-11C6-4F98-8F27-ABE798ED5899}"/>
                    </a:ext>
                  </a:extLst>
                </p14:cNvPr>
                <p14:cNvContentPartPr/>
                <p14:nvPr/>
              </p14:nvContentPartPr>
              <p14:xfrm>
                <a:off x="5554017" y="579158"/>
                <a:ext cx="71280" cy="56880"/>
              </p14:xfrm>
            </p:contentPart>
          </mc:Choice>
          <mc:Fallback xmlns="">
            <p:pic>
              <p:nvPicPr>
                <p:cNvPr id="60" name="Ink 59">
                  <a:extLst>
                    <a:ext uri="{FF2B5EF4-FFF2-40B4-BE49-F238E27FC236}">
                      <a16:creationId xmlns:a16="http://schemas.microsoft.com/office/drawing/2014/main" id="{55A31FE8-11C6-4F98-8F27-ABE798ED5899}"/>
                    </a:ext>
                  </a:extLst>
                </p:cNvPr>
                <p:cNvPicPr/>
                <p:nvPr/>
              </p:nvPicPr>
              <p:blipFill>
                <a:blip r:embed="rId20"/>
                <a:stretch>
                  <a:fillRect/>
                </a:stretch>
              </p:blipFill>
              <p:spPr>
                <a:xfrm>
                  <a:off x="5549697" y="574838"/>
                  <a:ext cx="79920" cy="6552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61" name="Ink 60">
                  <a:extLst>
                    <a:ext uri="{FF2B5EF4-FFF2-40B4-BE49-F238E27FC236}">
                      <a16:creationId xmlns:a16="http://schemas.microsoft.com/office/drawing/2014/main" id="{66CD1D88-B354-4D51-B6E2-2FB10B3EB2BB}"/>
                    </a:ext>
                  </a:extLst>
                </p14:cNvPr>
                <p14:cNvContentPartPr/>
                <p14:nvPr/>
              </p14:nvContentPartPr>
              <p14:xfrm>
                <a:off x="5569497" y="585638"/>
                <a:ext cx="14760" cy="62640"/>
              </p14:xfrm>
            </p:contentPart>
          </mc:Choice>
          <mc:Fallback xmlns="">
            <p:pic>
              <p:nvPicPr>
                <p:cNvPr id="61" name="Ink 60">
                  <a:extLst>
                    <a:ext uri="{FF2B5EF4-FFF2-40B4-BE49-F238E27FC236}">
                      <a16:creationId xmlns:a16="http://schemas.microsoft.com/office/drawing/2014/main" id="{66CD1D88-B354-4D51-B6E2-2FB10B3EB2BB}"/>
                    </a:ext>
                  </a:extLst>
                </p:cNvPr>
                <p:cNvPicPr/>
                <p:nvPr/>
              </p:nvPicPr>
              <p:blipFill>
                <a:blip r:embed="rId22"/>
                <a:stretch>
                  <a:fillRect/>
                </a:stretch>
              </p:blipFill>
              <p:spPr>
                <a:xfrm>
                  <a:off x="5565177" y="581318"/>
                  <a:ext cx="23400" cy="7128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62" name="Ink 61">
                  <a:extLst>
                    <a:ext uri="{FF2B5EF4-FFF2-40B4-BE49-F238E27FC236}">
                      <a16:creationId xmlns:a16="http://schemas.microsoft.com/office/drawing/2014/main" id="{08D5FAAD-DCEA-4BCC-89E5-1F42BE1A5F81}"/>
                    </a:ext>
                  </a:extLst>
                </p14:cNvPr>
                <p14:cNvContentPartPr/>
                <p14:nvPr/>
              </p14:nvContentPartPr>
              <p14:xfrm>
                <a:off x="5633217" y="591758"/>
                <a:ext cx="41760" cy="41400"/>
              </p14:xfrm>
            </p:contentPart>
          </mc:Choice>
          <mc:Fallback xmlns="">
            <p:pic>
              <p:nvPicPr>
                <p:cNvPr id="62" name="Ink 61">
                  <a:extLst>
                    <a:ext uri="{FF2B5EF4-FFF2-40B4-BE49-F238E27FC236}">
                      <a16:creationId xmlns:a16="http://schemas.microsoft.com/office/drawing/2014/main" id="{08D5FAAD-DCEA-4BCC-89E5-1F42BE1A5F81}"/>
                    </a:ext>
                  </a:extLst>
                </p:cNvPr>
                <p:cNvPicPr/>
                <p:nvPr/>
              </p:nvPicPr>
              <p:blipFill>
                <a:blip r:embed="rId24"/>
                <a:stretch>
                  <a:fillRect/>
                </a:stretch>
              </p:blipFill>
              <p:spPr>
                <a:xfrm>
                  <a:off x="5628897" y="587438"/>
                  <a:ext cx="50400" cy="5004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63" name="Ink 62">
                  <a:extLst>
                    <a:ext uri="{FF2B5EF4-FFF2-40B4-BE49-F238E27FC236}">
                      <a16:creationId xmlns:a16="http://schemas.microsoft.com/office/drawing/2014/main" id="{53C08174-945B-4BD7-8DBB-33A9EFB19EAF}"/>
                    </a:ext>
                  </a:extLst>
                </p14:cNvPr>
                <p14:cNvContentPartPr/>
                <p14:nvPr/>
              </p14:nvContentPartPr>
              <p14:xfrm>
                <a:off x="5742297" y="571958"/>
                <a:ext cx="57240" cy="64440"/>
              </p14:xfrm>
            </p:contentPart>
          </mc:Choice>
          <mc:Fallback xmlns="">
            <p:pic>
              <p:nvPicPr>
                <p:cNvPr id="63" name="Ink 62">
                  <a:extLst>
                    <a:ext uri="{FF2B5EF4-FFF2-40B4-BE49-F238E27FC236}">
                      <a16:creationId xmlns:a16="http://schemas.microsoft.com/office/drawing/2014/main" id="{53C08174-945B-4BD7-8DBB-33A9EFB19EAF}"/>
                    </a:ext>
                  </a:extLst>
                </p:cNvPr>
                <p:cNvPicPr/>
                <p:nvPr/>
              </p:nvPicPr>
              <p:blipFill>
                <a:blip r:embed="rId26"/>
                <a:stretch>
                  <a:fillRect/>
                </a:stretch>
              </p:blipFill>
              <p:spPr>
                <a:xfrm>
                  <a:off x="5737977" y="567638"/>
                  <a:ext cx="65880" cy="7308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64" name="Ink 63">
                  <a:extLst>
                    <a:ext uri="{FF2B5EF4-FFF2-40B4-BE49-F238E27FC236}">
                      <a16:creationId xmlns:a16="http://schemas.microsoft.com/office/drawing/2014/main" id="{771DF10D-FBE2-4B4F-9839-00AEDD219109}"/>
                    </a:ext>
                  </a:extLst>
                </p14:cNvPr>
                <p14:cNvContentPartPr/>
                <p14:nvPr/>
              </p14:nvContentPartPr>
              <p14:xfrm>
                <a:off x="5751297" y="585638"/>
                <a:ext cx="35280" cy="69840"/>
              </p14:xfrm>
            </p:contentPart>
          </mc:Choice>
          <mc:Fallback xmlns="">
            <p:pic>
              <p:nvPicPr>
                <p:cNvPr id="64" name="Ink 63">
                  <a:extLst>
                    <a:ext uri="{FF2B5EF4-FFF2-40B4-BE49-F238E27FC236}">
                      <a16:creationId xmlns:a16="http://schemas.microsoft.com/office/drawing/2014/main" id="{771DF10D-FBE2-4B4F-9839-00AEDD219109}"/>
                    </a:ext>
                  </a:extLst>
                </p:cNvPr>
                <p:cNvPicPr/>
                <p:nvPr/>
              </p:nvPicPr>
              <p:blipFill>
                <a:blip r:embed="rId28"/>
                <a:stretch>
                  <a:fillRect/>
                </a:stretch>
              </p:blipFill>
              <p:spPr>
                <a:xfrm>
                  <a:off x="5746977" y="581318"/>
                  <a:ext cx="43920" cy="7848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66" name="Ink 65">
                  <a:extLst>
                    <a:ext uri="{FF2B5EF4-FFF2-40B4-BE49-F238E27FC236}">
                      <a16:creationId xmlns:a16="http://schemas.microsoft.com/office/drawing/2014/main" id="{C9C10218-810B-408D-A478-9C45A80BFE58}"/>
                    </a:ext>
                  </a:extLst>
                </p14:cNvPr>
                <p14:cNvContentPartPr/>
                <p14:nvPr/>
              </p14:nvContentPartPr>
              <p14:xfrm>
                <a:off x="5799177" y="579878"/>
                <a:ext cx="43200" cy="67320"/>
              </p14:xfrm>
            </p:contentPart>
          </mc:Choice>
          <mc:Fallback xmlns="">
            <p:pic>
              <p:nvPicPr>
                <p:cNvPr id="66" name="Ink 65">
                  <a:extLst>
                    <a:ext uri="{FF2B5EF4-FFF2-40B4-BE49-F238E27FC236}">
                      <a16:creationId xmlns:a16="http://schemas.microsoft.com/office/drawing/2014/main" id="{C9C10218-810B-408D-A478-9C45A80BFE58}"/>
                    </a:ext>
                  </a:extLst>
                </p:cNvPr>
                <p:cNvPicPr/>
                <p:nvPr/>
              </p:nvPicPr>
              <p:blipFill>
                <a:blip r:embed="rId30"/>
                <a:stretch>
                  <a:fillRect/>
                </a:stretch>
              </p:blipFill>
              <p:spPr>
                <a:xfrm>
                  <a:off x="5794857" y="575558"/>
                  <a:ext cx="51840" cy="7596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67" name="Ink 66">
                  <a:extLst>
                    <a:ext uri="{FF2B5EF4-FFF2-40B4-BE49-F238E27FC236}">
                      <a16:creationId xmlns:a16="http://schemas.microsoft.com/office/drawing/2014/main" id="{4A5320AB-ACE0-42B9-8CEE-B6AF94A19CEB}"/>
                    </a:ext>
                  </a:extLst>
                </p14:cNvPr>
                <p14:cNvContentPartPr/>
                <p14:nvPr/>
              </p14:nvContentPartPr>
              <p14:xfrm>
                <a:off x="5907897" y="579518"/>
                <a:ext cx="39240" cy="63360"/>
              </p14:xfrm>
            </p:contentPart>
          </mc:Choice>
          <mc:Fallback xmlns="">
            <p:pic>
              <p:nvPicPr>
                <p:cNvPr id="67" name="Ink 66">
                  <a:extLst>
                    <a:ext uri="{FF2B5EF4-FFF2-40B4-BE49-F238E27FC236}">
                      <a16:creationId xmlns:a16="http://schemas.microsoft.com/office/drawing/2014/main" id="{4A5320AB-ACE0-42B9-8CEE-B6AF94A19CEB}"/>
                    </a:ext>
                  </a:extLst>
                </p:cNvPr>
                <p:cNvPicPr/>
                <p:nvPr/>
              </p:nvPicPr>
              <p:blipFill>
                <a:blip r:embed="rId32"/>
                <a:stretch>
                  <a:fillRect/>
                </a:stretch>
              </p:blipFill>
              <p:spPr>
                <a:xfrm>
                  <a:off x="5903577" y="575198"/>
                  <a:ext cx="47880" cy="7200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74" name="Ink 73">
                  <a:extLst>
                    <a:ext uri="{FF2B5EF4-FFF2-40B4-BE49-F238E27FC236}">
                      <a16:creationId xmlns:a16="http://schemas.microsoft.com/office/drawing/2014/main" id="{00B0BCB6-8EC9-4F42-B0A8-C2AB6F5F6645}"/>
                    </a:ext>
                  </a:extLst>
                </p14:cNvPr>
                <p14:cNvContentPartPr/>
                <p14:nvPr/>
              </p14:nvContentPartPr>
              <p14:xfrm>
                <a:off x="5938857" y="591758"/>
                <a:ext cx="60840" cy="47520"/>
              </p14:xfrm>
            </p:contentPart>
          </mc:Choice>
          <mc:Fallback xmlns="">
            <p:pic>
              <p:nvPicPr>
                <p:cNvPr id="74" name="Ink 73">
                  <a:extLst>
                    <a:ext uri="{FF2B5EF4-FFF2-40B4-BE49-F238E27FC236}">
                      <a16:creationId xmlns:a16="http://schemas.microsoft.com/office/drawing/2014/main" id="{00B0BCB6-8EC9-4F42-B0A8-C2AB6F5F6645}"/>
                    </a:ext>
                  </a:extLst>
                </p:cNvPr>
                <p:cNvPicPr/>
                <p:nvPr/>
              </p:nvPicPr>
              <p:blipFill>
                <a:blip r:embed="rId34"/>
                <a:stretch>
                  <a:fillRect/>
                </a:stretch>
              </p:blipFill>
              <p:spPr>
                <a:xfrm>
                  <a:off x="5934537" y="587438"/>
                  <a:ext cx="69480" cy="5616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75" name="Ink 74">
                  <a:extLst>
                    <a:ext uri="{FF2B5EF4-FFF2-40B4-BE49-F238E27FC236}">
                      <a16:creationId xmlns:a16="http://schemas.microsoft.com/office/drawing/2014/main" id="{0BCC5110-0248-442B-8722-498CC887E825}"/>
                    </a:ext>
                  </a:extLst>
                </p14:cNvPr>
                <p14:cNvContentPartPr/>
                <p14:nvPr/>
              </p14:nvContentPartPr>
              <p14:xfrm>
                <a:off x="6033177" y="579158"/>
                <a:ext cx="30240" cy="70920"/>
              </p14:xfrm>
            </p:contentPart>
          </mc:Choice>
          <mc:Fallback xmlns="">
            <p:pic>
              <p:nvPicPr>
                <p:cNvPr id="75" name="Ink 74">
                  <a:extLst>
                    <a:ext uri="{FF2B5EF4-FFF2-40B4-BE49-F238E27FC236}">
                      <a16:creationId xmlns:a16="http://schemas.microsoft.com/office/drawing/2014/main" id="{0BCC5110-0248-442B-8722-498CC887E825}"/>
                    </a:ext>
                  </a:extLst>
                </p:cNvPr>
                <p:cNvPicPr/>
                <p:nvPr/>
              </p:nvPicPr>
              <p:blipFill>
                <a:blip r:embed="rId36"/>
                <a:stretch>
                  <a:fillRect/>
                </a:stretch>
              </p:blipFill>
              <p:spPr>
                <a:xfrm>
                  <a:off x="6028857" y="574838"/>
                  <a:ext cx="38880" cy="79560"/>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76" name="Ink 75">
                  <a:extLst>
                    <a:ext uri="{FF2B5EF4-FFF2-40B4-BE49-F238E27FC236}">
                      <a16:creationId xmlns:a16="http://schemas.microsoft.com/office/drawing/2014/main" id="{92FC619D-B485-4E90-B3E0-8AECA820C898}"/>
                    </a:ext>
                  </a:extLst>
                </p14:cNvPr>
                <p14:cNvContentPartPr/>
                <p14:nvPr/>
              </p14:nvContentPartPr>
              <p14:xfrm>
                <a:off x="6080697" y="585638"/>
                <a:ext cx="38880" cy="71280"/>
              </p14:xfrm>
            </p:contentPart>
          </mc:Choice>
          <mc:Fallback xmlns="">
            <p:pic>
              <p:nvPicPr>
                <p:cNvPr id="76" name="Ink 75">
                  <a:extLst>
                    <a:ext uri="{FF2B5EF4-FFF2-40B4-BE49-F238E27FC236}">
                      <a16:creationId xmlns:a16="http://schemas.microsoft.com/office/drawing/2014/main" id="{92FC619D-B485-4E90-B3E0-8AECA820C898}"/>
                    </a:ext>
                  </a:extLst>
                </p:cNvPr>
                <p:cNvPicPr/>
                <p:nvPr/>
              </p:nvPicPr>
              <p:blipFill>
                <a:blip r:embed="rId38"/>
                <a:stretch>
                  <a:fillRect/>
                </a:stretch>
              </p:blipFill>
              <p:spPr>
                <a:xfrm>
                  <a:off x="6076377" y="581318"/>
                  <a:ext cx="47520" cy="7992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77" name="Ink 76">
                  <a:extLst>
                    <a:ext uri="{FF2B5EF4-FFF2-40B4-BE49-F238E27FC236}">
                      <a16:creationId xmlns:a16="http://schemas.microsoft.com/office/drawing/2014/main" id="{3CA57AE4-A6DD-4006-B027-81D1EE7200BE}"/>
                    </a:ext>
                  </a:extLst>
                </p14:cNvPr>
                <p14:cNvContentPartPr/>
                <p14:nvPr/>
              </p14:nvContentPartPr>
              <p14:xfrm>
                <a:off x="6184737" y="571958"/>
                <a:ext cx="41400" cy="83880"/>
              </p14:xfrm>
            </p:contentPart>
          </mc:Choice>
          <mc:Fallback xmlns="">
            <p:pic>
              <p:nvPicPr>
                <p:cNvPr id="77" name="Ink 76">
                  <a:extLst>
                    <a:ext uri="{FF2B5EF4-FFF2-40B4-BE49-F238E27FC236}">
                      <a16:creationId xmlns:a16="http://schemas.microsoft.com/office/drawing/2014/main" id="{3CA57AE4-A6DD-4006-B027-81D1EE7200BE}"/>
                    </a:ext>
                  </a:extLst>
                </p:cNvPr>
                <p:cNvPicPr/>
                <p:nvPr/>
              </p:nvPicPr>
              <p:blipFill>
                <a:blip r:embed="rId40"/>
                <a:stretch>
                  <a:fillRect/>
                </a:stretch>
              </p:blipFill>
              <p:spPr>
                <a:xfrm>
                  <a:off x="6180417" y="567638"/>
                  <a:ext cx="50040" cy="92520"/>
                </a:xfrm>
                <a:prstGeom prst="rect">
                  <a:avLst/>
                </a:prstGeom>
              </p:spPr>
            </p:pic>
          </mc:Fallback>
        </mc:AlternateContent>
        <mc:AlternateContent xmlns:mc="http://schemas.openxmlformats.org/markup-compatibility/2006" xmlns:p14="http://schemas.microsoft.com/office/powerpoint/2010/main">
          <mc:Choice Requires="p14">
            <p:contentPart p14:bwMode="auto" r:id="rId41">
              <p14:nvContentPartPr>
                <p14:cNvPr id="78" name="Ink 77">
                  <a:extLst>
                    <a:ext uri="{FF2B5EF4-FFF2-40B4-BE49-F238E27FC236}">
                      <a16:creationId xmlns:a16="http://schemas.microsoft.com/office/drawing/2014/main" id="{6B9CD26D-6AD1-4532-B19F-0E7E657094B6}"/>
                    </a:ext>
                  </a:extLst>
                </p14:cNvPr>
                <p14:cNvContentPartPr/>
                <p14:nvPr/>
              </p14:nvContentPartPr>
              <p14:xfrm>
                <a:off x="6275817" y="570518"/>
                <a:ext cx="54360" cy="57600"/>
              </p14:xfrm>
            </p:contentPart>
          </mc:Choice>
          <mc:Fallback xmlns="">
            <p:pic>
              <p:nvPicPr>
                <p:cNvPr id="78" name="Ink 77">
                  <a:extLst>
                    <a:ext uri="{FF2B5EF4-FFF2-40B4-BE49-F238E27FC236}">
                      <a16:creationId xmlns:a16="http://schemas.microsoft.com/office/drawing/2014/main" id="{6B9CD26D-6AD1-4532-B19F-0E7E657094B6}"/>
                    </a:ext>
                  </a:extLst>
                </p:cNvPr>
                <p:cNvPicPr/>
                <p:nvPr/>
              </p:nvPicPr>
              <p:blipFill>
                <a:blip r:embed="rId42"/>
                <a:stretch>
                  <a:fillRect/>
                </a:stretch>
              </p:blipFill>
              <p:spPr>
                <a:xfrm>
                  <a:off x="6271497" y="566198"/>
                  <a:ext cx="63000" cy="66240"/>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80" name="Ink 79">
                  <a:extLst>
                    <a:ext uri="{FF2B5EF4-FFF2-40B4-BE49-F238E27FC236}">
                      <a16:creationId xmlns:a16="http://schemas.microsoft.com/office/drawing/2014/main" id="{6530AB09-30BA-480D-ACAF-C1EF8C7C5174}"/>
                    </a:ext>
                  </a:extLst>
                </p14:cNvPr>
                <p14:cNvContentPartPr/>
                <p14:nvPr/>
              </p14:nvContentPartPr>
              <p14:xfrm>
                <a:off x="5403537" y="488078"/>
                <a:ext cx="12960" cy="42480"/>
              </p14:xfrm>
            </p:contentPart>
          </mc:Choice>
          <mc:Fallback xmlns="">
            <p:pic>
              <p:nvPicPr>
                <p:cNvPr id="80" name="Ink 79">
                  <a:extLst>
                    <a:ext uri="{FF2B5EF4-FFF2-40B4-BE49-F238E27FC236}">
                      <a16:creationId xmlns:a16="http://schemas.microsoft.com/office/drawing/2014/main" id="{6530AB09-30BA-480D-ACAF-C1EF8C7C5174}"/>
                    </a:ext>
                  </a:extLst>
                </p:cNvPr>
                <p:cNvPicPr/>
                <p:nvPr/>
              </p:nvPicPr>
              <p:blipFill>
                <a:blip r:embed="rId44"/>
                <a:stretch>
                  <a:fillRect/>
                </a:stretch>
              </p:blipFill>
              <p:spPr>
                <a:xfrm>
                  <a:off x="5399217" y="483758"/>
                  <a:ext cx="21600" cy="51120"/>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81" name="Ink 80">
                  <a:extLst>
                    <a:ext uri="{FF2B5EF4-FFF2-40B4-BE49-F238E27FC236}">
                      <a16:creationId xmlns:a16="http://schemas.microsoft.com/office/drawing/2014/main" id="{EEEA03DF-C400-49B5-B6B4-DE12FFCF3067}"/>
                    </a:ext>
                  </a:extLst>
                </p14:cNvPr>
                <p14:cNvContentPartPr/>
                <p14:nvPr/>
              </p14:nvContentPartPr>
              <p14:xfrm>
                <a:off x="5601897" y="467558"/>
                <a:ext cx="30960" cy="60120"/>
              </p14:xfrm>
            </p:contentPart>
          </mc:Choice>
          <mc:Fallback xmlns="">
            <p:pic>
              <p:nvPicPr>
                <p:cNvPr id="81" name="Ink 80">
                  <a:extLst>
                    <a:ext uri="{FF2B5EF4-FFF2-40B4-BE49-F238E27FC236}">
                      <a16:creationId xmlns:a16="http://schemas.microsoft.com/office/drawing/2014/main" id="{EEEA03DF-C400-49B5-B6B4-DE12FFCF3067}"/>
                    </a:ext>
                  </a:extLst>
                </p:cNvPr>
                <p:cNvPicPr/>
                <p:nvPr/>
              </p:nvPicPr>
              <p:blipFill>
                <a:blip r:embed="rId46"/>
                <a:stretch>
                  <a:fillRect/>
                </a:stretch>
              </p:blipFill>
              <p:spPr>
                <a:xfrm>
                  <a:off x="5597577" y="463238"/>
                  <a:ext cx="39600" cy="68760"/>
                </a:xfrm>
                <a:prstGeom prst="rect">
                  <a:avLst/>
                </a:prstGeom>
              </p:spPr>
            </p:pic>
          </mc:Fallback>
        </mc:AlternateContent>
        <mc:AlternateContent xmlns:mc="http://schemas.openxmlformats.org/markup-compatibility/2006" xmlns:p14="http://schemas.microsoft.com/office/powerpoint/2010/main">
          <mc:Choice Requires="p14">
            <p:contentPart p14:bwMode="auto" r:id="rId47">
              <p14:nvContentPartPr>
                <p14:cNvPr id="83" name="Ink 82">
                  <a:extLst>
                    <a:ext uri="{FF2B5EF4-FFF2-40B4-BE49-F238E27FC236}">
                      <a16:creationId xmlns:a16="http://schemas.microsoft.com/office/drawing/2014/main" id="{3E6AF700-05E3-40AC-B9BF-C5CAC48AAEA3}"/>
                    </a:ext>
                  </a:extLst>
                </p14:cNvPr>
                <p14:cNvContentPartPr/>
                <p14:nvPr/>
              </p14:nvContentPartPr>
              <p14:xfrm>
                <a:off x="5753457" y="474038"/>
                <a:ext cx="19440" cy="40680"/>
              </p14:xfrm>
            </p:contentPart>
          </mc:Choice>
          <mc:Fallback xmlns="">
            <p:pic>
              <p:nvPicPr>
                <p:cNvPr id="83" name="Ink 82">
                  <a:extLst>
                    <a:ext uri="{FF2B5EF4-FFF2-40B4-BE49-F238E27FC236}">
                      <a16:creationId xmlns:a16="http://schemas.microsoft.com/office/drawing/2014/main" id="{3E6AF700-05E3-40AC-B9BF-C5CAC48AAEA3}"/>
                    </a:ext>
                  </a:extLst>
                </p:cNvPr>
                <p:cNvPicPr/>
                <p:nvPr/>
              </p:nvPicPr>
              <p:blipFill>
                <a:blip r:embed="rId48"/>
                <a:stretch>
                  <a:fillRect/>
                </a:stretch>
              </p:blipFill>
              <p:spPr>
                <a:xfrm>
                  <a:off x="5749137" y="469718"/>
                  <a:ext cx="28080" cy="49320"/>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84" name="Ink 83">
                  <a:extLst>
                    <a:ext uri="{FF2B5EF4-FFF2-40B4-BE49-F238E27FC236}">
                      <a16:creationId xmlns:a16="http://schemas.microsoft.com/office/drawing/2014/main" id="{A8A67852-4FC8-4A1B-BFC5-7BC96AE98734}"/>
                    </a:ext>
                  </a:extLst>
                </p14:cNvPr>
                <p14:cNvContentPartPr/>
                <p14:nvPr/>
              </p14:nvContentPartPr>
              <p14:xfrm>
                <a:off x="5924097" y="474038"/>
                <a:ext cx="30240" cy="45000"/>
              </p14:xfrm>
            </p:contentPart>
          </mc:Choice>
          <mc:Fallback xmlns="">
            <p:pic>
              <p:nvPicPr>
                <p:cNvPr id="84" name="Ink 83">
                  <a:extLst>
                    <a:ext uri="{FF2B5EF4-FFF2-40B4-BE49-F238E27FC236}">
                      <a16:creationId xmlns:a16="http://schemas.microsoft.com/office/drawing/2014/main" id="{A8A67852-4FC8-4A1B-BFC5-7BC96AE98734}"/>
                    </a:ext>
                  </a:extLst>
                </p:cNvPr>
                <p:cNvPicPr/>
                <p:nvPr/>
              </p:nvPicPr>
              <p:blipFill>
                <a:blip r:embed="rId50"/>
                <a:stretch>
                  <a:fillRect/>
                </a:stretch>
              </p:blipFill>
              <p:spPr>
                <a:xfrm>
                  <a:off x="5919777" y="469718"/>
                  <a:ext cx="38880" cy="53640"/>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85" name="Ink 84">
                  <a:extLst>
                    <a:ext uri="{FF2B5EF4-FFF2-40B4-BE49-F238E27FC236}">
                      <a16:creationId xmlns:a16="http://schemas.microsoft.com/office/drawing/2014/main" id="{17841811-E690-48A7-8A5F-C653A3F5B096}"/>
                    </a:ext>
                  </a:extLst>
                </p14:cNvPr>
                <p14:cNvContentPartPr/>
                <p14:nvPr/>
              </p14:nvContentPartPr>
              <p14:xfrm>
                <a:off x="6050097" y="467558"/>
                <a:ext cx="15840" cy="34920"/>
              </p14:xfrm>
            </p:contentPart>
          </mc:Choice>
          <mc:Fallback xmlns="">
            <p:pic>
              <p:nvPicPr>
                <p:cNvPr id="85" name="Ink 84">
                  <a:extLst>
                    <a:ext uri="{FF2B5EF4-FFF2-40B4-BE49-F238E27FC236}">
                      <a16:creationId xmlns:a16="http://schemas.microsoft.com/office/drawing/2014/main" id="{17841811-E690-48A7-8A5F-C653A3F5B096}"/>
                    </a:ext>
                  </a:extLst>
                </p:cNvPr>
                <p:cNvPicPr/>
                <p:nvPr/>
              </p:nvPicPr>
              <p:blipFill>
                <a:blip r:embed="rId52"/>
                <a:stretch>
                  <a:fillRect/>
                </a:stretch>
              </p:blipFill>
              <p:spPr>
                <a:xfrm>
                  <a:off x="6045777" y="463238"/>
                  <a:ext cx="24480" cy="43560"/>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86" name="Ink 85">
                  <a:extLst>
                    <a:ext uri="{FF2B5EF4-FFF2-40B4-BE49-F238E27FC236}">
                      <a16:creationId xmlns:a16="http://schemas.microsoft.com/office/drawing/2014/main" id="{598E7D38-5775-453A-934C-67C20A90A171}"/>
                    </a:ext>
                  </a:extLst>
                </p14:cNvPr>
                <p14:cNvContentPartPr/>
                <p14:nvPr/>
              </p14:nvContentPartPr>
              <p14:xfrm>
                <a:off x="6216057" y="481238"/>
                <a:ext cx="10080" cy="25560"/>
              </p14:xfrm>
            </p:contentPart>
          </mc:Choice>
          <mc:Fallback xmlns="">
            <p:pic>
              <p:nvPicPr>
                <p:cNvPr id="86" name="Ink 85">
                  <a:extLst>
                    <a:ext uri="{FF2B5EF4-FFF2-40B4-BE49-F238E27FC236}">
                      <a16:creationId xmlns:a16="http://schemas.microsoft.com/office/drawing/2014/main" id="{598E7D38-5775-453A-934C-67C20A90A171}"/>
                    </a:ext>
                  </a:extLst>
                </p:cNvPr>
                <p:cNvPicPr/>
                <p:nvPr/>
              </p:nvPicPr>
              <p:blipFill>
                <a:blip r:embed="rId54"/>
                <a:stretch>
                  <a:fillRect/>
                </a:stretch>
              </p:blipFill>
              <p:spPr>
                <a:xfrm>
                  <a:off x="6211737" y="476918"/>
                  <a:ext cx="18720" cy="342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55">
            <p14:nvContentPartPr>
              <p14:cNvPr id="88" name="Ink 87">
                <a:extLst>
                  <a:ext uri="{FF2B5EF4-FFF2-40B4-BE49-F238E27FC236}">
                    <a16:creationId xmlns:a16="http://schemas.microsoft.com/office/drawing/2014/main" id="{531875B8-63FD-453B-B849-5E8E0F9CA4F0}"/>
                  </a:ext>
                </a:extLst>
              </p14:cNvPr>
              <p14:cNvContentPartPr/>
              <p14:nvPr/>
            </p14:nvContentPartPr>
            <p14:xfrm>
              <a:off x="8089857" y="481238"/>
              <a:ext cx="28440" cy="15480"/>
            </p14:xfrm>
          </p:contentPart>
        </mc:Choice>
        <mc:Fallback xmlns="">
          <p:pic>
            <p:nvPicPr>
              <p:cNvPr id="88" name="Ink 87">
                <a:extLst>
                  <a:ext uri="{FF2B5EF4-FFF2-40B4-BE49-F238E27FC236}">
                    <a16:creationId xmlns:a16="http://schemas.microsoft.com/office/drawing/2014/main" id="{531875B8-63FD-453B-B849-5E8E0F9CA4F0}"/>
                  </a:ext>
                </a:extLst>
              </p:cNvPr>
              <p:cNvPicPr/>
              <p:nvPr/>
            </p:nvPicPr>
            <p:blipFill>
              <a:blip r:embed="rId56"/>
              <a:stretch>
                <a:fillRect/>
              </a:stretch>
            </p:blipFill>
            <p:spPr>
              <a:xfrm>
                <a:off x="8085537" y="476918"/>
                <a:ext cx="37080" cy="24120"/>
              </a:xfrm>
              <a:prstGeom prst="rect">
                <a:avLst/>
              </a:prstGeom>
            </p:spPr>
          </p:pic>
        </mc:Fallback>
      </mc:AlternateContent>
      <mc:AlternateContent xmlns:mc="http://schemas.openxmlformats.org/markup-compatibility/2006" xmlns:p14="http://schemas.microsoft.com/office/powerpoint/2010/main">
        <mc:Choice Requires="p14">
          <p:contentPart p14:bwMode="auto" r:id="rId57">
            <p14:nvContentPartPr>
              <p14:cNvPr id="89" name="Ink 88">
                <a:extLst>
                  <a:ext uri="{FF2B5EF4-FFF2-40B4-BE49-F238E27FC236}">
                    <a16:creationId xmlns:a16="http://schemas.microsoft.com/office/drawing/2014/main" id="{DFB42180-85D5-40A2-98AF-D78C10FE81EE}"/>
                  </a:ext>
                </a:extLst>
              </p14:cNvPr>
              <p14:cNvContentPartPr/>
              <p14:nvPr/>
            </p14:nvContentPartPr>
            <p14:xfrm>
              <a:off x="4665177" y="292958"/>
              <a:ext cx="88560" cy="190080"/>
            </p14:xfrm>
          </p:contentPart>
        </mc:Choice>
        <mc:Fallback xmlns="">
          <p:pic>
            <p:nvPicPr>
              <p:cNvPr id="89" name="Ink 88">
                <a:extLst>
                  <a:ext uri="{FF2B5EF4-FFF2-40B4-BE49-F238E27FC236}">
                    <a16:creationId xmlns:a16="http://schemas.microsoft.com/office/drawing/2014/main" id="{DFB42180-85D5-40A2-98AF-D78C10FE81EE}"/>
                  </a:ext>
                </a:extLst>
              </p:cNvPr>
              <p:cNvPicPr/>
              <p:nvPr/>
            </p:nvPicPr>
            <p:blipFill>
              <a:blip r:embed="rId58"/>
              <a:stretch>
                <a:fillRect/>
              </a:stretch>
            </p:blipFill>
            <p:spPr>
              <a:xfrm>
                <a:off x="4656537" y="283958"/>
                <a:ext cx="106200" cy="207720"/>
              </a:xfrm>
              <a:prstGeom prst="rect">
                <a:avLst/>
              </a:prstGeom>
            </p:spPr>
          </p:pic>
        </mc:Fallback>
      </mc:AlternateContent>
      <mc:AlternateContent xmlns:mc="http://schemas.openxmlformats.org/markup-compatibility/2006" xmlns:p14="http://schemas.microsoft.com/office/powerpoint/2010/main">
        <mc:Choice Requires="p14">
          <p:contentPart p14:bwMode="auto" r:id="rId59">
            <p14:nvContentPartPr>
              <p14:cNvPr id="90" name="Ink 89">
                <a:extLst>
                  <a:ext uri="{FF2B5EF4-FFF2-40B4-BE49-F238E27FC236}">
                    <a16:creationId xmlns:a16="http://schemas.microsoft.com/office/drawing/2014/main" id="{FE0D606C-C57B-4CF8-A74E-FC2FF7BB3289}"/>
                  </a:ext>
                </a:extLst>
              </p14:cNvPr>
              <p14:cNvContentPartPr/>
              <p14:nvPr/>
            </p14:nvContentPartPr>
            <p14:xfrm>
              <a:off x="4436937" y="591398"/>
              <a:ext cx="94320" cy="87480"/>
            </p14:xfrm>
          </p:contentPart>
        </mc:Choice>
        <mc:Fallback xmlns="">
          <p:pic>
            <p:nvPicPr>
              <p:cNvPr id="90" name="Ink 89">
                <a:extLst>
                  <a:ext uri="{FF2B5EF4-FFF2-40B4-BE49-F238E27FC236}">
                    <a16:creationId xmlns:a16="http://schemas.microsoft.com/office/drawing/2014/main" id="{FE0D606C-C57B-4CF8-A74E-FC2FF7BB3289}"/>
                  </a:ext>
                </a:extLst>
              </p:cNvPr>
              <p:cNvPicPr/>
              <p:nvPr/>
            </p:nvPicPr>
            <p:blipFill>
              <a:blip r:embed="rId60"/>
              <a:stretch>
                <a:fillRect/>
              </a:stretch>
            </p:blipFill>
            <p:spPr>
              <a:xfrm>
                <a:off x="4427937" y="582758"/>
                <a:ext cx="111960" cy="105120"/>
              </a:xfrm>
              <a:prstGeom prst="rect">
                <a:avLst/>
              </a:prstGeom>
            </p:spPr>
          </p:pic>
        </mc:Fallback>
      </mc:AlternateContent>
      <p:sp>
        <p:nvSpPr>
          <p:cNvPr id="97" name="TextBox 96">
            <a:extLst>
              <a:ext uri="{FF2B5EF4-FFF2-40B4-BE49-F238E27FC236}">
                <a16:creationId xmlns:a16="http://schemas.microsoft.com/office/drawing/2014/main" id="{0B7F28F0-CBC9-4D42-8A6B-9EF4C95A95D6}"/>
              </a:ext>
            </a:extLst>
          </p:cNvPr>
          <p:cNvSpPr txBox="1"/>
          <p:nvPr/>
        </p:nvSpPr>
        <p:spPr>
          <a:xfrm>
            <a:off x="223365" y="1225718"/>
            <a:ext cx="6317038" cy="2031325"/>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Values : </a:t>
            </a:r>
            <a:r>
              <a:rPr lang="en-US" sz="1800" dirty="0">
                <a:solidFill>
                  <a:schemeClr val="bg2">
                    <a:lumMod val="50000"/>
                    <a:lumOff val="50000"/>
                  </a:schemeClr>
                </a:solidFill>
                <a:latin typeface="Inter"/>
                <a:cs typeface="Arial" panose="020B0604020202020204" pitchFamily="34" charset="0"/>
              </a:rPr>
              <a:t>10, 20, 30, 40, 44, 44, 45, 50, 55, 60 , 400</a:t>
            </a:r>
          </a:p>
          <a:p>
            <a:pPr>
              <a:spcBef>
                <a:spcPts val="0"/>
              </a:spcBef>
              <a:spcAft>
                <a:spcPts val="0"/>
              </a:spcAft>
              <a:buClr>
                <a:schemeClr val="bg1"/>
              </a:buClr>
            </a:pPr>
            <a:endParaRPr lang="en-US" sz="18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800" dirty="0">
                <a:solidFill>
                  <a:schemeClr val="accent1"/>
                </a:solidFill>
                <a:latin typeface="Inter"/>
                <a:cs typeface="Arial" panose="020B0604020202020204" pitchFamily="34" charset="0"/>
              </a:rPr>
              <a:t>Mean : </a:t>
            </a:r>
            <a:r>
              <a:rPr lang="en-US" sz="1800" dirty="0">
                <a:solidFill>
                  <a:schemeClr val="bg2">
                    <a:lumMod val="50000"/>
                    <a:lumOff val="50000"/>
                  </a:schemeClr>
                </a:solidFill>
                <a:latin typeface="Inter"/>
                <a:cs typeface="Arial" panose="020B0604020202020204" pitchFamily="34" charset="0"/>
              </a:rPr>
              <a:t>72.5</a:t>
            </a:r>
          </a:p>
          <a:p>
            <a:pPr>
              <a:spcBef>
                <a:spcPts val="0"/>
              </a:spcBef>
              <a:spcAft>
                <a:spcPts val="0"/>
              </a:spcAft>
              <a:buClr>
                <a:schemeClr val="bg1"/>
              </a:buClr>
            </a:pPr>
            <a:endParaRPr lang="en-US" sz="1800" dirty="0">
              <a:solidFill>
                <a:schemeClr val="accent1"/>
              </a:solidFill>
              <a:latin typeface="Inter"/>
              <a:cs typeface="Arial" panose="020B0604020202020204" pitchFamily="34" charset="0"/>
            </a:endParaRPr>
          </a:p>
          <a:p>
            <a:pPr>
              <a:spcBef>
                <a:spcPts val="0"/>
              </a:spcBef>
              <a:spcAft>
                <a:spcPts val="0"/>
              </a:spcAft>
              <a:buClr>
                <a:schemeClr val="bg1"/>
              </a:buClr>
            </a:pPr>
            <a:r>
              <a:rPr lang="en-US" sz="1800" dirty="0">
                <a:solidFill>
                  <a:schemeClr val="accent1"/>
                </a:solidFill>
                <a:latin typeface="Inter"/>
                <a:cs typeface="Arial" panose="020B0604020202020204" pitchFamily="34" charset="0"/>
              </a:rPr>
              <a:t>Median : </a:t>
            </a:r>
            <a:r>
              <a:rPr lang="en-US" sz="1800" dirty="0">
                <a:solidFill>
                  <a:schemeClr val="bg2">
                    <a:lumMod val="50000"/>
                    <a:lumOff val="50000"/>
                  </a:schemeClr>
                </a:solidFill>
                <a:latin typeface="Inter"/>
                <a:cs typeface="Arial" panose="020B0604020202020204" pitchFamily="34" charset="0"/>
              </a:rPr>
              <a:t>44</a:t>
            </a:r>
          </a:p>
          <a:p>
            <a:pPr>
              <a:spcBef>
                <a:spcPts val="0"/>
              </a:spcBef>
              <a:spcAft>
                <a:spcPts val="0"/>
              </a:spcAft>
              <a:buClr>
                <a:schemeClr val="bg1"/>
              </a:buClr>
            </a:pPr>
            <a:endParaRPr lang="en-US" sz="1800" dirty="0">
              <a:solidFill>
                <a:schemeClr val="accent1"/>
              </a:solidFill>
              <a:latin typeface="Inter"/>
              <a:cs typeface="Arial" panose="020B0604020202020204" pitchFamily="34" charset="0"/>
            </a:endParaRPr>
          </a:p>
          <a:p>
            <a:pPr>
              <a:spcBef>
                <a:spcPts val="0"/>
              </a:spcBef>
              <a:spcAft>
                <a:spcPts val="0"/>
              </a:spcAft>
              <a:buClr>
                <a:schemeClr val="bg1"/>
              </a:buClr>
            </a:pPr>
            <a:r>
              <a:rPr lang="en-US" sz="1800" dirty="0">
                <a:solidFill>
                  <a:schemeClr val="accent1"/>
                </a:solidFill>
                <a:latin typeface="Inter"/>
                <a:cs typeface="Arial" panose="020B0604020202020204" pitchFamily="34" charset="0"/>
              </a:rPr>
              <a:t>Mode : </a:t>
            </a:r>
            <a:r>
              <a:rPr lang="en-US" sz="1800" dirty="0">
                <a:solidFill>
                  <a:schemeClr val="bg2">
                    <a:lumMod val="50000"/>
                    <a:lumOff val="50000"/>
                  </a:schemeClr>
                </a:solidFill>
                <a:latin typeface="Inter"/>
                <a:cs typeface="Arial" panose="020B0604020202020204" pitchFamily="34" charset="0"/>
              </a:rPr>
              <a:t>44</a:t>
            </a:r>
          </a:p>
        </p:txBody>
      </p:sp>
      <p:grpSp>
        <p:nvGrpSpPr>
          <p:cNvPr id="107" name="Group 106">
            <a:extLst>
              <a:ext uri="{FF2B5EF4-FFF2-40B4-BE49-F238E27FC236}">
                <a16:creationId xmlns:a16="http://schemas.microsoft.com/office/drawing/2014/main" id="{B8B535AB-9207-47BE-A1C9-601BB537A3D2}"/>
              </a:ext>
            </a:extLst>
          </p:cNvPr>
          <p:cNvGrpSpPr/>
          <p:nvPr/>
        </p:nvGrpSpPr>
        <p:grpSpPr>
          <a:xfrm>
            <a:off x="7976457" y="585638"/>
            <a:ext cx="263520" cy="139320"/>
            <a:chOff x="7976457" y="585638"/>
            <a:chExt cx="263520" cy="139320"/>
          </a:xfrm>
        </p:grpSpPr>
        <mc:AlternateContent xmlns:mc="http://schemas.openxmlformats.org/markup-compatibility/2006" xmlns:p14="http://schemas.microsoft.com/office/powerpoint/2010/main">
          <mc:Choice Requires="p14">
            <p:contentPart p14:bwMode="auto" r:id="rId61">
              <p14:nvContentPartPr>
                <p14:cNvPr id="103" name="Ink 102">
                  <a:extLst>
                    <a:ext uri="{FF2B5EF4-FFF2-40B4-BE49-F238E27FC236}">
                      <a16:creationId xmlns:a16="http://schemas.microsoft.com/office/drawing/2014/main" id="{42F7E7F6-498A-4924-9E7B-2417E0FEC2F9}"/>
                    </a:ext>
                  </a:extLst>
                </p14:cNvPr>
                <p14:cNvContentPartPr/>
                <p14:nvPr/>
              </p14:nvContentPartPr>
              <p14:xfrm>
                <a:off x="7976457" y="592838"/>
                <a:ext cx="105840" cy="99360"/>
              </p14:xfrm>
            </p:contentPart>
          </mc:Choice>
          <mc:Fallback xmlns="">
            <p:pic>
              <p:nvPicPr>
                <p:cNvPr id="103" name="Ink 102">
                  <a:extLst>
                    <a:ext uri="{FF2B5EF4-FFF2-40B4-BE49-F238E27FC236}">
                      <a16:creationId xmlns:a16="http://schemas.microsoft.com/office/drawing/2014/main" id="{42F7E7F6-498A-4924-9E7B-2417E0FEC2F9}"/>
                    </a:ext>
                  </a:extLst>
                </p:cNvPr>
                <p:cNvPicPr/>
                <p:nvPr/>
              </p:nvPicPr>
              <p:blipFill>
                <a:blip r:embed="rId62"/>
                <a:stretch>
                  <a:fillRect/>
                </a:stretch>
              </p:blipFill>
              <p:spPr>
                <a:xfrm>
                  <a:off x="7972137" y="588518"/>
                  <a:ext cx="114480" cy="108000"/>
                </a:xfrm>
                <a:prstGeom prst="rect">
                  <a:avLst/>
                </a:prstGeom>
              </p:spPr>
            </p:pic>
          </mc:Fallback>
        </mc:AlternateContent>
        <mc:AlternateContent xmlns:mc="http://schemas.openxmlformats.org/markup-compatibility/2006" xmlns:p14="http://schemas.microsoft.com/office/powerpoint/2010/main">
          <mc:Choice Requires="p14">
            <p:contentPart p14:bwMode="auto" r:id="rId63">
              <p14:nvContentPartPr>
                <p14:cNvPr id="104" name="Ink 103">
                  <a:extLst>
                    <a:ext uri="{FF2B5EF4-FFF2-40B4-BE49-F238E27FC236}">
                      <a16:creationId xmlns:a16="http://schemas.microsoft.com/office/drawing/2014/main" id="{E8038FD2-F19F-46A2-B68E-BA4430877E9F}"/>
                    </a:ext>
                  </a:extLst>
                </p14:cNvPr>
                <p14:cNvContentPartPr/>
                <p14:nvPr/>
              </p14:nvContentPartPr>
              <p14:xfrm>
                <a:off x="7999857" y="585638"/>
                <a:ext cx="48240" cy="139320"/>
              </p14:xfrm>
            </p:contentPart>
          </mc:Choice>
          <mc:Fallback xmlns="">
            <p:pic>
              <p:nvPicPr>
                <p:cNvPr id="104" name="Ink 103">
                  <a:extLst>
                    <a:ext uri="{FF2B5EF4-FFF2-40B4-BE49-F238E27FC236}">
                      <a16:creationId xmlns:a16="http://schemas.microsoft.com/office/drawing/2014/main" id="{E8038FD2-F19F-46A2-B68E-BA4430877E9F}"/>
                    </a:ext>
                  </a:extLst>
                </p:cNvPr>
                <p:cNvPicPr/>
                <p:nvPr/>
              </p:nvPicPr>
              <p:blipFill>
                <a:blip r:embed="rId64"/>
                <a:stretch>
                  <a:fillRect/>
                </a:stretch>
              </p:blipFill>
              <p:spPr>
                <a:xfrm>
                  <a:off x="7995537" y="581318"/>
                  <a:ext cx="56880" cy="147960"/>
                </a:xfrm>
                <a:prstGeom prst="rect">
                  <a:avLst/>
                </a:prstGeom>
              </p:spPr>
            </p:pic>
          </mc:Fallback>
        </mc:AlternateContent>
        <mc:AlternateContent xmlns:mc="http://schemas.openxmlformats.org/markup-compatibility/2006" xmlns:p14="http://schemas.microsoft.com/office/powerpoint/2010/main">
          <mc:Choice Requires="p14">
            <p:contentPart p14:bwMode="auto" r:id="rId65">
              <p14:nvContentPartPr>
                <p14:cNvPr id="105" name="Ink 104">
                  <a:extLst>
                    <a:ext uri="{FF2B5EF4-FFF2-40B4-BE49-F238E27FC236}">
                      <a16:creationId xmlns:a16="http://schemas.microsoft.com/office/drawing/2014/main" id="{3624B60D-70CE-4C57-BB13-CDB2CA6188F8}"/>
                    </a:ext>
                  </a:extLst>
                </p14:cNvPr>
                <p14:cNvContentPartPr/>
                <p14:nvPr/>
              </p14:nvContentPartPr>
              <p14:xfrm>
                <a:off x="8103537" y="599318"/>
                <a:ext cx="57240" cy="57600"/>
              </p14:xfrm>
            </p:contentPart>
          </mc:Choice>
          <mc:Fallback xmlns="">
            <p:pic>
              <p:nvPicPr>
                <p:cNvPr id="105" name="Ink 104">
                  <a:extLst>
                    <a:ext uri="{FF2B5EF4-FFF2-40B4-BE49-F238E27FC236}">
                      <a16:creationId xmlns:a16="http://schemas.microsoft.com/office/drawing/2014/main" id="{3624B60D-70CE-4C57-BB13-CDB2CA6188F8}"/>
                    </a:ext>
                  </a:extLst>
                </p:cNvPr>
                <p:cNvPicPr/>
                <p:nvPr/>
              </p:nvPicPr>
              <p:blipFill>
                <a:blip r:embed="rId66"/>
                <a:stretch>
                  <a:fillRect/>
                </a:stretch>
              </p:blipFill>
              <p:spPr>
                <a:xfrm>
                  <a:off x="8099217" y="594998"/>
                  <a:ext cx="65880" cy="66240"/>
                </a:xfrm>
                <a:prstGeom prst="rect">
                  <a:avLst/>
                </a:prstGeom>
              </p:spPr>
            </p:pic>
          </mc:Fallback>
        </mc:AlternateContent>
        <mc:AlternateContent xmlns:mc="http://schemas.openxmlformats.org/markup-compatibility/2006" xmlns:p14="http://schemas.microsoft.com/office/powerpoint/2010/main">
          <mc:Choice Requires="p14">
            <p:contentPart p14:bwMode="auto" r:id="rId67">
              <p14:nvContentPartPr>
                <p14:cNvPr id="106" name="Ink 105">
                  <a:extLst>
                    <a:ext uri="{FF2B5EF4-FFF2-40B4-BE49-F238E27FC236}">
                      <a16:creationId xmlns:a16="http://schemas.microsoft.com/office/drawing/2014/main" id="{F21C355D-4732-414A-8EB8-72F1F4C1964B}"/>
                    </a:ext>
                  </a:extLst>
                </p14:cNvPr>
                <p14:cNvContentPartPr/>
                <p14:nvPr/>
              </p14:nvContentPartPr>
              <p14:xfrm>
                <a:off x="8196057" y="585638"/>
                <a:ext cx="43920" cy="59400"/>
              </p14:xfrm>
            </p:contentPart>
          </mc:Choice>
          <mc:Fallback xmlns="">
            <p:pic>
              <p:nvPicPr>
                <p:cNvPr id="106" name="Ink 105">
                  <a:extLst>
                    <a:ext uri="{FF2B5EF4-FFF2-40B4-BE49-F238E27FC236}">
                      <a16:creationId xmlns:a16="http://schemas.microsoft.com/office/drawing/2014/main" id="{F21C355D-4732-414A-8EB8-72F1F4C1964B}"/>
                    </a:ext>
                  </a:extLst>
                </p:cNvPr>
                <p:cNvPicPr/>
                <p:nvPr/>
              </p:nvPicPr>
              <p:blipFill>
                <a:blip r:embed="rId68"/>
                <a:stretch>
                  <a:fillRect/>
                </a:stretch>
              </p:blipFill>
              <p:spPr>
                <a:xfrm>
                  <a:off x="8191737" y="581318"/>
                  <a:ext cx="52560" cy="68040"/>
                </a:xfrm>
                <a:prstGeom prst="rect">
                  <a:avLst/>
                </a:prstGeom>
              </p:spPr>
            </p:pic>
          </mc:Fallback>
        </mc:AlternateContent>
      </p:grpSp>
      <p:grpSp>
        <p:nvGrpSpPr>
          <p:cNvPr id="114" name="Group 113">
            <a:extLst>
              <a:ext uri="{FF2B5EF4-FFF2-40B4-BE49-F238E27FC236}">
                <a16:creationId xmlns:a16="http://schemas.microsoft.com/office/drawing/2014/main" id="{7885C676-A88E-492A-99A6-F6E6650F46A0}"/>
              </a:ext>
            </a:extLst>
          </p:cNvPr>
          <p:cNvGrpSpPr/>
          <p:nvPr/>
        </p:nvGrpSpPr>
        <p:grpSpPr>
          <a:xfrm>
            <a:off x="8593137" y="320678"/>
            <a:ext cx="327240" cy="315720"/>
            <a:chOff x="8593137" y="320678"/>
            <a:chExt cx="327240" cy="315720"/>
          </a:xfrm>
        </p:grpSpPr>
        <mc:AlternateContent xmlns:mc="http://schemas.openxmlformats.org/markup-compatibility/2006" xmlns:p14="http://schemas.microsoft.com/office/powerpoint/2010/main">
          <mc:Choice Requires="p14">
            <p:contentPart p14:bwMode="auto" r:id="rId69">
              <p14:nvContentPartPr>
                <p14:cNvPr id="109" name="Ink 108">
                  <a:extLst>
                    <a:ext uri="{FF2B5EF4-FFF2-40B4-BE49-F238E27FC236}">
                      <a16:creationId xmlns:a16="http://schemas.microsoft.com/office/drawing/2014/main" id="{8E5A5103-2C20-473B-B261-46E44E2A34E3}"/>
                    </a:ext>
                  </a:extLst>
                </p14:cNvPr>
                <p14:cNvContentPartPr/>
                <p14:nvPr/>
              </p14:nvContentPartPr>
              <p14:xfrm>
                <a:off x="8593137" y="320678"/>
                <a:ext cx="118080" cy="194040"/>
              </p14:xfrm>
            </p:contentPart>
          </mc:Choice>
          <mc:Fallback xmlns="">
            <p:pic>
              <p:nvPicPr>
                <p:cNvPr id="109" name="Ink 108">
                  <a:extLst>
                    <a:ext uri="{FF2B5EF4-FFF2-40B4-BE49-F238E27FC236}">
                      <a16:creationId xmlns:a16="http://schemas.microsoft.com/office/drawing/2014/main" id="{8E5A5103-2C20-473B-B261-46E44E2A34E3}"/>
                    </a:ext>
                  </a:extLst>
                </p:cNvPr>
                <p:cNvPicPr/>
                <p:nvPr/>
              </p:nvPicPr>
              <p:blipFill>
                <a:blip r:embed="rId70"/>
                <a:stretch>
                  <a:fillRect/>
                </a:stretch>
              </p:blipFill>
              <p:spPr>
                <a:xfrm>
                  <a:off x="8584137" y="311678"/>
                  <a:ext cx="135720" cy="211680"/>
                </a:xfrm>
                <a:prstGeom prst="rect">
                  <a:avLst/>
                </a:prstGeom>
              </p:spPr>
            </p:pic>
          </mc:Fallback>
        </mc:AlternateContent>
        <mc:AlternateContent xmlns:mc="http://schemas.openxmlformats.org/markup-compatibility/2006" xmlns:p14="http://schemas.microsoft.com/office/powerpoint/2010/main">
          <mc:Choice Requires="p14">
            <p:contentPart p14:bwMode="auto" r:id="rId71">
              <p14:nvContentPartPr>
                <p14:cNvPr id="110" name="Ink 109">
                  <a:extLst>
                    <a:ext uri="{FF2B5EF4-FFF2-40B4-BE49-F238E27FC236}">
                      <a16:creationId xmlns:a16="http://schemas.microsoft.com/office/drawing/2014/main" id="{667A8D23-64F8-4238-9EDA-1EFFEDE5EA8D}"/>
                    </a:ext>
                  </a:extLst>
                </p14:cNvPr>
                <p14:cNvContentPartPr/>
                <p14:nvPr/>
              </p14:nvContentPartPr>
              <p14:xfrm>
                <a:off x="8657217" y="488078"/>
                <a:ext cx="96120" cy="148320"/>
              </p14:xfrm>
            </p:contentPart>
          </mc:Choice>
          <mc:Fallback xmlns="">
            <p:pic>
              <p:nvPicPr>
                <p:cNvPr id="110" name="Ink 109">
                  <a:extLst>
                    <a:ext uri="{FF2B5EF4-FFF2-40B4-BE49-F238E27FC236}">
                      <a16:creationId xmlns:a16="http://schemas.microsoft.com/office/drawing/2014/main" id="{667A8D23-64F8-4238-9EDA-1EFFEDE5EA8D}"/>
                    </a:ext>
                  </a:extLst>
                </p:cNvPr>
                <p:cNvPicPr/>
                <p:nvPr/>
              </p:nvPicPr>
              <p:blipFill>
                <a:blip r:embed="rId72"/>
                <a:stretch>
                  <a:fillRect/>
                </a:stretch>
              </p:blipFill>
              <p:spPr>
                <a:xfrm>
                  <a:off x="8648577" y="479078"/>
                  <a:ext cx="113760" cy="165960"/>
                </a:xfrm>
                <a:prstGeom prst="rect">
                  <a:avLst/>
                </a:prstGeom>
              </p:spPr>
            </p:pic>
          </mc:Fallback>
        </mc:AlternateContent>
        <mc:AlternateContent xmlns:mc="http://schemas.openxmlformats.org/markup-compatibility/2006" xmlns:p14="http://schemas.microsoft.com/office/powerpoint/2010/main">
          <mc:Choice Requires="p14">
            <p:contentPart p14:bwMode="auto" r:id="rId73">
              <p14:nvContentPartPr>
                <p14:cNvPr id="112" name="Ink 111">
                  <a:extLst>
                    <a:ext uri="{FF2B5EF4-FFF2-40B4-BE49-F238E27FC236}">
                      <a16:creationId xmlns:a16="http://schemas.microsoft.com/office/drawing/2014/main" id="{D7AE6E3D-4C7A-4FAC-A1E4-6F7C020B45ED}"/>
                    </a:ext>
                  </a:extLst>
                </p14:cNvPr>
                <p14:cNvContentPartPr/>
                <p14:nvPr/>
              </p14:nvContentPartPr>
              <p14:xfrm>
                <a:off x="8753337" y="518318"/>
                <a:ext cx="79200" cy="87480"/>
              </p14:xfrm>
            </p:contentPart>
          </mc:Choice>
          <mc:Fallback xmlns="">
            <p:pic>
              <p:nvPicPr>
                <p:cNvPr id="112" name="Ink 111">
                  <a:extLst>
                    <a:ext uri="{FF2B5EF4-FFF2-40B4-BE49-F238E27FC236}">
                      <a16:creationId xmlns:a16="http://schemas.microsoft.com/office/drawing/2014/main" id="{D7AE6E3D-4C7A-4FAC-A1E4-6F7C020B45ED}"/>
                    </a:ext>
                  </a:extLst>
                </p:cNvPr>
                <p:cNvPicPr/>
                <p:nvPr/>
              </p:nvPicPr>
              <p:blipFill>
                <a:blip r:embed="rId74"/>
                <a:stretch>
                  <a:fillRect/>
                </a:stretch>
              </p:blipFill>
              <p:spPr>
                <a:xfrm>
                  <a:off x="8744337" y="509678"/>
                  <a:ext cx="96840" cy="105120"/>
                </a:xfrm>
                <a:prstGeom prst="rect">
                  <a:avLst/>
                </a:prstGeom>
              </p:spPr>
            </p:pic>
          </mc:Fallback>
        </mc:AlternateContent>
        <mc:AlternateContent xmlns:mc="http://schemas.openxmlformats.org/markup-compatibility/2006" xmlns:p14="http://schemas.microsoft.com/office/powerpoint/2010/main">
          <mc:Choice Requires="p14">
            <p:contentPart p14:bwMode="auto" r:id="rId75">
              <p14:nvContentPartPr>
                <p14:cNvPr id="113" name="Ink 112">
                  <a:extLst>
                    <a:ext uri="{FF2B5EF4-FFF2-40B4-BE49-F238E27FC236}">
                      <a16:creationId xmlns:a16="http://schemas.microsoft.com/office/drawing/2014/main" id="{970F2986-0FFF-4ECB-BE85-093BDF17A43A}"/>
                    </a:ext>
                  </a:extLst>
                </p14:cNvPr>
                <p14:cNvContentPartPr/>
                <p14:nvPr/>
              </p14:nvContentPartPr>
              <p14:xfrm>
                <a:off x="8872857" y="503918"/>
                <a:ext cx="47520" cy="68040"/>
              </p14:xfrm>
            </p:contentPart>
          </mc:Choice>
          <mc:Fallback xmlns="">
            <p:pic>
              <p:nvPicPr>
                <p:cNvPr id="113" name="Ink 112">
                  <a:extLst>
                    <a:ext uri="{FF2B5EF4-FFF2-40B4-BE49-F238E27FC236}">
                      <a16:creationId xmlns:a16="http://schemas.microsoft.com/office/drawing/2014/main" id="{970F2986-0FFF-4ECB-BE85-093BDF17A43A}"/>
                    </a:ext>
                  </a:extLst>
                </p:cNvPr>
                <p:cNvPicPr/>
                <p:nvPr/>
              </p:nvPicPr>
              <p:blipFill>
                <a:blip r:embed="rId76"/>
                <a:stretch>
                  <a:fillRect/>
                </a:stretch>
              </p:blipFill>
              <p:spPr>
                <a:xfrm>
                  <a:off x="8863857" y="495278"/>
                  <a:ext cx="65160" cy="85680"/>
                </a:xfrm>
                <a:prstGeom prst="rect">
                  <a:avLst/>
                </a:prstGeom>
              </p:spPr>
            </p:pic>
          </mc:Fallback>
        </mc:AlternateContent>
      </p:grpSp>
      <p:sp>
        <p:nvSpPr>
          <p:cNvPr id="118" name="TextBox 117">
            <a:extLst>
              <a:ext uri="{FF2B5EF4-FFF2-40B4-BE49-F238E27FC236}">
                <a16:creationId xmlns:a16="http://schemas.microsoft.com/office/drawing/2014/main" id="{9FD59B1B-B3B2-450D-B9E2-D257740BB6D2}"/>
              </a:ext>
            </a:extLst>
          </p:cNvPr>
          <p:cNvSpPr txBox="1"/>
          <p:nvPr/>
        </p:nvSpPr>
        <p:spPr>
          <a:xfrm>
            <a:off x="142902" y="3671560"/>
            <a:ext cx="6489449" cy="369332"/>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Inter"/>
                <a:cs typeface="Arial" panose="020B0604020202020204" pitchFamily="34" charset="0"/>
              </a:rPr>
              <a:t>Let’s learn how to identify and treat outliers in our ML classes</a:t>
            </a:r>
          </a:p>
        </p:txBody>
      </p:sp>
    </p:spTree>
    <p:extLst>
      <p:ext uri="{BB962C8B-B14F-4D97-AF65-F5344CB8AC3E}">
        <p14:creationId xmlns:p14="http://schemas.microsoft.com/office/powerpoint/2010/main" val="293059769"/>
      </p:ext>
    </p:extLst>
  </p:cSld>
  <p:clrMapOvr>
    <a:masterClrMapping/>
  </p:clrMapOvr>
  <p:transition spd="med">
    <p:wipe dir="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6FF563-E73D-4114-871D-69CA13511BB3}"/>
              </a:ext>
            </a:extLst>
          </p:cNvPr>
          <p:cNvSpPr>
            <a:spLocks noGrp="1"/>
          </p:cNvSpPr>
          <p:nvPr>
            <p:ph type="title"/>
          </p:nvPr>
        </p:nvSpPr>
        <p:spPr>
          <a:xfrm>
            <a:off x="0" y="0"/>
            <a:ext cx="7955280" cy="640080"/>
          </a:xfrm>
        </p:spPr>
        <p:txBody>
          <a:bodyPr>
            <a:normAutofit fontScale="90000"/>
          </a:bodyPr>
          <a:lstStyle/>
          <a:p>
            <a:r>
              <a:rPr lang="en-US" dirty="0"/>
              <a:t>Mean – Continued</a:t>
            </a:r>
            <a:br>
              <a:rPr lang="en-US" dirty="0"/>
            </a:br>
            <a:r>
              <a:rPr lang="en-US" dirty="0">
                <a:solidFill>
                  <a:schemeClr val="bg2">
                    <a:lumMod val="50000"/>
                    <a:lumOff val="50000"/>
                  </a:schemeClr>
                </a:solidFill>
              </a:rPr>
              <a:t>Different types of Mean</a:t>
            </a:r>
          </a:p>
        </p:txBody>
      </p:sp>
      <p:sp>
        <p:nvSpPr>
          <p:cNvPr id="4" name="Content Placeholder 3">
            <a:extLst>
              <a:ext uri="{FF2B5EF4-FFF2-40B4-BE49-F238E27FC236}">
                <a16:creationId xmlns:a16="http://schemas.microsoft.com/office/drawing/2014/main" id="{7D3B6E85-01D6-4560-BC37-4C032EA4F8B6}"/>
              </a:ext>
            </a:extLst>
          </p:cNvPr>
          <p:cNvSpPr>
            <a:spLocks noGrp="1"/>
          </p:cNvSpPr>
          <p:nvPr>
            <p:ph sz="half" idx="1"/>
          </p:nvPr>
        </p:nvSpPr>
        <p:spPr>
          <a:xfrm>
            <a:off x="64915" y="898005"/>
            <a:ext cx="8073943" cy="3820578"/>
          </a:xfrm>
        </p:spPr>
        <p:txBody>
          <a:bodyPr/>
          <a:lstStyle/>
          <a:p>
            <a:pPr marL="0" indent="0">
              <a:buNone/>
            </a:pPr>
            <a:r>
              <a:rPr lang="en-US" sz="2500" dirty="0">
                <a:solidFill>
                  <a:srgbClr val="007DB8"/>
                </a:solidFill>
              </a:rPr>
              <a:t>Arithmetic Mean </a:t>
            </a:r>
          </a:p>
          <a:p>
            <a:r>
              <a:rPr lang="en-US" dirty="0">
                <a:solidFill>
                  <a:schemeClr val="bg2">
                    <a:lumMod val="50000"/>
                    <a:lumOff val="50000"/>
                  </a:schemeClr>
                </a:solidFill>
                <a:latin typeface="Inter"/>
              </a:rPr>
              <a:t>When you add up all the values and divide by the number of values it is called Arithmetic Mean. To calculate, just add up all the given numbers then divide by how many numbers are given.</a:t>
            </a:r>
          </a:p>
          <a:p>
            <a:pPr lvl="1"/>
            <a:r>
              <a:rPr lang="en-US" sz="1400" dirty="0">
                <a:solidFill>
                  <a:schemeClr val="bg2">
                    <a:lumMod val="50000"/>
                    <a:lumOff val="50000"/>
                  </a:schemeClr>
                </a:solidFill>
                <a:latin typeface="Inter"/>
              </a:rPr>
              <a:t>Example: What is the mean of 3, 5, 9, 5, 7, 2?</a:t>
            </a:r>
          </a:p>
          <a:p>
            <a:pPr lvl="1"/>
            <a:r>
              <a:rPr lang="en-US" sz="1400" dirty="0">
                <a:solidFill>
                  <a:schemeClr val="bg2">
                    <a:lumMod val="50000"/>
                    <a:lumOff val="50000"/>
                  </a:schemeClr>
                </a:solidFill>
                <a:latin typeface="Inter"/>
              </a:rPr>
              <a:t>Now add up all the given numbers:</a:t>
            </a:r>
          </a:p>
          <a:p>
            <a:pPr lvl="1"/>
            <a:r>
              <a:rPr lang="en-US" sz="1400" dirty="0">
                <a:solidFill>
                  <a:schemeClr val="bg2">
                    <a:lumMod val="50000"/>
                    <a:lumOff val="50000"/>
                  </a:schemeClr>
                </a:solidFill>
                <a:latin typeface="Inter"/>
              </a:rPr>
              <a:t>3 + 5 + 9 + 5 + 7 + 2 = 31</a:t>
            </a:r>
          </a:p>
          <a:p>
            <a:pPr lvl="1"/>
            <a:r>
              <a:rPr lang="en-US" sz="1400" dirty="0">
                <a:solidFill>
                  <a:schemeClr val="bg2">
                    <a:lumMod val="50000"/>
                    <a:lumOff val="50000"/>
                  </a:schemeClr>
                </a:solidFill>
                <a:latin typeface="Inter"/>
              </a:rPr>
              <a:t>Now divide by how many numbers provided in the sequence:</a:t>
            </a:r>
          </a:p>
          <a:p>
            <a:pPr lvl="1"/>
            <a:r>
              <a:rPr lang="en-US" sz="1400" dirty="0">
                <a:solidFill>
                  <a:schemeClr val="bg2">
                    <a:lumMod val="50000"/>
                    <a:lumOff val="50000"/>
                  </a:schemeClr>
                </a:solidFill>
                <a:latin typeface="Inter"/>
              </a:rPr>
              <a:t>316= 5.16</a:t>
            </a:r>
          </a:p>
          <a:p>
            <a:pPr lvl="1"/>
            <a:r>
              <a:rPr lang="en-US" sz="1400" dirty="0">
                <a:solidFill>
                  <a:schemeClr val="bg2">
                    <a:lumMod val="50000"/>
                    <a:lumOff val="50000"/>
                  </a:schemeClr>
                </a:solidFill>
                <a:latin typeface="Inter"/>
              </a:rPr>
              <a:t>5.16 is the answer</a:t>
            </a:r>
            <a:r>
              <a:rPr lang="en-US" dirty="0"/>
              <a:t>.</a:t>
            </a:r>
          </a:p>
          <a:p>
            <a:endParaRPr lang="en-US" dirty="0"/>
          </a:p>
        </p:txBody>
      </p:sp>
      <p:pic>
        <p:nvPicPr>
          <p:cNvPr id="6" name="Picture 5">
            <a:extLst>
              <a:ext uri="{FF2B5EF4-FFF2-40B4-BE49-F238E27FC236}">
                <a16:creationId xmlns:a16="http://schemas.microsoft.com/office/drawing/2014/main" id="{27CA7337-1D9D-4B99-B6FB-2A461EFDE4E9}"/>
              </a:ext>
            </a:extLst>
          </p:cNvPr>
          <p:cNvPicPr>
            <a:picLocks noChangeAspect="1"/>
          </p:cNvPicPr>
          <p:nvPr/>
        </p:nvPicPr>
        <p:blipFill>
          <a:blip r:embed="rId2"/>
          <a:stretch>
            <a:fillRect/>
          </a:stretch>
        </p:blipFill>
        <p:spPr>
          <a:xfrm>
            <a:off x="531909" y="3657310"/>
            <a:ext cx="4143375" cy="495300"/>
          </a:xfrm>
          <a:prstGeom prst="rect">
            <a:avLst/>
          </a:prstGeom>
        </p:spPr>
      </p:pic>
    </p:spTree>
    <p:extLst>
      <p:ext uri="{BB962C8B-B14F-4D97-AF65-F5344CB8AC3E}">
        <p14:creationId xmlns:p14="http://schemas.microsoft.com/office/powerpoint/2010/main" val="2903660889"/>
      </p:ext>
    </p:extLst>
  </p:cSld>
  <p:clrMapOvr>
    <a:masterClrMapping/>
  </p:clrMapOvr>
  <p:transition spd="med">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091FEF-38B0-4D5D-ACF9-640E94B25F1B}"/>
              </a:ext>
            </a:extLst>
          </p:cNvPr>
          <p:cNvSpPr>
            <a:spLocks noGrp="1"/>
          </p:cNvSpPr>
          <p:nvPr>
            <p:ph type="title"/>
          </p:nvPr>
        </p:nvSpPr>
        <p:spPr/>
        <p:txBody>
          <a:bodyPr/>
          <a:lstStyle/>
          <a:p>
            <a:r>
              <a:rPr lang="en-US" dirty="0"/>
              <a:t>Some statistical statements</a:t>
            </a:r>
          </a:p>
        </p:txBody>
      </p:sp>
      <p:sp>
        <p:nvSpPr>
          <p:cNvPr id="3" name="Content Placeholder 2">
            <a:extLst>
              <a:ext uri="{FF2B5EF4-FFF2-40B4-BE49-F238E27FC236}">
                <a16:creationId xmlns:a16="http://schemas.microsoft.com/office/drawing/2014/main" id="{CA61F78B-9CC5-4759-8D88-4612E1CAB972}"/>
              </a:ext>
            </a:extLst>
          </p:cNvPr>
          <p:cNvSpPr>
            <a:spLocks noGrp="1"/>
          </p:cNvSpPr>
          <p:nvPr>
            <p:ph sz="half" idx="1"/>
          </p:nvPr>
        </p:nvSpPr>
        <p:spPr>
          <a:xfrm>
            <a:off x="161586" y="1054691"/>
            <a:ext cx="7924386" cy="3200400"/>
          </a:xfrm>
        </p:spPr>
        <p:txBody>
          <a:bodyPr/>
          <a:lstStyle/>
          <a:p>
            <a:r>
              <a:rPr lang="en-US" dirty="0">
                <a:solidFill>
                  <a:schemeClr val="bg2">
                    <a:lumMod val="50000"/>
                    <a:lumOff val="50000"/>
                  </a:schemeClr>
                </a:solidFill>
              </a:rPr>
              <a:t>I drive my car at an average speed of 50 km/hr.</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A survey of 1000 adults by a capital markets company showed that 75% of adults think that Corona vaccine is 96% efficacy (if that is the case then 4% of people can die)</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We will close the quarter higher at 120% attainment ( Actuals/Target)</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20% of our workforce would resign by the end of next year</a:t>
            </a:r>
          </a:p>
          <a:p>
            <a:endParaRPr lang="en-US" dirty="0"/>
          </a:p>
        </p:txBody>
      </p:sp>
      <p:sp>
        <p:nvSpPr>
          <p:cNvPr id="4" name="TextBox 3">
            <a:extLst>
              <a:ext uri="{FF2B5EF4-FFF2-40B4-BE49-F238E27FC236}">
                <a16:creationId xmlns:a16="http://schemas.microsoft.com/office/drawing/2014/main" id="{65CFAE00-AD21-409B-AE44-D05A37D298A0}"/>
              </a:ext>
            </a:extLst>
          </p:cNvPr>
          <p:cNvSpPr txBox="1"/>
          <p:nvPr/>
        </p:nvSpPr>
        <p:spPr>
          <a:xfrm>
            <a:off x="161585" y="3993481"/>
            <a:ext cx="8606633" cy="523220"/>
          </a:xfrm>
          <a:prstGeom prst="rect">
            <a:avLst/>
          </a:prstGeom>
          <a:noFill/>
        </p:spPr>
        <p:txBody>
          <a:bodyPr wrap="square" rtlCol="0">
            <a:spAutoFit/>
          </a:bodyPr>
          <a:lstStyle/>
          <a:p>
            <a:pPr>
              <a:spcBef>
                <a:spcPts val="0"/>
              </a:spcBef>
              <a:spcAft>
                <a:spcPts val="0"/>
              </a:spcAft>
              <a:buClr>
                <a:schemeClr val="bg1"/>
              </a:buClr>
            </a:pPr>
            <a:r>
              <a:rPr lang="en-US" sz="1400" i="1" dirty="0">
                <a:solidFill>
                  <a:schemeClr val="bg1"/>
                </a:solidFill>
                <a:latin typeface="+mn-lt"/>
              </a:rPr>
              <a:t>So, you can challenge most of the statements here. But these statements will be applicable to most of the population but there can be exceptions.</a:t>
            </a:r>
          </a:p>
        </p:txBody>
      </p:sp>
    </p:spTree>
    <p:extLst>
      <p:ext uri="{BB962C8B-B14F-4D97-AF65-F5344CB8AC3E}">
        <p14:creationId xmlns:p14="http://schemas.microsoft.com/office/powerpoint/2010/main" val="3865591795"/>
      </p:ext>
    </p:extLst>
  </p:cSld>
  <p:clrMapOvr>
    <a:masterClrMapping/>
  </p:clrMapOvr>
  <p:transition spd="med">
    <p:wipe dir="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05DE446-0BA5-47DD-9C34-E22160028D02}"/>
              </a:ext>
            </a:extLst>
          </p:cNvPr>
          <p:cNvSpPr>
            <a:spLocks noGrp="1"/>
          </p:cNvSpPr>
          <p:nvPr>
            <p:ph type="title"/>
          </p:nvPr>
        </p:nvSpPr>
        <p:spPr>
          <a:xfrm>
            <a:off x="0" y="27981"/>
            <a:ext cx="7955280" cy="640080"/>
          </a:xfrm>
        </p:spPr>
        <p:txBody>
          <a:bodyPr/>
          <a:lstStyle/>
          <a:p>
            <a:r>
              <a:rPr lang="en-US" dirty="0"/>
              <a:t>Geometric Mean</a:t>
            </a:r>
          </a:p>
        </p:txBody>
      </p:sp>
      <p:sp>
        <p:nvSpPr>
          <p:cNvPr id="4" name="Content Placeholder 3">
            <a:extLst>
              <a:ext uri="{FF2B5EF4-FFF2-40B4-BE49-F238E27FC236}">
                <a16:creationId xmlns:a16="http://schemas.microsoft.com/office/drawing/2014/main" id="{8B864218-C049-4F5F-973F-1252FE3B9728}"/>
              </a:ext>
            </a:extLst>
          </p:cNvPr>
          <p:cNvSpPr>
            <a:spLocks noGrp="1"/>
          </p:cNvSpPr>
          <p:nvPr>
            <p:ph sz="half" idx="1"/>
          </p:nvPr>
        </p:nvSpPr>
        <p:spPr>
          <a:xfrm>
            <a:off x="274320" y="607273"/>
            <a:ext cx="7955280" cy="3964727"/>
          </a:xfrm>
        </p:spPr>
        <p:txBody>
          <a:bodyPr/>
          <a:lstStyle/>
          <a:p>
            <a:r>
              <a:rPr lang="en-US" dirty="0">
                <a:solidFill>
                  <a:schemeClr val="bg2">
                    <a:lumMod val="50000"/>
                    <a:lumOff val="50000"/>
                  </a:schemeClr>
                </a:solidFill>
                <a:latin typeface="Inter"/>
              </a:rPr>
              <a:t>While finding geometric mean the values are </a:t>
            </a:r>
            <a:r>
              <a:rPr lang="en-US" dirty="0" err="1">
                <a:solidFill>
                  <a:schemeClr val="bg2">
                    <a:lumMod val="50000"/>
                    <a:lumOff val="50000"/>
                  </a:schemeClr>
                </a:solidFill>
                <a:latin typeface="Inter"/>
              </a:rPr>
              <a:t>multipled</a:t>
            </a:r>
            <a:r>
              <a:rPr lang="en-US" dirty="0">
                <a:solidFill>
                  <a:schemeClr val="bg2">
                    <a:lumMod val="50000"/>
                    <a:lumOff val="50000"/>
                  </a:schemeClr>
                </a:solidFill>
                <a:latin typeface="Inter"/>
              </a:rPr>
              <a:t> rather than summed up </a:t>
            </a:r>
          </a:p>
          <a:p>
            <a:endParaRPr lang="en-US" dirty="0">
              <a:solidFill>
                <a:schemeClr val="bg2">
                  <a:lumMod val="50000"/>
                  <a:lumOff val="50000"/>
                </a:schemeClr>
              </a:solidFill>
              <a:latin typeface="Inter"/>
            </a:endParaRPr>
          </a:p>
          <a:p>
            <a:r>
              <a:rPr lang="en-US" dirty="0">
                <a:solidFill>
                  <a:schemeClr val="bg2">
                    <a:lumMod val="50000"/>
                    <a:lumOff val="50000"/>
                  </a:schemeClr>
                </a:solidFill>
                <a:latin typeface="Inter"/>
              </a:rPr>
              <a:t>Example: Find the geometric mean of 4 and 3 ?</a:t>
            </a:r>
          </a:p>
          <a:p>
            <a:pPr lvl="1"/>
            <a:r>
              <a:rPr lang="en-US" sz="1400" dirty="0">
                <a:solidFill>
                  <a:schemeClr val="bg2">
                    <a:lumMod val="50000"/>
                    <a:lumOff val="50000"/>
                  </a:schemeClr>
                </a:solidFill>
                <a:latin typeface="Inter"/>
              </a:rPr>
              <a:t>Geometric Mean =√4×3=2√23= 3.46</a:t>
            </a:r>
          </a:p>
          <a:p>
            <a:r>
              <a:rPr lang="en-US" dirty="0">
                <a:solidFill>
                  <a:schemeClr val="bg2">
                    <a:lumMod val="50000"/>
                    <a:lumOff val="50000"/>
                  </a:schemeClr>
                </a:solidFill>
                <a:latin typeface="Inter"/>
              </a:rPr>
              <a:t>GM of 2 numbers is like finding area and the GM of 3 numbers is like finding the volume of area.. </a:t>
            </a:r>
          </a:p>
          <a:p>
            <a:pPr lvl="1"/>
            <a:r>
              <a:rPr lang="en-US" sz="1400" dirty="0">
                <a:solidFill>
                  <a:schemeClr val="bg2">
                    <a:lumMod val="50000"/>
                    <a:lumOff val="50000"/>
                  </a:schemeClr>
                </a:solidFill>
                <a:latin typeface="Inter"/>
              </a:rPr>
              <a:t>Ex : What is geometric mean of 1,3,9,27,81 ? </a:t>
            </a:r>
          </a:p>
          <a:p>
            <a:r>
              <a:rPr lang="en-US" dirty="0">
                <a:solidFill>
                  <a:schemeClr val="bg2">
                    <a:lumMod val="50000"/>
                    <a:lumOff val="50000"/>
                  </a:schemeClr>
                </a:solidFill>
                <a:latin typeface="Inter"/>
              </a:rPr>
              <a:t>Why Geometric Mean ? </a:t>
            </a:r>
          </a:p>
          <a:p>
            <a:pPr lvl="1"/>
            <a:r>
              <a:rPr lang="en-US" sz="1400" dirty="0">
                <a:solidFill>
                  <a:schemeClr val="bg2">
                    <a:lumMod val="50000"/>
                    <a:lumOff val="50000"/>
                  </a:schemeClr>
                </a:solidFill>
                <a:latin typeface="Inter"/>
              </a:rPr>
              <a:t>Ex : Buying a laptop </a:t>
            </a:r>
          </a:p>
          <a:p>
            <a:endParaRPr lang="en-US" dirty="0"/>
          </a:p>
        </p:txBody>
      </p:sp>
      <p:pic>
        <p:nvPicPr>
          <p:cNvPr id="6" name="Picture 5" descr="A picture containing text, electronics, computer, display&#10;&#10;Description automatically generated">
            <a:extLst>
              <a:ext uri="{FF2B5EF4-FFF2-40B4-BE49-F238E27FC236}">
                <a16:creationId xmlns:a16="http://schemas.microsoft.com/office/drawing/2014/main" id="{5F3DBB60-44C0-4843-BD26-C515BA6729B8}"/>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499018" y="2836996"/>
            <a:ext cx="2559126" cy="1413917"/>
          </a:xfrm>
          <a:prstGeom prst="rect">
            <a:avLst/>
          </a:prstGeom>
        </p:spPr>
      </p:pic>
      <p:pic>
        <p:nvPicPr>
          <p:cNvPr id="9" name="Picture 8">
            <a:extLst>
              <a:ext uri="{FF2B5EF4-FFF2-40B4-BE49-F238E27FC236}">
                <a16:creationId xmlns:a16="http://schemas.microsoft.com/office/drawing/2014/main" id="{EF92DF04-2F8E-4143-B9E7-DB7E0542E115}"/>
              </a:ext>
            </a:extLst>
          </p:cNvPr>
          <p:cNvPicPr>
            <a:picLocks noChangeAspect="1"/>
          </p:cNvPicPr>
          <p:nvPr/>
        </p:nvPicPr>
        <p:blipFill>
          <a:blip r:embed="rId4"/>
          <a:stretch>
            <a:fillRect/>
          </a:stretch>
        </p:blipFill>
        <p:spPr>
          <a:xfrm>
            <a:off x="1619396" y="818583"/>
            <a:ext cx="3657600" cy="466725"/>
          </a:xfrm>
          <a:prstGeom prst="rect">
            <a:avLst/>
          </a:prstGeom>
        </p:spPr>
      </p:pic>
    </p:spTree>
    <p:extLst>
      <p:ext uri="{BB962C8B-B14F-4D97-AF65-F5344CB8AC3E}">
        <p14:creationId xmlns:p14="http://schemas.microsoft.com/office/powerpoint/2010/main" val="2355739922"/>
      </p:ext>
    </p:extLst>
  </p:cSld>
  <p:clrMapOvr>
    <a:masterClrMapping/>
  </p:clrMapOvr>
  <p:transition spd="med">
    <p:wipe dir="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F2BE7F-23BD-4650-9881-92293F42646A}"/>
              </a:ext>
            </a:extLst>
          </p:cNvPr>
          <p:cNvSpPr>
            <a:spLocks noGrp="1"/>
          </p:cNvSpPr>
          <p:nvPr>
            <p:ph type="title"/>
          </p:nvPr>
        </p:nvSpPr>
        <p:spPr>
          <a:xfrm>
            <a:off x="0" y="0"/>
            <a:ext cx="7955280" cy="640080"/>
          </a:xfrm>
        </p:spPr>
        <p:txBody>
          <a:bodyPr/>
          <a:lstStyle/>
          <a:p>
            <a:r>
              <a:rPr lang="en-US" dirty="0"/>
              <a:t>Harmonic Mean</a:t>
            </a:r>
          </a:p>
        </p:txBody>
      </p:sp>
      <p:sp>
        <p:nvSpPr>
          <p:cNvPr id="4" name="Content Placeholder 3">
            <a:extLst>
              <a:ext uri="{FF2B5EF4-FFF2-40B4-BE49-F238E27FC236}">
                <a16:creationId xmlns:a16="http://schemas.microsoft.com/office/drawing/2014/main" id="{FE64AFE6-BC36-4F1D-ACEC-72EB9E24C942}"/>
              </a:ext>
            </a:extLst>
          </p:cNvPr>
          <p:cNvSpPr>
            <a:spLocks noGrp="1"/>
          </p:cNvSpPr>
          <p:nvPr>
            <p:ph sz="half" idx="1"/>
          </p:nvPr>
        </p:nvSpPr>
        <p:spPr>
          <a:xfrm>
            <a:off x="57936" y="570889"/>
            <a:ext cx="8534632" cy="4001721"/>
          </a:xfrm>
        </p:spPr>
        <p:txBody>
          <a:bodyPr/>
          <a:lstStyle/>
          <a:p>
            <a:r>
              <a:rPr lang="en-US" sz="1800" kern="1200" dirty="0">
                <a:solidFill>
                  <a:schemeClr val="bg2">
                    <a:lumMod val="50000"/>
                    <a:lumOff val="50000"/>
                  </a:schemeClr>
                </a:solidFill>
                <a:latin typeface="Inter"/>
                <a:ea typeface="+mn-ea"/>
              </a:rPr>
              <a:t>The harmonic mean is a type of numerical average. It is calculated by dividing the number of observations by the reciprocal of each number in the series. </a:t>
            </a:r>
          </a:p>
          <a:p>
            <a:r>
              <a:rPr lang="en-US" sz="1800" kern="1200" dirty="0">
                <a:solidFill>
                  <a:schemeClr val="bg2">
                    <a:lumMod val="50000"/>
                    <a:lumOff val="50000"/>
                  </a:schemeClr>
                </a:solidFill>
                <a:latin typeface="Inter"/>
                <a:ea typeface="+mn-ea"/>
              </a:rPr>
              <a:t>The reciprocal of a number n is simply 1 / n.</a:t>
            </a:r>
          </a:p>
          <a:p>
            <a:r>
              <a:rPr lang="en-US" sz="1800" kern="1200" dirty="0">
                <a:solidFill>
                  <a:schemeClr val="bg2">
                    <a:lumMod val="50000"/>
                    <a:lumOff val="50000"/>
                  </a:schemeClr>
                </a:solidFill>
                <a:latin typeface="Inter"/>
                <a:ea typeface="+mn-ea"/>
              </a:rPr>
              <a:t>Ex : the harmonic mean of 2, 4, 6, 8, 50 is </a:t>
            </a:r>
          </a:p>
        </p:txBody>
      </p:sp>
      <mc:AlternateContent xmlns:mc="http://schemas.openxmlformats.org/markup-compatibility/2006" xmlns:p14="http://schemas.microsoft.com/office/powerpoint/2010/main">
        <mc:Choice Requires="p14">
          <p:contentPart p14:bwMode="auto" r:id="rId2">
            <p14:nvContentPartPr>
              <p14:cNvPr id="9" name="Ink 8">
                <a:extLst>
                  <a:ext uri="{FF2B5EF4-FFF2-40B4-BE49-F238E27FC236}">
                    <a16:creationId xmlns:a16="http://schemas.microsoft.com/office/drawing/2014/main" id="{521DD35F-BF5C-4C24-8567-60DAF0F0E899}"/>
                  </a:ext>
                </a:extLst>
              </p14:cNvPr>
              <p14:cNvContentPartPr/>
              <p14:nvPr/>
            </p14:nvContentPartPr>
            <p14:xfrm>
              <a:off x="1577097" y="2882438"/>
              <a:ext cx="360" cy="360"/>
            </p14:xfrm>
          </p:contentPart>
        </mc:Choice>
        <mc:Fallback xmlns="">
          <p:pic>
            <p:nvPicPr>
              <p:cNvPr id="9" name="Ink 8">
                <a:extLst>
                  <a:ext uri="{FF2B5EF4-FFF2-40B4-BE49-F238E27FC236}">
                    <a16:creationId xmlns:a16="http://schemas.microsoft.com/office/drawing/2014/main" id="{521DD35F-BF5C-4C24-8567-60DAF0F0E899}"/>
                  </a:ext>
                </a:extLst>
              </p:cNvPr>
              <p:cNvPicPr/>
              <p:nvPr/>
            </p:nvPicPr>
            <p:blipFill>
              <a:blip r:embed="rId3"/>
              <a:stretch>
                <a:fillRect/>
              </a:stretch>
            </p:blipFill>
            <p:spPr>
              <a:xfrm>
                <a:off x="1572777" y="287811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13" name="Ink 12">
                <a:extLst>
                  <a:ext uri="{FF2B5EF4-FFF2-40B4-BE49-F238E27FC236}">
                    <a16:creationId xmlns:a16="http://schemas.microsoft.com/office/drawing/2014/main" id="{C247D014-0380-4712-8703-F5FA9E77D00C}"/>
                  </a:ext>
                </a:extLst>
              </p14:cNvPr>
              <p14:cNvContentPartPr/>
              <p14:nvPr/>
            </p14:nvContentPartPr>
            <p14:xfrm>
              <a:off x="439497" y="2460878"/>
              <a:ext cx="1454400" cy="93960"/>
            </p14:xfrm>
          </p:contentPart>
        </mc:Choice>
        <mc:Fallback xmlns="">
          <p:pic>
            <p:nvPicPr>
              <p:cNvPr id="13" name="Ink 12">
                <a:extLst>
                  <a:ext uri="{FF2B5EF4-FFF2-40B4-BE49-F238E27FC236}">
                    <a16:creationId xmlns:a16="http://schemas.microsoft.com/office/drawing/2014/main" id="{C247D014-0380-4712-8703-F5FA9E77D00C}"/>
                  </a:ext>
                </a:extLst>
              </p:cNvPr>
              <p:cNvPicPr/>
              <p:nvPr/>
            </p:nvPicPr>
            <p:blipFill>
              <a:blip r:embed="rId5"/>
              <a:stretch>
                <a:fillRect/>
              </a:stretch>
            </p:blipFill>
            <p:spPr>
              <a:xfrm>
                <a:off x="435177" y="2456558"/>
                <a:ext cx="1463040" cy="102600"/>
              </a:xfrm>
              <a:prstGeom prst="rect">
                <a:avLst/>
              </a:prstGeom>
            </p:spPr>
          </p:pic>
        </mc:Fallback>
      </mc:AlternateContent>
      <p:grpSp>
        <p:nvGrpSpPr>
          <p:cNvPr id="31" name="Group 30">
            <a:extLst>
              <a:ext uri="{FF2B5EF4-FFF2-40B4-BE49-F238E27FC236}">
                <a16:creationId xmlns:a16="http://schemas.microsoft.com/office/drawing/2014/main" id="{7F6642C1-E870-4010-B0E9-EF747B2FA80D}"/>
              </a:ext>
            </a:extLst>
          </p:cNvPr>
          <p:cNvGrpSpPr/>
          <p:nvPr/>
        </p:nvGrpSpPr>
        <p:grpSpPr>
          <a:xfrm>
            <a:off x="160137" y="2617118"/>
            <a:ext cx="1249920" cy="397440"/>
            <a:chOff x="160137" y="2617118"/>
            <a:chExt cx="1249920" cy="397440"/>
          </a:xfrm>
        </p:grpSpPr>
        <mc:AlternateContent xmlns:mc="http://schemas.openxmlformats.org/markup-compatibility/2006" xmlns:p14="http://schemas.microsoft.com/office/powerpoint/2010/main">
          <mc:Choice Requires="p14">
            <p:contentPart p14:bwMode="auto" r:id="rId6">
              <p14:nvContentPartPr>
                <p14:cNvPr id="15" name="Ink 14">
                  <a:extLst>
                    <a:ext uri="{FF2B5EF4-FFF2-40B4-BE49-F238E27FC236}">
                      <a16:creationId xmlns:a16="http://schemas.microsoft.com/office/drawing/2014/main" id="{ABBCC6A1-7D66-471E-B664-9C36034A1695}"/>
                    </a:ext>
                  </a:extLst>
                </p14:cNvPr>
                <p14:cNvContentPartPr/>
                <p14:nvPr/>
              </p14:nvContentPartPr>
              <p14:xfrm>
                <a:off x="281457" y="2652398"/>
                <a:ext cx="18720" cy="69120"/>
              </p14:xfrm>
            </p:contentPart>
          </mc:Choice>
          <mc:Fallback xmlns="">
            <p:pic>
              <p:nvPicPr>
                <p:cNvPr id="15" name="Ink 14">
                  <a:extLst>
                    <a:ext uri="{FF2B5EF4-FFF2-40B4-BE49-F238E27FC236}">
                      <a16:creationId xmlns:a16="http://schemas.microsoft.com/office/drawing/2014/main" id="{ABBCC6A1-7D66-471E-B664-9C36034A1695}"/>
                    </a:ext>
                  </a:extLst>
                </p:cNvPr>
                <p:cNvPicPr/>
                <p:nvPr/>
              </p:nvPicPr>
              <p:blipFill>
                <a:blip r:embed="rId7"/>
                <a:stretch>
                  <a:fillRect/>
                </a:stretch>
              </p:blipFill>
              <p:spPr>
                <a:xfrm>
                  <a:off x="277137" y="2648078"/>
                  <a:ext cx="27360" cy="7776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6" name="Ink 15">
                  <a:extLst>
                    <a:ext uri="{FF2B5EF4-FFF2-40B4-BE49-F238E27FC236}">
                      <a16:creationId xmlns:a16="http://schemas.microsoft.com/office/drawing/2014/main" id="{E827FF3F-D218-4768-83C1-269622D7BE6B}"/>
                    </a:ext>
                  </a:extLst>
                </p14:cNvPr>
                <p14:cNvContentPartPr/>
                <p14:nvPr/>
              </p14:nvContentPartPr>
              <p14:xfrm>
                <a:off x="160137" y="2777678"/>
                <a:ext cx="195480" cy="9360"/>
              </p14:xfrm>
            </p:contentPart>
          </mc:Choice>
          <mc:Fallback xmlns="">
            <p:pic>
              <p:nvPicPr>
                <p:cNvPr id="16" name="Ink 15">
                  <a:extLst>
                    <a:ext uri="{FF2B5EF4-FFF2-40B4-BE49-F238E27FC236}">
                      <a16:creationId xmlns:a16="http://schemas.microsoft.com/office/drawing/2014/main" id="{E827FF3F-D218-4768-83C1-269622D7BE6B}"/>
                    </a:ext>
                  </a:extLst>
                </p:cNvPr>
                <p:cNvPicPr/>
                <p:nvPr/>
              </p:nvPicPr>
              <p:blipFill>
                <a:blip r:embed="rId9"/>
                <a:stretch>
                  <a:fillRect/>
                </a:stretch>
              </p:blipFill>
              <p:spPr>
                <a:xfrm>
                  <a:off x="155817" y="2773358"/>
                  <a:ext cx="20412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7" name="Ink 16">
                  <a:extLst>
                    <a:ext uri="{FF2B5EF4-FFF2-40B4-BE49-F238E27FC236}">
                      <a16:creationId xmlns:a16="http://schemas.microsoft.com/office/drawing/2014/main" id="{808A8589-F238-4BBB-833C-8E6EB5A163A0}"/>
                    </a:ext>
                  </a:extLst>
                </p14:cNvPr>
                <p14:cNvContentPartPr/>
                <p14:nvPr/>
              </p14:nvContentPartPr>
              <p14:xfrm>
                <a:off x="184977" y="2847158"/>
                <a:ext cx="104760" cy="98280"/>
              </p14:xfrm>
            </p:contentPart>
          </mc:Choice>
          <mc:Fallback xmlns="">
            <p:pic>
              <p:nvPicPr>
                <p:cNvPr id="17" name="Ink 16">
                  <a:extLst>
                    <a:ext uri="{FF2B5EF4-FFF2-40B4-BE49-F238E27FC236}">
                      <a16:creationId xmlns:a16="http://schemas.microsoft.com/office/drawing/2014/main" id="{808A8589-F238-4BBB-833C-8E6EB5A163A0}"/>
                    </a:ext>
                  </a:extLst>
                </p:cNvPr>
                <p:cNvPicPr/>
                <p:nvPr/>
              </p:nvPicPr>
              <p:blipFill>
                <a:blip r:embed="rId11"/>
                <a:stretch>
                  <a:fillRect/>
                </a:stretch>
              </p:blipFill>
              <p:spPr>
                <a:xfrm>
                  <a:off x="180657" y="2842838"/>
                  <a:ext cx="113400" cy="10692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8" name="Ink 17">
                  <a:extLst>
                    <a:ext uri="{FF2B5EF4-FFF2-40B4-BE49-F238E27FC236}">
                      <a16:creationId xmlns:a16="http://schemas.microsoft.com/office/drawing/2014/main" id="{ADC4EA80-7CFB-4BBE-ABC7-58B9F39C8CE8}"/>
                    </a:ext>
                  </a:extLst>
                </p14:cNvPr>
                <p14:cNvContentPartPr/>
                <p14:nvPr/>
              </p14:nvContentPartPr>
              <p14:xfrm>
                <a:off x="488817" y="2699558"/>
                <a:ext cx="6840" cy="91440"/>
              </p14:xfrm>
            </p:contentPart>
          </mc:Choice>
          <mc:Fallback xmlns="">
            <p:pic>
              <p:nvPicPr>
                <p:cNvPr id="18" name="Ink 17">
                  <a:extLst>
                    <a:ext uri="{FF2B5EF4-FFF2-40B4-BE49-F238E27FC236}">
                      <a16:creationId xmlns:a16="http://schemas.microsoft.com/office/drawing/2014/main" id="{ADC4EA80-7CFB-4BBE-ABC7-58B9F39C8CE8}"/>
                    </a:ext>
                  </a:extLst>
                </p:cNvPr>
                <p:cNvPicPr/>
                <p:nvPr/>
              </p:nvPicPr>
              <p:blipFill>
                <a:blip r:embed="rId13"/>
                <a:stretch>
                  <a:fillRect/>
                </a:stretch>
              </p:blipFill>
              <p:spPr>
                <a:xfrm>
                  <a:off x="484497" y="2695238"/>
                  <a:ext cx="15480" cy="10008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9" name="Ink 18">
                  <a:extLst>
                    <a:ext uri="{FF2B5EF4-FFF2-40B4-BE49-F238E27FC236}">
                      <a16:creationId xmlns:a16="http://schemas.microsoft.com/office/drawing/2014/main" id="{A80AF556-75FB-4007-89BC-179550900F1D}"/>
                    </a:ext>
                  </a:extLst>
                </p14:cNvPr>
                <p14:cNvContentPartPr/>
                <p14:nvPr/>
              </p14:nvContentPartPr>
              <p14:xfrm>
                <a:off x="425817" y="2766518"/>
                <a:ext cx="76320" cy="4320"/>
              </p14:xfrm>
            </p:contentPart>
          </mc:Choice>
          <mc:Fallback xmlns="">
            <p:pic>
              <p:nvPicPr>
                <p:cNvPr id="19" name="Ink 18">
                  <a:extLst>
                    <a:ext uri="{FF2B5EF4-FFF2-40B4-BE49-F238E27FC236}">
                      <a16:creationId xmlns:a16="http://schemas.microsoft.com/office/drawing/2014/main" id="{A80AF556-75FB-4007-89BC-179550900F1D}"/>
                    </a:ext>
                  </a:extLst>
                </p:cNvPr>
                <p:cNvPicPr/>
                <p:nvPr/>
              </p:nvPicPr>
              <p:blipFill>
                <a:blip r:embed="rId15"/>
                <a:stretch>
                  <a:fillRect/>
                </a:stretch>
              </p:blipFill>
              <p:spPr>
                <a:xfrm>
                  <a:off x="421497" y="2762198"/>
                  <a:ext cx="84960" cy="1296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20" name="Ink 19">
                  <a:extLst>
                    <a:ext uri="{FF2B5EF4-FFF2-40B4-BE49-F238E27FC236}">
                      <a16:creationId xmlns:a16="http://schemas.microsoft.com/office/drawing/2014/main" id="{6E0D1770-2FF1-49B0-B884-EB534999F7B1}"/>
                    </a:ext>
                  </a:extLst>
                </p14:cNvPr>
                <p14:cNvContentPartPr/>
                <p14:nvPr/>
              </p14:nvContentPartPr>
              <p14:xfrm>
                <a:off x="677457" y="2637998"/>
                <a:ext cx="15480" cy="139320"/>
              </p14:xfrm>
            </p:contentPart>
          </mc:Choice>
          <mc:Fallback xmlns="">
            <p:pic>
              <p:nvPicPr>
                <p:cNvPr id="20" name="Ink 19">
                  <a:extLst>
                    <a:ext uri="{FF2B5EF4-FFF2-40B4-BE49-F238E27FC236}">
                      <a16:creationId xmlns:a16="http://schemas.microsoft.com/office/drawing/2014/main" id="{6E0D1770-2FF1-49B0-B884-EB534999F7B1}"/>
                    </a:ext>
                  </a:extLst>
                </p:cNvPr>
                <p:cNvPicPr/>
                <p:nvPr/>
              </p:nvPicPr>
              <p:blipFill>
                <a:blip r:embed="rId17"/>
                <a:stretch>
                  <a:fillRect/>
                </a:stretch>
              </p:blipFill>
              <p:spPr>
                <a:xfrm>
                  <a:off x="673137" y="2633678"/>
                  <a:ext cx="24120" cy="14796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21" name="Ink 20">
                  <a:extLst>
                    <a:ext uri="{FF2B5EF4-FFF2-40B4-BE49-F238E27FC236}">
                      <a16:creationId xmlns:a16="http://schemas.microsoft.com/office/drawing/2014/main" id="{701DEE8B-F426-46BC-A8D6-2F140690654E}"/>
                    </a:ext>
                  </a:extLst>
                </p14:cNvPr>
                <p14:cNvContentPartPr/>
                <p14:nvPr/>
              </p14:nvContentPartPr>
              <p14:xfrm>
                <a:off x="586017" y="2798558"/>
                <a:ext cx="279720" cy="14400"/>
              </p14:xfrm>
            </p:contentPart>
          </mc:Choice>
          <mc:Fallback xmlns="">
            <p:pic>
              <p:nvPicPr>
                <p:cNvPr id="21" name="Ink 20">
                  <a:extLst>
                    <a:ext uri="{FF2B5EF4-FFF2-40B4-BE49-F238E27FC236}">
                      <a16:creationId xmlns:a16="http://schemas.microsoft.com/office/drawing/2014/main" id="{701DEE8B-F426-46BC-A8D6-2F140690654E}"/>
                    </a:ext>
                  </a:extLst>
                </p:cNvPr>
                <p:cNvPicPr/>
                <p:nvPr/>
              </p:nvPicPr>
              <p:blipFill>
                <a:blip r:embed="rId19"/>
                <a:stretch>
                  <a:fillRect/>
                </a:stretch>
              </p:blipFill>
              <p:spPr>
                <a:xfrm>
                  <a:off x="581697" y="2794238"/>
                  <a:ext cx="288360" cy="2304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22" name="Ink 21">
                  <a:extLst>
                    <a:ext uri="{FF2B5EF4-FFF2-40B4-BE49-F238E27FC236}">
                      <a16:creationId xmlns:a16="http://schemas.microsoft.com/office/drawing/2014/main" id="{FAE1AE06-5FE8-4148-8B52-F004B4A5D083}"/>
                    </a:ext>
                  </a:extLst>
                </p14:cNvPr>
                <p14:cNvContentPartPr/>
                <p14:nvPr/>
              </p14:nvContentPartPr>
              <p14:xfrm>
                <a:off x="645417" y="2882438"/>
                <a:ext cx="142920" cy="64080"/>
              </p14:xfrm>
            </p:contentPart>
          </mc:Choice>
          <mc:Fallback xmlns="">
            <p:pic>
              <p:nvPicPr>
                <p:cNvPr id="22" name="Ink 21">
                  <a:extLst>
                    <a:ext uri="{FF2B5EF4-FFF2-40B4-BE49-F238E27FC236}">
                      <a16:creationId xmlns:a16="http://schemas.microsoft.com/office/drawing/2014/main" id="{FAE1AE06-5FE8-4148-8B52-F004B4A5D083}"/>
                    </a:ext>
                  </a:extLst>
                </p:cNvPr>
                <p:cNvPicPr/>
                <p:nvPr/>
              </p:nvPicPr>
              <p:blipFill>
                <a:blip r:embed="rId21"/>
                <a:stretch>
                  <a:fillRect/>
                </a:stretch>
              </p:blipFill>
              <p:spPr>
                <a:xfrm>
                  <a:off x="641097" y="2878118"/>
                  <a:ext cx="151560" cy="7272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23" name="Ink 22">
                  <a:extLst>
                    <a:ext uri="{FF2B5EF4-FFF2-40B4-BE49-F238E27FC236}">
                      <a16:creationId xmlns:a16="http://schemas.microsoft.com/office/drawing/2014/main" id="{EB4BAC1B-4F7A-4D56-A8AE-52BAA53BED62}"/>
                    </a:ext>
                  </a:extLst>
                </p14:cNvPr>
                <p14:cNvContentPartPr/>
                <p14:nvPr/>
              </p14:nvContentPartPr>
              <p14:xfrm>
                <a:off x="660177" y="2889278"/>
                <a:ext cx="37800" cy="125280"/>
              </p14:xfrm>
            </p:contentPart>
          </mc:Choice>
          <mc:Fallback xmlns="">
            <p:pic>
              <p:nvPicPr>
                <p:cNvPr id="23" name="Ink 22">
                  <a:extLst>
                    <a:ext uri="{FF2B5EF4-FFF2-40B4-BE49-F238E27FC236}">
                      <a16:creationId xmlns:a16="http://schemas.microsoft.com/office/drawing/2014/main" id="{EB4BAC1B-4F7A-4D56-A8AE-52BAA53BED62}"/>
                    </a:ext>
                  </a:extLst>
                </p:cNvPr>
                <p:cNvPicPr/>
                <p:nvPr/>
              </p:nvPicPr>
              <p:blipFill>
                <a:blip r:embed="rId23"/>
                <a:stretch>
                  <a:fillRect/>
                </a:stretch>
              </p:blipFill>
              <p:spPr>
                <a:xfrm>
                  <a:off x="655857" y="2884958"/>
                  <a:ext cx="46440" cy="13392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26" name="Ink 25">
                  <a:extLst>
                    <a:ext uri="{FF2B5EF4-FFF2-40B4-BE49-F238E27FC236}">
                      <a16:creationId xmlns:a16="http://schemas.microsoft.com/office/drawing/2014/main" id="{B66B6A31-3D97-4A0C-A2EB-9697A5137218}"/>
                    </a:ext>
                  </a:extLst>
                </p14:cNvPr>
                <p14:cNvContentPartPr/>
                <p14:nvPr/>
              </p14:nvContentPartPr>
              <p14:xfrm>
                <a:off x="970497" y="2714678"/>
                <a:ext cx="6840" cy="76680"/>
              </p14:xfrm>
            </p:contentPart>
          </mc:Choice>
          <mc:Fallback xmlns="">
            <p:pic>
              <p:nvPicPr>
                <p:cNvPr id="26" name="Ink 25">
                  <a:extLst>
                    <a:ext uri="{FF2B5EF4-FFF2-40B4-BE49-F238E27FC236}">
                      <a16:creationId xmlns:a16="http://schemas.microsoft.com/office/drawing/2014/main" id="{B66B6A31-3D97-4A0C-A2EB-9697A5137218}"/>
                    </a:ext>
                  </a:extLst>
                </p:cNvPr>
                <p:cNvPicPr/>
                <p:nvPr/>
              </p:nvPicPr>
              <p:blipFill>
                <a:blip r:embed="rId25"/>
                <a:stretch>
                  <a:fillRect/>
                </a:stretch>
              </p:blipFill>
              <p:spPr>
                <a:xfrm>
                  <a:off x="966177" y="2710358"/>
                  <a:ext cx="15480" cy="8532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27" name="Ink 26">
                  <a:extLst>
                    <a:ext uri="{FF2B5EF4-FFF2-40B4-BE49-F238E27FC236}">
                      <a16:creationId xmlns:a16="http://schemas.microsoft.com/office/drawing/2014/main" id="{19ED34EB-BF86-44FD-BC89-488EA6E66ABF}"/>
                    </a:ext>
                  </a:extLst>
                </p14:cNvPr>
                <p14:cNvContentPartPr/>
                <p14:nvPr/>
              </p14:nvContentPartPr>
              <p14:xfrm>
                <a:off x="948897" y="2749598"/>
                <a:ext cx="40680" cy="7560"/>
              </p14:xfrm>
            </p:contentPart>
          </mc:Choice>
          <mc:Fallback xmlns="">
            <p:pic>
              <p:nvPicPr>
                <p:cNvPr id="27" name="Ink 26">
                  <a:extLst>
                    <a:ext uri="{FF2B5EF4-FFF2-40B4-BE49-F238E27FC236}">
                      <a16:creationId xmlns:a16="http://schemas.microsoft.com/office/drawing/2014/main" id="{19ED34EB-BF86-44FD-BC89-488EA6E66ABF}"/>
                    </a:ext>
                  </a:extLst>
                </p:cNvPr>
                <p:cNvPicPr/>
                <p:nvPr/>
              </p:nvPicPr>
              <p:blipFill>
                <a:blip r:embed="rId27"/>
                <a:stretch>
                  <a:fillRect/>
                </a:stretch>
              </p:blipFill>
              <p:spPr>
                <a:xfrm>
                  <a:off x="944577" y="2745278"/>
                  <a:ext cx="49320" cy="1620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29" name="Ink 28">
                  <a:extLst>
                    <a:ext uri="{FF2B5EF4-FFF2-40B4-BE49-F238E27FC236}">
                      <a16:creationId xmlns:a16="http://schemas.microsoft.com/office/drawing/2014/main" id="{958D456E-D080-40F6-AAF6-58B13AC96704}"/>
                    </a:ext>
                  </a:extLst>
                </p14:cNvPr>
                <p14:cNvContentPartPr/>
                <p14:nvPr/>
              </p14:nvContentPartPr>
              <p14:xfrm>
                <a:off x="1243377" y="2617118"/>
                <a:ext cx="20160" cy="83160"/>
              </p14:xfrm>
            </p:contentPart>
          </mc:Choice>
          <mc:Fallback xmlns="">
            <p:pic>
              <p:nvPicPr>
                <p:cNvPr id="29" name="Ink 28">
                  <a:extLst>
                    <a:ext uri="{FF2B5EF4-FFF2-40B4-BE49-F238E27FC236}">
                      <a16:creationId xmlns:a16="http://schemas.microsoft.com/office/drawing/2014/main" id="{958D456E-D080-40F6-AAF6-58B13AC96704}"/>
                    </a:ext>
                  </a:extLst>
                </p:cNvPr>
                <p:cNvPicPr/>
                <p:nvPr/>
              </p:nvPicPr>
              <p:blipFill>
                <a:blip r:embed="rId29"/>
                <a:stretch>
                  <a:fillRect/>
                </a:stretch>
              </p:blipFill>
              <p:spPr>
                <a:xfrm>
                  <a:off x="1239057" y="2612798"/>
                  <a:ext cx="28800" cy="9180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30" name="Ink 29">
                  <a:extLst>
                    <a:ext uri="{FF2B5EF4-FFF2-40B4-BE49-F238E27FC236}">
                      <a16:creationId xmlns:a16="http://schemas.microsoft.com/office/drawing/2014/main" id="{7F3C5EC0-6AAC-4326-8F00-D53A917C07D7}"/>
                    </a:ext>
                  </a:extLst>
                </p14:cNvPr>
                <p14:cNvContentPartPr/>
                <p14:nvPr/>
              </p14:nvContentPartPr>
              <p14:xfrm>
                <a:off x="1130337" y="2748518"/>
                <a:ext cx="279720" cy="8640"/>
              </p14:xfrm>
            </p:contentPart>
          </mc:Choice>
          <mc:Fallback xmlns="">
            <p:pic>
              <p:nvPicPr>
                <p:cNvPr id="30" name="Ink 29">
                  <a:extLst>
                    <a:ext uri="{FF2B5EF4-FFF2-40B4-BE49-F238E27FC236}">
                      <a16:creationId xmlns:a16="http://schemas.microsoft.com/office/drawing/2014/main" id="{7F3C5EC0-6AAC-4326-8F00-D53A917C07D7}"/>
                    </a:ext>
                  </a:extLst>
                </p:cNvPr>
                <p:cNvPicPr/>
                <p:nvPr/>
              </p:nvPicPr>
              <p:blipFill>
                <a:blip r:embed="rId31"/>
                <a:stretch>
                  <a:fillRect/>
                </a:stretch>
              </p:blipFill>
              <p:spPr>
                <a:xfrm>
                  <a:off x="1126017" y="2744198"/>
                  <a:ext cx="288360" cy="1728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32">
            <p14:nvContentPartPr>
              <p14:cNvPr id="51" name="Ink 50">
                <a:extLst>
                  <a:ext uri="{FF2B5EF4-FFF2-40B4-BE49-F238E27FC236}">
                    <a16:creationId xmlns:a16="http://schemas.microsoft.com/office/drawing/2014/main" id="{147E4D44-176A-4371-91BB-08E459C0414E}"/>
                  </a:ext>
                </a:extLst>
              </p14:cNvPr>
              <p14:cNvContentPartPr/>
              <p14:nvPr/>
            </p14:nvContentPartPr>
            <p14:xfrm>
              <a:off x="1180737" y="2869838"/>
              <a:ext cx="77040" cy="117360"/>
            </p14:xfrm>
          </p:contentPart>
        </mc:Choice>
        <mc:Fallback xmlns="">
          <p:pic>
            <p:nvPicPr>
              <p:cNvPr id="51" name="Ink 50">
                <a:extLst>
                  <a:ext uri="{FF2B5EF4-FFF2-40B4-BE49-F238E27FC236}">
                    <a16:creationId xmlns:a16="http://schemas.microsoft.com/office/drawing/2014/main" id="{147E4D44-176A-4371-91BB-08E459C0414E}"/>
                  </a:ext>
                </a:extLst>
              </p:cNvPr>
              <p:cNvPicPr/>
              <p:nvPr/>
            </p:nvPicPr>
            <p:blipFill>
              <a:blip r:embed="rId33"/>
              <a:stretch>
                <a:fillRect/>
              </a:stretch>
            </p:blipFill>
            <p:spPr>
              <a:xfrm>
                <a:off x="1176417" y="2865518"/>
                <a:ext cx="85680" cy="126000"/>
              </a:xfrm>
              <a:prstGeom prst="rect">
                <a:avLst/>
              </a:prstGeom>
            </p:spPr>
          </p:pic>
        </mc:Fallback>
      </mc:AlternateContent>
      <p:grpSp>
        <p:nvGrpSpPr>
          <p:cNvPr id="60" name="Group 59">
            <a:extLst>
              <a:ext uri="{FF2B5EF4-FFF2-40B4-BE49-F238E27FC236}">
                <a16:creationId xmlns:a16="http://schemas.microsoft.com/office/drawing/2014/main" id="{5500A8B3-627B-44F8-A466-699BAAE65DAB}"/>
              </a:ext>
            </a:extLst>
          </p:cNvPr>
          <p:cNvGrpSpPr/>
          <p:nvPr/>
        </p:nvGrpSpPr>
        <p:grpSpPr>
          <a:xfrm>
            <a:off x="1486737" y="2589398"/>
            <a:ext cx="495720" cy="335880"/>
            <a:chOff x="1486737" y="2589398"/>
            <a:chExt cx="495720" cy="335880"/>
          </a:xfrm>
        </p:grpSpPr>
        <mc:AlternateContent xmlns:mc="http://schemas.openxmlformats.org/markup-compatibility/2006" xmlns:p14="http://schemas.microsoft.com/office/powerpoint/2010/main">
          <mc:Choice Requires="p14">
            <p:contentPart p14:bwMode="auto" r:id="rId34">
              <p14:nvContentPartPr>
                <p14:cNvPr id="52" name="Ink 51">
                  <a:extLst>
                    <a:ext uri="{FF2B5EF4-FFF2-40B4-BE49-F238E27FC236}">
                      <a16:creationId xmlns:a16="http://schemas.microsoft.com/office/drawing/2014/main" id="{8FA09571-9A51-4CE5-873F-9A52DAFC1104}"/>
                    </a:ext>
                  </a:extLst>
                </p14:cNvPr>
                <p14:cNvContentPartPr/>
                <p14:nvPr/>
              </p14:nvContentPartPr>
              <p14:xfrm>
                <a:off x="1567017" y="2678678"/>
                <a:ext cx="3240" cy="86040"/>
              </p14:xfrm>
            </p:contentPart>
          </mc:Choice>
          <mc:Fallback xmlns="">
            <p:pic>
              <p:nvPicPr>
                <p:cNvPr id="52" name="Ink 51">
                  <a:extLst>
                    <a:ext uri="{FF2B5EF4-FFF2-40B4-BE49-F238E27FC236}">
                      <a16:creationId xmlns:a16="http://schemas.microsoft.com/office/drawing/2014/main" id="{8FA09571-9A51-4CE5-873F-9A52DAFC1104}"/>
                    </a:ext>
                  </a:extLst>
                </p:cNvPr>
                <p:cNvPicPr/>
                <p:nvPr/>
              </p:nvPicPr>
              <p:blipFill>
                <a:blip r:embed="rId35"/>
                <a:stretch>
                  <a:fillRect/>
                </a:stretch>
              </p:blipFill>
              <p:spPr>
                <a:xfrm>
                  <a:off x="1562697" y="2674358"/>
                  <a:ext cx="11880" cy="9468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53" name="Ink 52">
                  <a:extLst>
                    <a:ext uri="{FF2B5EF4-FFF2-40B4-BE49-F238E27FC236}">
                      <a16:creationId xmlns:a16="http://schemas.microsoft.com/office/drawing/2014/main" id="{1A8E33E0-5E67-451F-AF01-FFF4767A37F0}"/>
                    </a:ext>
                  </a:extLst>
                </p14:cNvPr>
                <p14:cNvContentPartPr/>
                <p14:nvPr/>
              </p14:nvContentPartPr>
              <p14:xfrm>
                <a:off x="1486737" y="2714678"/>
                <a:ext cx="123840" cy="360"/>
              </p14:xfrm>
            </p:contentPart>
          </mc:Choice>
          <mc:Fallback xmlns="">
            <p:pic>
              <p:nvPicPr>
                <p:cNvPr id="53" name="Ink 52">
                  <a:extLst>
                    <a:ext uri="{FF2B5EF4-FFF2-40B4-BE49-F238E27FC236}">
                      <a16:creationId xmlns:a16="http://schemas.microsoft.com/office/drawing/2014/main" id="{1A8E33E0-5E67-451F-AF01-FFF4767A37F0}"/>
                    </a:ext>
                  </a:extLst>
                </p:cNvPr>
                <p:cNvPicPr/>
                <p:nvPr/>
              </p:nvPicPr>
              <p:blipFill>
                <a:blip r:embed="rId37"/>
                <a:stretch>
                  <a:fillRect/>
                </a:stretch>
              </p:blipFill>
              <p:spPr>
                <a:xfrm>
                  <a:off x="1482417" y="2710358"/>
                  <a:ext cx="13248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38">
              <p14:nvContentPartPr>
                <p14:cNvPr id="55" name="Ink 54">
                  <a:extLst>
                    <a:ext uri="{FF2B5EF4-FFF2-40B4-BE49-F238E27FC236}">
                      <a16:creationId xmlns:a16="http://schemas.microsoft.com/office/drawing/2014/main" id="{7977434D-220A-4EFB-BC3F-55598BA839DF}"/>
                    </a:ext>
                  </a:extLst>
                </p14:cNvPr>
                <p14:cNvContentPartPr/>
                <p14:nvPr/>
              </p14:nvContentPartPr>
              <p14:xfrm>
                <a:off x="1814697" y="2589398"/>
                <a:ext cx="21240" cy="118080"/>
              </p14:xfrm>
            </p:contentPart>
          </mc:Choice>
          <mc:Fallback xmlns="">
            <p:pic>
              <p:nvPicPr>
                <p:cNvPr id="55" name="Ink 54">
                  <a:extLst>
                    <a:ext uri="{FF2B5EF4-FFF2-40B4-BE49-F238E27FC236}">
                      <a16:creationId xmlns:a16="http://schemas.microsoft.com/office/drawing/2014/main" id="{7977434D-220A-4EFB-BC3F-55598BA839DF}"/>
                    </a:ext>
                  </a:extLst>
                </p:cNvPr>
                <p:cNvPicPr/>
                <p:nvPr/>
              </p:nvPicPr>
              <p:blipFill>
                <a:blip r:embed="rId39"/>
                <a:stretch>
                  <a:fillRect/>
                </a:stretch>
              </p:blipFill>
              <p:spPr>
                <a:xfrm>
                  <a:off x="1810377" y="2585078"/>
                  <a:ext cx="29880" cy="126720"/>
                </a:xfrm>
                <a:prstGeom prst="rect">
                  <a:avLst/>
                </a:prstGeom>
              </p:spPr>
            </p:pic>
          </mc:Fallback>
        </mc:AlternateContent>
        <mc:AlternateContent xmlns:mc="http://schemas.openxmlformats.org/markup-compatibility/2006" xmlns:p14="http://schemas.microsoft.com/office/powerpoint/2010/main">
          <mc:Choice Requires="p14">
            <p:contentPart p14:bwMode="auto" r:id="rId40">
              <p14:nvContentPartPr>
                <p14:cNvPr id="56" name="Ink 55">
                  <a:extLst>
                    <a:ext uri="{FF2B5EF4-FFF2-40B4-BE49-F238E27FC236}">
                      <a16:creationId xmlns:a16="http://schemas.microsoft.com/office/drawing/2014/main" id="{34C9B2D5-82D6-4C61-AA2F-9DB4139C99F2}"/>
                    </a:ext>
                  </a:extLst>
                </p14:cNvPr>
                <p14:cNvContentPartPr/>
                <p14:nvPr/>
              </p14:nvContentPartPr>
              <p14:xfrm>
                <a:off x="1723617" y="2721878"/>
                <a:ext cx="258840" cy="28080"/>
              </p14:xfrm>
            </p:contentPart>
          </mc:Choice>
          <mc:Fallback xmlns="">
            <p:pic>
              <p:nvPicPr>
                <p:cNvPr id="56" name="Ink 55">
                  <a:extLst>
                    <a:ext uri="{FF2B5EF4-FFF2-40B4-BE49-F238E27FC236}">
                      <a16:creationId xmlns:a16="http://schemas.microsoft.com/office/drawing/2014/main" id="{34C9B2D5-82D6-4C61-AA2F-9DB4139C99F2}"/>
                    </a:ext>
                  </a:extLst>
                </p:cNvPr>
                <p:cNvPicPr/>
                <p:nvPr/>
              </p:nvPicPr>
              <p:blipFill>
                <a:blip r:embed="rId41"/>
                <a:stretch>
                  <a:fillRect/>
                </a:stretch>
              </p:blipFill>
              <p:spPr>
                <a:xfrm>
                  <a:off x="1719297" y="2717558"/>
                  <a:ext cx="267480" cy="36720"/>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58" name="Ink 57">
                  <a:extLst>
                    <a:ext uri="{FF2B5EF4-FFF2-40B4-BE49-F238E27FC236}">
                      <a16:creationId xmlns:a16="http://schemas.microsoft.com/office/drawing/2014/main" id="{CA821B2D-06F0-48D0-83A3-75445FC3F964}"/>
                    </a:ext>
                  </a:extLst>
                </p14:cNvPr>
                <p14:cNvContentPartPr/>
                <p14:nvPr/>
              </p14:nvContentPartPr>
              <p14:xfrm>
                <a:off x="1706697" y="2828078"/>
                <a:ext cx="117360" cy="97200"/>
              </p14:xfrm>
            </p:contentPart>
          </mc:Choice>
          <mc:Fallback xmlns="">
            <p:pic>
              <p:nvPicPr>
                <p:cNvPr id="58" name="Ink 57">
                  <a:extLst>
                    <a:ext uri="{FF2B5EF4-FFF2-40B4-BE49-F238E27FC236}">
                      <a16:creationId xmlns:a16="http://schemas.microsoft.com/office/drawing/2014/main" id="{CA821B2D-06F0-48D0-83A3-75445FC3F964}"/>
                    </a:ext>
                  </a:extLst>
                </p:cNvPr>
                <p:cNvPicPr/>
                <p:nvPr/>
              </p:nvPicPr>
              <p:blipFill>
                <a:blip r:embed="rId43"/>
                <a:stretch>
                  <a:fillRect/>
                </a:stretch>
              </p:blipFill>
              <p:spPr>
                <a:xfrm>
                  <a:off x="1702377" y="2823758"/>
                  <a:ext cx="126000" cy="10584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59" name="Ink 58">
                  <a:extLst>
                    <a:ext uri="{FF2B5EF4-FFF2-40B4-BE49-F238E27FC236}">
                      <a16:creationId xmlns:a16="http://schemas.microsoft.com/office/drawing/2014/main" id="{47C56DC8-4860-43BE-9987-8909F6894683}"/>
                    </a:ext>
                  </a:extLst>
                </p14:cNvPr>
                <p14:cNvContentPartPr/>
                <p14:nvPr/>
              </p14:nvContentPartPr>
              <p14:xfrm>
                <a:off x="1891377" y="2841398"/>
                <a:ext cx="71280" cy="77040"/>
              </p14:xfrm>
            </p:contentPart>
          </mc:Choice>
          <mc:Fallback xmlns="">
            <p:pic>
              <p:nvPicPr>
                <p:cNvPr id="59" name="Ink 58">
                  <a:extLst>
                    <a:ext uri="{FF2B5EF4-FFF2-40B4-BE49-F238E27FC236}">
                      <a16:creationId xmlns:a16="http://schemas.microsoft.com/office/drawing/2014/main" id="{47C56DC8-4860-43BE-9987-8909F6894683}"/>
                    </a:ext>
                  </a:extLst>
                </p:cNvPr>
                <p:cNvPicPr/>
                <p:nvPr/>
              </p:nvPicPr>
              <p:blipFill>
                <a:blip r:embed="rId45"/>
                <a:stretch>
                  <a:fillRect/>
                </a:stretch>
              </p:blipFill>
              <p:spPr>
                <a:xfrm>
                  <a:off x="1887057" y="2837078"/>
                  <a:ext cx="79920" cy="85680"/>
                </a:xfrm>
                <a:prstGeom prst="rect">
                  <a:avLst/>
                </a:prstGeom>
              </p:spPr>
            </p:pic>
          </mc:Fallback>
        </mc:AlternateContent>
      </p:grpSp>
      <p:grpSp>
        <p:nvGrpSpPr>
          <p:cNvPr id="65" name="Group 64">
            <a:extLst>
              <a:ext uri="{FF2B5EF4-FFF2-40B4-BE49-F238E27FC236}">
                <a16:creationId xmlns:a16="http://schemas.microsoft.com/office/drawing/2014/main" id="{B21D57C7-8482-4DD6-AF96-719B98630E9F}"/>
              </a:ext>
            </a:extLst>
          </p:cNvPr>
          <p:cNvGrpSpPr/>
          <p:nvPr/>
        </p:nvGrpSpPr>
        <p:grpSpPr>
          <a:xfrm>
            <a:off x="1103697" y="2261438"/>
            <a:ext cx="156600" cy="132480"/>
            <a:chOff x="1103697" y="2261438"/>
            <a:chExt cx="156600" cy="132480"/>
          </a:xfrm>
        </p:grpSpPr>
        <mc:AlternateContent xmlns:mc="http://schemas.openxmlformats.org/markup-compatibility/2006" xmlns:p14="http://schemas.microsoft.com/office/powerpoint/2010/main">
          <mc:Choice Requires="p14">
            <p:contentPart p14:bwMode="auto" r:id="rId46">
              <p14:nvContentPartPr>
                <p14:cNvPr id="61" name="Ink 60">
                  <a:extLst>
                    <a:ext uri="{FF2B5EF4-FFF2-40B4-BE49-F238E27FC236}">
                      <a16:creationId xmlns:a16="http://schemas.microsoft.com/office/drawing/2014/main" id="{480E3E99-EF3A-4C88-93F3-6D77EB41F963}"/>
                    </a:ext>
                  </a:extLst>
                </p14:cNvPr>
                <p14:cNvContentPartPr/>
                <p14:nvPr/>
              </p14:nvContentPartPr>
              <p14:xfrm>
                <a:off x="1103697" y="2261438"/>
                <a:ext cx="156600" cy="92520"/>
              </p14:xfrm>
            </p:contentPart>
          </mc:Choice>
          <mc:Fallback xmlns="">
            <p:pic>
              <p:nvPicPr>
                <p:cNvPr id="61" name="Ink 60">
                  <a:extLst>
                    <a:ext uri="{FF2B5EF4-FFF2-40B4-BE49-F238E27FC236}">
                      <a16:creationId xmlns:a16="http://schemas.microsoft.com/office/drawing/2014/main" id="{480E3E99-EF3A-4C88-93F3-6D77EB41F963}"/>
                    </a:ext>
                  </a:extLst>
                </p:cNvPr>
                <p:cNvPicPr/>
                <p:nvPr/>
              </p:nvPicPr>
              <p:blipFill>
                <a:blip r:embed="rId47"/>
                <a:stretch>
                  <a:fillRect/>
                </a:stretch>
              </p:blipFill>
              <p:spPr>
                <a:xfrm>
                  <a:off x="1099377" y="2257118"/>
                  <a:ext cx="165240" cy="101160"/>
                </a:xfrm>
                <a:prstGeom prst="rect">
                  <a:avLst/>
                </a:prstGeom>
              </p:spPr>
            </p:pic>
          </mc:Fallback>
        </mc:AlternateContent>
        <mc:AlternateContent xmlns:mc="http://schemas.openxmlformats.org/markup-compatibility/2006" xmlns:p14="http://schemas.microsoft.com/office/powerpoint/2010/main">
          <mc:Choice Requires="p14">
            <p:contentPart p14:bwMode="auto" r:id="rId48">
              <p14:nvContentPartPr>
                <p14:cNvPr id="62" name="Ink 61">
                  <a:extLst>
                    <a:ext uri="{FF2B5EF4-FFF2-40B4-BE49-F238E27FC236}">
                      <a16:creationId xmlns:a16="http://schemas.microsoft.com/office/drawing/2014/main" id="{87064BBA-9E69-46B3-A4EE-110E2D5BCC62}"/>
                    </a:ext>
                  </a:extLst>
                </p14:cNvPr>
                <p14:cNvContentPartPr/>
                <p14:nvPr/>
              </p14:nvContentPartPr>
              <p14:xfrm>
                <a:off x="1160937" y="2261438"/>
                <a:ext cx="11880" cy="100080"/>
              </p14:xfrm>
            </p:contentPart>
          </mc:Choice>
          <mc:Fallback xmlns="">
            <p:pic>
              <p:nvPicPr>
                <p:cNvPr id="62" name="Ink 61">
                  <a:extLst>
                    <a:ext uri="{FF2B5EF4-FFF2-40B4-BE49-F238E27FC236}">
                      <a16:creationId xmlns:a16="http://schemas.microsoft.com/office/drawing/2014/main" id="{87064BBA-9E69-46B3-A4EE-110E2D5BCC62}"/>
                    </a:ext>
                  </a:extLst>
                </p:cNvPr>
                <p:cNvPicPr/>
                <p:nvPr/>
              </p:nvPicPr>
              <p:blipFill>
                <a:blip r:embed="rId49"/>
                <a:stretch>
                  <a:fillRect/>
                </a:stretch>
              </p:blipFill>
              <p:spPr>
                <a:xfrm>
                  <a:off x="1156617" y="2257118"/>
                  <a:ext cx="20520" cy="108720"/>
                </a:xfrm>
                <a:prstGeom prst="rect">
                  <a:avLst/>
                </a:prstGeom>
              </p:spPr>
            </p:pic>
          </mc:Fallback>
        </mc:AlternateContent>
        <mc:AlternateContent xmlns:mc="http://schemas.openxmlformats.org/markup-compatibility/2006" xmlns:p14="http://schemas.microsoft.com/office/powerpoint/2010/main">
          <mc:Choice Requires="p14">
            <p:contentPart p14:bwMode="auto" r:id="rId50">
              <p14:nvContentPartPr>
                <p14:cNvPr id="64" name="Ink 63">
                  <a:extLst>
                    <a:ext uri="{FF2B5EF4-FFF2-40B4-BE49-F238E27FC236}">
                      <a16:creationId xmlns:a16="http://schemas.microsoft.com/office/drawing/2014/main" id="{043A83EE-DB33-4020-B958-C79356266DCB}"/>
                    </a:ext>
                  </a:extLst>
                </p14:cNvPr>
                <p14:cNvContentPartPr/>
                <p14:nvPr/>
              </p14:nvContentPartPr>
              <p14:xfrm>
                <a:off x="1165257" y="2344958"/>
                <a:ext cx="6120" cy="48960"/>
              </p14:xfrm>
            </p:contentPart>
          </mc:Choice>
          <mc:Fallback xmlns="">
            <p:pic>
              <p:nvPicPr>
                <p:cNvPr id="64" name="Ink 63">
                  <a:extLst>
                    <a:ext uri="{FF2B5EF4-FFF2-40B4-BE49-F238E27FC236}">
                      <a16:creationId xmlns:a16="http://schemas.microsoft.com/office/drawing/2014/main" id="{043A83EE-DB33-4020-B958-C79356266DCB}"/>
                    </a:ext>
                  </a:extLst>
                </p:cNvPr>
                <p:cNvPicPr/>
                <p:nvPr/>
              </p:nvPicPr>
              <p:blipFill>
                <a:blip r:embed="rId51"/>
                <a:stretch>
                  <a:fillRect/>
                </a:stretch>
              </p:blipFill>
              <p:spPr>
                <a:xfrm>
                  <a:off x="1160937" y="2340638"/>
                  <a:ext cx="14760" cy="57600"/>
                </a:xfrm>
                <a:prstGeom prst="rect">
                  <a:avLst/>
                </a:prstGeom>
              </p:spPr>
            </p:pic>
          </mc:Fallback>
        </mc:AlternateContent>
      </p:grpSp>
      <p:grpSp>
        <p:nvGrpSpPr>
          <p:cNvPr id="69" name="Group 68">
            <a:extLst>
              <a:ext uri="{FF2B5EF4-FFF2-40B4-BE49-F238E27FC236}">
                <a16:creationId xmlns:a16="http://schemas.microsoft.com/office/drawing/2014/main" id="{1EB69986-8F72-4419-98F3-B23336B89302}"/>
              </a:ext>
            </a:extLst>
          </p:cNvPr>
          <p:cNvGrpSpPr/>
          <p:nvPr/>
        </p:nvGrpSpPr>
        <p:grpSpPr>
          <a:xfrm>
            <a:off x="2324097" y="2421638"/>
            <a:ext cx="92520" cy="70200"/>
            <a:chOff x="2324097" y="2421638"/>
            <a:chExt cx="92520" cy="70200"/>
          </a:xfrm>
        </p:grpSpPr>
        <mc:AlternateContent xmlns:mc="http://schemas.openxmlformats.org/markup-compatibility/2006" xmlns:p14="http://schemas.microsoft.com/office/powerpoint/2010/main">
          <mc:Choice Requires="p14">
            <p:contentPart p14:bwMode="auto" r:id="rId52">
              <p14:nvContentPartPr>
                <p14:cNvPr id="66" name="Ink 65">
                  <a:extLst>
                    <a:ext uri="{FF2B5EF4-FFF2-40B4-BE49-F238E27FC236}">
                      <a16:creationId xmlns:a16="http://schemas.microsoft.com/office/drawing/2014/main" id="{6CE74AAD-E46E-48EC-979F-BE10F983C6F4}"/>
                    </a:ext>
                  </a:extLst>
                </p14:cNvPr>
                <p14:cNvContentPartPr/>
                <p14:nvPr/>
              </p14:nvContentPartPr>
              <p14:xfrm>
                <a:off x="2400777" y="2421638"/>
                <a:ext cx="15840" cy="360"/>
              </p14:xfrm>
            </p:contentPart>
          </mc:Choice>
          <mc:Fallback xmlns="">
            <p:pic>
              <p:nvPicPr>
                <p:cNvPr id="66" name="Ink 65">
                  <a:extLst>
                    <a:ext uri="{FF2B5EF4-FFF2-40B4-BE49-F238E27FC236}">
                      <a16:creationId xmlns:a16="http://schemas.microsoft.com/office/drawing/2014/main" id="{6CE74AAD-E46E-48EC-979F-BE10F983C6F4}"/>
                    </a:ext>
                  </a:extLst>
                </p:cNvPr>
                <p:cNvPicPr/>
                <p:nvPr/>
              </p:nvPicPr>
              <p:blipFill>
                <a:blip r:embed="rId53"/>
                <a:stretch>
                  <a:fillRect/>
                </a:stretch>
              </p:blipFill>
              <p:spPr>
                <a:xfrm>
                  <a:off x="2396457" y="2417318"/>
                  <a:ext cx="2448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67" name="Ink 66">
                  <a:extLst>
                    <a:ext uri="{FF2B5EF4-FFF2-40B4-BE49-F238E27FC236}">
                      <a16:creationId xmlns:a16="http://schemas.microsoft.com/office/drawing/2014/main" id="{1EA26F19-E686-436D-A93F-0CC403F15E5F}"/>
                    </a:ext>
                  </a:extLst>
                </p14:cNvPr>
                <p14:cNvContentPartPr/>
                <p14:nvPr/>
              </p14:nvContentPartPr>
              <p14:xfrm>
                <a:off x="2324097" y="2491478"/>
                <a:ext cx="76680" cy="360"/>
              </p14:xfrm>
            </p:contentPart>
          </mc:Choice>
          <mc:Fallback xmlns="">
            <p:pic>
              <p:nvPicPr>
                <p:cNvPr id="67" name="Ink 66">
                  <a:extLst>
                    <a:ext uri="{FF2B5EF4-FFF2-40B4-BE49-F238E27FC236}">
                      <a16:creationId xmlns:a16="http://schemas.microsoft.com/office/drawing/2014/main" id="{1EA26F19-E686-436D-A93F-0CC403F15E5F}"/>
                    </a:ext>
                  </a:extLst>
                </p:cNvPr>
                <p:cNvPicPr/>
                <p:nvPr/>
              </p:nvPicPr>
              <p:blipFill>
                <a:blip r:embed="rId55"/>
                <a:stretch>
                  <a:fillRect/>
                </a:stretch>
              </p:blipFill>
              <p:spPr>
                <a:xfrm>
                  <a:off x="2319777" y="2487158"/>
                  <a:ext cx="8532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68" name="Ink 67">
                  <a:extLst>
                    <a:ext uri="{FF2B5EF4-FFF2-40B4-BE49-F238E27FC236}">
                      <a16:creationId xmlns:a16="http://schemas.microsoft.com/office/drawing/2014/main" id="{F9EF1054-8C28-4C16-A6FA-50DD1ED26A21}"/>
                    </a:ext>
                  </a:extLst>
                </p14:cNvPr>
                <p14:cNvContentPartPr/>
                <p14:nvPr/>
              </p14:nvContentPartPr>
              <p14:xfrm>
                <a:off x="2344977" y="2421638"/>
                <a:ext cx="47880" cy="21240"/>
              </p14:xfrm>
            </p:contentPart>
          </mc:Choice>
          <mc:Fallback xmlns="">
            <p:pic>
              <p:nvPicPr>
                <p:cNvPr id="68" name="Ink 67">
                  <a:extLst>
                    <a:ext uri="{FF2B5EF4-FFF2-40B4-BE49-F238E27FC236}">
                      <a16:creationId xmlns:a16="http://schemas.microsoft.com/office/drawing/2014/main" id="{F9EF1054-8C28-4C16-A6FA-50DD1ED26A21}"/>
                    </a:ext>
                  </a:extLst>
                </p:cNvPr>
                <p:cNvPicPr/>
                <p:nvPr/>
              </p:nvPicPr>
              <p:blipFill>
                <a:blip r:embed="rId57"/>
                <a:stretch>
                  <a:fillRect/>
                </a:stretch>
              </p:blipFill>
              <p:spPr>
                <a:xfrm>
                  <a:off x="2340657" y="2417318"/>
                  <a:ext cx="56520" cy="29880"/>
                </a:xfrm>
                <a:prstGeom prst="rect">
                  <a:avLst/>
                </a:prstGeom>
              </p:spPr>
            </p:pic>
          </mc:Fallback>
        </mc:AlternateContent>
      </p:grpSp>
      <p:grpSp>
        <p:nvGrpSpPr>
          <p:cNvPr id="73" name="Group 72">
            <a:extLst>
              <a:ext uri="{FF2B5EF4-FFF2-40B4-BE49-F238E27FC236}">
                <a16:creationId xmlns:a16="http://schemas.microsoft.com/office/drawing/2014/main" id="{4424BF29-E655-4E00-9CEF-396E97441723}"/>
              </a:ext>
            </a:extLst>
          </p:cNvPr>
          <p:cNvGrpSpPr/>
          <p:nvPr/>
        </p:nvGrpSpPr>
        <p:grpSpPr>
          <a:xfrm>
            <a:off x="2945097" y="2191238"/>
            <a:ext cx="1828440" cy="356400"/>
            <a:chOff x="2945097" y="2191238"/>
            <a:chExt cx="1828440" cy="356400"/>
          </a:xfrm>
        </p:grpSpPr>
        <mc:AlternateContent xmlns:mc="http://schemas.openxmlformats.org/markup-compatibility/2006" xmlns:p14="http://schemas.microsoft.com/office/powerpoint/2010/main">
          <mc:Choice Requires="p14">
            <p:contentPart p14:bwMode="auto" r:id="rId58">
              <p14:nvContentPartPr>
                <p14:cNvPr id="70" name="Ink 69">
                  <a:extLst>
                    <a:ext uri="{FF2B5EF4-FFF2-40B4-BE49-F238E27FC236}">
                      <a16:creationId xmlns:a16="http://schemas.microsoft.com/office/drawing/2014/main" id="{4317C1E6-A60C-4D3F-B40E-FB6A28C6716C}"/>
                    </a:ext>
                  </a:extLst>
                </p14:cNvPr>
                <p14:cNvContentPartPr/>
                <p14:nvPr/>
              </p14:nvContentPartPr>
              <p14:xfrm>
                <a:off x="3479337" y="2198438"/>
                <a:ext cx="206280" cy="154080"/>
              </p14:xfrm>
            </p:contentPart>
          </mc:Choice>
          <mc:Fallback xmlns="">
            <p:pic>
              <p:nvPicPr>
                <p:cNvPr id="70" name="Ink 69">
                  <a:extLst>
                    <a:ext uri="{FF2B5EF4-FFF2-40B4-BE49-F238E27FC236}">
                      <a16:creationId xmlns:a16="http://schemas.microsoft.com/office/drawing/2014/main" id="{4317C1E6-A60C-4D3F-B40E-FB6A28C6716C}"/>
                    </a:ext>
                  </a:extLst>
                </p:cNvPr>
                <p:cNvPicPr/>
                <p:nvPr/>
              </p:nvPicPr>
              <p:blipFill>
                <a:blip r:embed="rId59"/>
                <a:stretch>
                  <a:fillRect/>
                </a:stretch>
              </p:blipFill>
              <p:spPr>
                <a:xfrm>
                  <a:off x="3475017" y="2194118"/>
                  <a:ext cx="214920" cy="16272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71" name="Ink 70">
                  <a:extLst>
                    <a:ext uri="{FF2B5EF4-FFF2-40B4-BE49-F238E27FC236}">
                      <a16:creationId xmlns:a16="http://schemas.microsoft.com/office/drawing/2014/main" id="{9ABBD5C8-320C-4FD3-B16D-DF9709F0A3F9}"/>
                    </a:ext>
                  </a:extLst>
                </p14:cNvPr>
                <p14:cNvContentPartPr/>
                <p14:nvPr/>
              </p14:nvContentPartPr>
              <p14:xfrm>
                <a:off x="3545577" y="2191238"/>
                <a:ext cx="77040" cy="223920"/>
              </p14:xfrm>
            </p:contentPart>
          </mc:Choice>
          <mc:Fallback xmlns="">
            <p:pic>
              <p:nvPicPr>
                <p:cNvPr id="71" name="Ink 70">
                  <a:extLst>
                    <a:ext uri="{FF2B5EF4-FFF2-40B4-BE49-F238E27FC236}">
                      <a16:creationId xmlns:a16="http://schemas.microsoft.com/office/drawing/2014/main" id="{9ABBD5C8-320C-4FD3-B16D-DF9709F0A3F9}"/>
                    </a:ext>
                  </a:extLst>
                </p:cNvPr>
                <p:cNvPicPr/>
                <p:nvPr/>
              </p:nvPicPr>
              <p:blipFill>
                <a:blip r:embed="rId61"/>
                <a:stretch>
                  <a:fillRect/>
                </a:stretch>
              </p:blipFill>
              <p:spPr>
                <a:xfrm>
                  <a:off x="3541257" y="2186918"/>
                  <a:ext cx="85680" cy="232560"/>
                </a:xfrm>
                <a:prstGeom prst="rect">
                  <a:avLst/>
                </a:prstGeom>
              </p:spPr>
            </p:pic>
          </mc:Fallback>
        </mc:AlternateContent>
        <mc:AlternateContent xmlns:mc="http://schemas.openxmlformats.org/markup-compatibility/2006" xmlns:p14="http://schemas.microsoft.com/office/powerpoint/2010/main">
          <mc:Choice Requires="p14">
            <p:contentPart p14:bwMode="auto" r:id="rId62">
              <p14:nvContentPartPr>
                <p14:cNvPr id="72" name="Ink 71">
                  <a:extLst>
                    <a:ext uri="{FF2B5EF4-FFF2-40B4-BE49-F238E27FC236}">
                      <a16:creationId xmlns:a16="http://schemas.microsoft.com/office/drawing/2014/main" id="{242EB795-7C6E-40FE-A792-B604ADDC4D6F}"/>
                    </a:ext>
                  </a:extLst>
                </p14:cNvPr>
                <p14:cNvContentPartPr/>
                <p14:nvPr/>
              </p14:nvContentPartPr>
              <p14:xfrm>
                <a:off x="2945097" y="2463038"/>
                <a:ext cx="1828440" cy="84600"/>
              </p14:xfrm>
            </p:contentPart>
          </mc:Choice>
          <mc:Fallback xmlns="">
            <p:pic>
              <p:nvPicPr>
                <p:cNvPr id="72" name="Ink 71">
                  <a:extLst>
                    <a:ext uri="{FF2B5EF4-FFF2-40B4-BE49-F238E27FC236}">
                      <a16:creationId xmlns:a16="http://schemas.microsoft.com/office/drawing/2014/main" id="{242EB795-7C6E-40FE-A792-B604ADDC4D6F}"/>
                    </a:ext>
                  </a:extLst>
                </p:cNvPr>
                <p:cNvPicPr/>
                <p:nvPr/>
              </p:nvPicPr>
              <p:blipFill>
                <a:blip r:embed="rId63"/>
                <a:stretch>
                  <a:fillRect/>
                </a:stretch>
              </p:blipFill>
              <p:spPr>
                <a:xfrm>
                  <a:off x="2940777" y="2458718"/>
                  <a:ext cx="1837080" cy="93240"/>
                </a:xfrm>
                <a:prstGeom prst="rect">
                  <a:avLst/>
                </a:prstGeom>
              </p:spPr>
            </p:pic>
          </mc:Fallback>
        </mc:AlternateContent>
      </p:grpSp>
      <p:grpSp>
        <p:nvGrpSpPr>
          <p:cNvPr id="87" name="Group 86">
            <a:extLst>
              <a:ext uri="{FF2B5EF4-FFF2-40B4-BE49-F238E27FC236}">
                <a16:creationId xmlns:a16="http://schemas.microsoft.com/office/drawing/2014/main" id="{AF082C2C-E264-4EDF-91E8-19018BEA3604}"/>
              </a:ext>
            </a:extLst>
          </p:cNvPr>
          <p:cNvGrpSpPr/>
          <p:nvPr/>
        </p:nvGrpSpPr>
        <p:grpSpPr>
          <a:xfrm>
            <a:off x="2940417" y="2666078"/>
            <a:ext cx="1247400" cy="171720"/>
            <a:chOff x="2940417" y="2666078"/>
            <a:chExt cx="1247400" cy="171720"/>
          </a:xfrm>
        </p:grpSpPr>
        <mc:AlternateContent xmlns:mc="http://schemas.openxmlformats.org/markup-compatibility/2006" xmlns:p14="http://schemas.microsoft.com/office/powerpoint/2010/main">
          <mc:Choice Requires="p14">
            <p:contentPart p14:bwMode="auto" r:id="rId64">
              <p14:nvContentPartPr>
                <p14:cNvPr id="74" name="Ink 73">
                  <a:extLst>
                    <a:ext uri="{FF2B5EF4-FFF2-40B4-BE49-F238E27FC236}">
                      <a16:creationId xmlns:a16="http://schemas.microsoft.com/office/drawing/2014/main" id="{E2DC2372-3F00-4641-A310-766F79B8828F}"/>
                    </a:ext>
                  </a:extLst>
                </p14:cNvPr>
                <p14:cNvContentPartPr/>
                <p14:nvPr/>
              </p14:nvContentPartPr>
              <p14:xfrm>
                <a:off x="2940417" y="2749598"/>
                <a:ext cx="68040" cy="88200"/>
              </p14:xfrm>
            </p:contentPart>
          </mc:Choice>
          <mc:Fallback xmlns="">
            <p:pic>
              <p:nvPicPr>
                <p:cNvPr id="74" name="Ink 73">
                  <a:extLst>
                    <a:ext uri="{FF2B5EF4-FFF2-40B4-BE49-F238E27FC236}">
                      <a16:creationId xmlns:a16="http://schemas.microsoft.com/office/drawing/2014/main" id="{E2DC2372-3F00-4641-A310-766F79B8828F}"/>
                    </a:ext>
                  </a:extLst>
                </p:cNvPr>
                <p:cNvPicPr/>
                <p:nvPr/>
              </p:nvPicPr>
              <p:blipFill>
                <a:blip r:embed="rId65"/>
                <a:stretch>
                  <a:fillRect/>
                </a:stretch>
              </p:blipFill>
              <p:spPr>
                <a:xfrm>
                  <a:off x="2936097" y="2745278"/>
                  <a:ext cx="76680" cy="96840"/>
                </a:xfrm>
                <a:prstGeom prst="rect">
                  <a:avLst/>
                </a:prstGeom>
              </p:spPr>
            </p:pic>
          </mc:Fallback>
        </mc:AlternateContent>
        <mc:AlternateContent xmlns:mc="http://schemas.openxmlformats.org/markup-compatibility/2006" xmlns:p14="http://schemas.microsoft.com/office/powerpoint/2010/main">
          <mc:Choice Requires="p14">
            <p:contentPart p14:bwMode="auto" r:id="rId66">
              <p14:nvContentPartPr>
                <p14:cNvPr id="75" name="Ink 74">
                  <a:extLst>
                    <a:ext uri="{FF2B5EF4-FFF2-40B4-BE49-F238E27FC236}">
                      <a16:creationId xmlns:a16="http://schemas.microsoft.com/office/drawing/2014/main" id="{82CD5D70-D9AD-439F-ABA1-74AD526D5D66}"/>
                    </a:ext>
                  </a:extLst>
                </p14:cNvPr>
                <p14:cNvContentPartPr/>
                <p14:nvPr/>
              </p14:nvContentPartPr>
              <p14:xfrm>
                <a:off x="3082257" y="2784878"/>
                <a:ext cx="3240" cy="360"/>
              </p14:xfrm>
            </p:contentPart>
          </mc:Choice>
          <mc:Fallback xmlns="">
            <p:pic>
              <p:nvPicPr>
                <p:cNvPr id="75" name="Ink 74">
                  <a:extLst>
                    <a:ext uri="{FF2B5EF4-FFF2-40B4-BE49-F238E27FC236}">
                      <a16:creationId xmlns:a16="http://schemas.microsoft.com/office/drawing/2014/main" id="{82CD5D70-D9AD-439F-ABA1-74AD526D5D66}"/>
                    </a:ext>
                  </a:extLst>
                </p:cNvPr>
                <p:cNvPicPr/>
                <p:nvPr/>
              </p:nvPicPr>
              <p:blipFill>
                <a:blip r:embed="rId67"/>
                <a:stretch>
                  <a:fillRect/>
                </a:stretch>
              </p:blipFill>
              <p:spPr>
                <a:xfrm>
                  <a:off x="3077937" y="2780558"/>
                  <a:ext cx="1188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68">
              <p14:nvContentPartPr>
                <p14:cNvPr id="76" name="Ink 75">
                  <a:extLst>
                    <a:ext uri="{FF2B5EF4-FFF2-40B4-BE49-F238E27FC236}">
                      <a16:creationId xmlns:a16="http://schemas.microsoft.com/office/drawing/2014/main" id="{A96F12AE-A523-459C-AFEE-917B9CDF547F}"/>
                    </a:ext>
                  </a:extLst>
                </p14:cNvPr>
                <p14:cNvContentPartPr/>
                <p14:nvPr/>
              </p14:nvContentPartPr>
              <p14:xfrm>
                <a:off x="3121857" y="2721518"/>
                <a:ext cx="56520" cy="106200"/>
              </p14:xfrm>
            </p:contentPart>
          </mc:Choice>
          <mc:Fallback xmlns="">
            <p:pic>
              <p:nvPicPr>
                <p:cNvPr id="76" name="Ink 75">
                  <a:extLst>
                    <a:ext uri="{FF2B5EF4-FFF2-40B4-BE49-F238E27FC236}">
                      <a16:creationId xmlns:a16="http://schemas.microsoft.com/office/drawing/2014/main" id="{A96F12AE-A523-459C-AFEE-917B9CDF547F}"/>
                    </a:ext>
                  </a:extLst>
                </p:cNvPr>
                <p:cNvPicPr/>
                <p:nvPr/>
              </p:nvPicPr>
              <p:blipFill>
                <a:blip r:embed="rId69"/>
                <a:stretch>
                  <a:fillRect/>
                </a:stretch>
              </p:blipFill>
              <p:spPr>
                <a:xfrm>
                  <a:off x="3117537" y="2717198"/>
                  <a:ext cx="65160" cy="114840"/>
                </a:xfrm>
                <a:prstGeom prst="rect">
                  <a:avLst/>
                </a:prstGeom>
              </p:spPr>
            </p:pic>
          </mc:Fallback>
        </mc:AlternateContent>
        <mc:AlternateContent xmlns:mc="http://schemas.openxmlformats.org/markup-compatibility/2006" xmlns:p14="http://schemas.microsoft.com/office/powerpoint/2010/main">
          <mc:Choice Requires="p14">
            <p:contentPart p14:bwMode="auto" r:id="rId70">
              <p14:nvContentPartPr>
                <p14:cNvPr id="77" name="Ink 76">
                  <a:extLst>
                    <a:ext uri="{FF2B5EF4-FFF2-40B4-BE49-F238E27FC236}">
                      <a16:creationId xmlns:a16="http://schemas.microsoft.com/office/drawing/2014/main" id="{61C33078-B810-4587-A6A4-42D84EE583FB}"/>
                    </a:ext>
                  </a:extLst>
                </p14:cNvPr>
                <p14:cNvContentPartPr/>
                <p14:nvPr/>
              </p14:nvContentPartPr>
              <p14:xfrm>
                <a:off x="3133737" y="2721518"/>
                <a:ext cx="73800" cy="7920"/>
              </p14:xfrm>
            </p:contentPart>
          </mc:Choice>
          <mc:Fallback xmlns="">
            <p:pic>
              <p:nvPicPr>
                <p:cNvPr id="77" name="Ink 76">
                  <a:extLst>
                    <a:ext uri="{FF2B5EF4-FFF2-40B4-BE49-F238E27FC236}">
                      <a16:creationId xmlns:a16="http://schemas.microsoft.com/office/drawing/2014/main" id="{61C33078-B810-4587-A6A4-42D84EE583FB}"/>
                    </a:ext>
                  </a:extLst>
                </p:cNvPr>
                <p:cNvPicPr/>
                <p:nvPr/>
              </p:nvPicPr>
              <p:blipFill>
                <a:blip r:embed="rId71"/>
                <a:stretch>
                  <a:fillRect/>
                </a:stretch>
              </p:blipFill>
              <p:spPr>
                <a:xfrm>
                  <a:off x="3129417" y="2717198"/>
                  <a:ext cx="82440" cy="16560"/>
                </a:xfrm>
                <a:prstGeom prst="rect">
                  <a:avLst/>
                </a:prstGeom>
              </p:spPr>
            </p:pic>
          </mc:Fallback>
        </mc:AlternateContent>
        <mc:AlternateContent xmlns:mc="http://schemas.openxmlformats.org/markup-compatibility/2006" xmlns:p14="http://schemas.microsoft.com/office/powerpoint/2010/main">
          <mc:Choice Requires="p14">
            <p:contentPart p14:bwMode="auto" r:id="rId72">
              <p14:nvContentPartPr>
                <p14:cNvPr id="79" name="Ink 78">
                  <a:extLst>
                    <a:ext uri="{FF2B5EF4-FFF2-40B4-BE49-F238E27FC236}">
                      <a16:creationId xmlns:a16="http://schemas.microsoft.com/office/drawing/2014/main" id="{5C9CABE6-4E9B-4141-83E3-87F86B150E5B}"/>
                    </a:ext>
                  </a:extLst>
                </p14:cNvPr>
                <p14:cNvContentPartPr/>
                <p14:nvPr/>
              </p14:nvContentPartPr>
              <p14:xfrm>
                <a:off x="3392217" y="2693798"/>
                <a:ext cx="28080" cy="104040"/>
              </p14:xfrm>
            </p:contentPart>
          </mc:Choice>
          <mc:Fallback xmlns="">
            <p:pic>
              <p:nvPicPr>
                <p:cNvPr id="79" name="Ink 78">
                  <a:extLst>
                    <a:ext uri="{FF2B5EF4-FFF2-40B4-BE49-F238E27FC236}">
                      <a16:creationId xmlns:a16="http://schemas.microsoft.com/office/drawing/2014/main" id="{5C9CABE6-4E9B-4141-83E3-87F86B150E5B}"/>
                    </a:ext>
                  </a:extLst>
                </p:cNvPr>
                <p:cNvPicPr/>
                <p:nvPr/>
              </p:nvPicPr>
              <p:blipFill>
                <a:blip r:embed="rId73"/>
                <a:stretch>
                  <a:fillRect/>
                </a:stretch>
              </p:blipFill>
              <p:spPr>
                <a:xfrm>
                  <a:off x="3387897" y="2689478"/>
                  <a:ext cx="36720" cy="112680"/>
                </a:xfrm>
                <a:prstGeom prst="rect">
                  <a:avLst/>
                </a:prstGeom>
              </p:spPr>
            </p:pic>
          </mc:Fallback>
        </mc:AlternateContent>
        <mc:AlternateContent xmlns:mc="http://schemas.openxmlformats.org/markup-compatibility/2006" xmlns:p14="http://schemas.microsoft.com/office/powerpoint/2010/main">
          <mc:Choice Requires="p14">
            <p:contentPart p14:bwMode="auto" r:id="rId74">
              <p14:nvContentPartPr>
                <p14:cNvPr id="80" name="Ink 79">
                  <a:extLst>
                    <a:ext uri="{FF2B5EF4-FFF2-40B4-BE49-F238E27FC236}">
                      <a16:creationId xmlns:a16="http://schemas.microsoft.com/office/drawing/2014/main" id="{B58D5708-C6CE-436E-992C-2154E0E86019}"/>
                    </a:ext>
                  </a:extLst>
                </p14:cNvPr>
                <p14:cNvContentPartPr/>
                <p14:nvPr/>
              </p14:nvContentPartPr>
              <p14:xfrm>
                <a:off x="3350097" y="2749598"/>
                <a:ext cx="83520" cy="360"/>
              </p14:xfrm>
            </p:contentPart>
          </mc:Choice>
          <mc:Fallback xmlns="">
            <p:pic>
              <p:nvPicPr>
                <p:cNvPr id="80" name="Ink 79">
                  <a:extLst>
                    <a:ext uri="{FF2B5EF4-FFF2-40B4-BE49-F238E27FC236}">
                      <a16:creationId xmlns:a16="http://schemas.microsoft.com/office/drawing/2014/main" id="{B58D5708-C6CE-436E-992C-2154E0E86019}"/>
                    </a:ext>
                  </a:extLst>
                </p:cNvPr>
                <p:cNvPicPr/>
                <p:nvPr/>
              </p:nvPicPr>
              <p:blipFill>
                <a:blip r:embed="rId75"/>
                <a:stretch>
                  <a:fillRect/>
                </a:stretch>
              </p:blipFill>
              <p:spPr>
                <a:xfrm>
                  <a:off x="3345777" y="2745278"/>
                  <a:ext cx="9216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6">
              <p14:nvContentPartPr>
                <p14:cNvPr id="81" name="Ink 80">
                  <a:extLst>
                    <a:ext uri="{FF2B5EF4-FFF2-40B4-BE49-F238E27FC236}">
                      <a16:creationId xmlns:a16="http://schemas.microsoft.com/office/drawing/2014/main" id="{766E1BF5-C8AF-47F3-A2CC-CF96E0B3DCBC}"/>
                    </a:ext>
                  </a:extLst>
                </p14:cNvPr>
                <p14:cNvContentPartPr/>
                <p14:nvPr/>
              </p14:nvContentPartPr>
              <p14:xfrm>
                <a:off x="3566817" y="2704598"/>
                <a:ext cx="85320" cy="97920"/>
              </p14:xfrm>
            </p:contentPart>
          </mc:Choice>
          <mc:Fallback xmlns="">
            <p:pic>
              <p:nvPicPr>
                <p:cNvPr id="81" name="Ink 80">
                  <a:extLst>
                    <a:ext uri="{FF2B5EF4-FFF2-40B4-BE49-F238E27FC236}">
                      <a16:creationId xmlns:a16="http://schemas.microsoft.com/office/drawing/2014/main" id="{766E1BF5-C8AF-47F3-A2CC-CF96E0B3DCBC}"/>
                    </a:ext>
                  </a:extLst>
                </p:cNvPr>
                <p:cNvPicPr/>
                <p:nvPr/>
              </p:nvPicPr>
              <p:blipFill>
                <a:blip r:embed="rId77"/>
                <a:stretch>
                  <a:fillRect/>
                </a:stretch>
              </p:blipFill>
              <p:spPr>
                <a:xfrm>
                  <a:off x="3562497" y="2700278"/>
                  <a:ext cx="93960" cy="106560"/>
                </a:xfrm>
                <a:prstGeom prst="rect">
                  <a:avLst/>
                </a:prstGeom>
              </p:spPr>
            </p:pic>
          </mc:Fallback>
        </mc:AlternateContent>
        <mc:AlternateContent xmlns:mc="http://schemas.openxmlformats.org/markup-compatibility/2006" xmlns:p14="http://schemas.microsoft.com/office/powerpoint/2010/main">
          <mc:Choice Requires="p14">
            <p:contentPart p14:bwMode="auto" r:id="rId78">
              <p14:nvContentPartPr>
                <p14:cNvPr id="82" name="Ink 81">
                  <a:extLst>
                    <a:ext uri="{FF2B5EF4-FFF2-40B4-BE49-F238E27FC236}">
                      <a16:creationId xmlns:a16="http://schemas.microsoft.com/office/drawing/2014/main" id="{8493DB77-04CA-44B7-A3CF-5B2B78681B2F}"/>
                    </a:ext>
                  </a:extLst>
                </p14:cNvPr>
                <p14:cNvContentPartPr/>
                <p14:nvPr/>
              </p14:nvContentPartPr>
              <p14:xfrm>
                <a:off x="3733857" y="2742758"/>
                <a:ext cx="360" cy="360"/>
              </p14:xfrm>
            </p:contentPart>
          </mc:Choice>
          <mc:Fallback xmlns="">
            <p:pic>
              <p:nvPicPr>
                <p:cNvPr id="82" name="Ink 81">
                  <a:extLst>
                    <a:ext uri="{FF2B5EF4-FFF2-40B4-BE49-F238E27FC236}">
                      <a16:creationId xmlns:a16="http://schemas.microsoft.com/office/drawing/2014/main" id="{8493DB77-04CA-44B7-A3CF-5B2B78681B2F}"/>
                    </a:ext>
                  </a:extLst>
                </p:cNvPr>
                <p:cNvPicPr/>
                <p:nvPr/>
              </p:nvPicPr>
              <p:blipFill>
                <a:blip r:embed="rId3"/>
                <a:stretch>
                  <a:fillRect/>
                </a:stretch>
              </p:blipFill>
              <p:spPr>
                <a:xfrm>
                  <a:off x="3729537" y="273843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9">
              <p14:nvContentPartPr>
                <p14:cNvPr id="83" name="Ink 82">
                  <a:extLst>
                    <a:ext uri="{FF2B5EF4-FFF2-40B4-BE49-F238E27FC236}">
                      <a16:creationId xmlns:a16="http://schemas.microsoft.com/office/drawing/2014/main" id="{7717E4D3-1A14-4BD6-BB56-CC41BA460A6B}"/>
                    </a:ext>
                  </a:extLst>
                </p14:cNvPr>
                <p14:cNvContentPartPr/>
                <p14:nvPr/>
              </p14:nvContentPartPr>
              <p14:xfrm>
                <a:off x="3808737" y="2676878"/>
                <a:ext cx="92160" cy="114480"/>
              </p14:xfrm>
            </p:contentPart>
          </mc:Choice>
          <mc:Fallback xmlns="">
            <p:pic>
              <p:nvPicPr>
                <p:cNvPr id="83" name="Ink 82">
                  <a:extLst>
                    <a:ext uri="{FF2B5EF4-FFF2-40B4-BE49-F238E27FC236}">
                      <a16:creationId xmlns:a16="http://schemas.microsoft.com/office/drawing/2014/main" id="{7717E4D3-1A14-4BD6-BB56-CC41BA460A6B}"/>
                    </a:ext>
                  </a:extLst>
                </p:cNvPr>
                <p:cNvPicPr/>
                <p:nvPr/>
              </p:nvPicPr>
              <p:blipFill>
                <a:blip r:embed="rId80"/>
                <a:stretch>
                  <a:fillRect/>
                </a:stretch>
              </p:blipFill>
              <p:spPr>
                <a:xfrm>
                  <a:off x="3804417" y="2672558"/>
                  <a:ext cx="100800" cy="123120"/>
                </a:xfrm>
                <a:prstGeom prst="rect">
                  <a:avLst/>
                </a:prstGeom>
              </p:spPr>
            </p:pic>
          </mc:Fallback>
        </mc:AlternateContent>
        <mc:AlternateContent xmlns:mc="http://schemas.openxmlformats.org/markup-compatibility/2006" xmlns:p14="http://schemas.microsoft.com/office/powerpoint/2010/main">
          <mc:Choice Requires="p14">
            <p:contentPart p14:bwMode="auto" r:id="rId81">
              <p14:nvContentPartPr>
                <p14:cNvPr id="84" name="Ink 83">
                  <a:extLst>
                    <a:ext uri="{FF2B5EF4-FFF2-40B4-BE49-F238E27FC236}">
                      <a16:creationId xmlns:a16="http://schemas.microsoft.com/office/drawing/2014/main" id="{2305226F-A32F-4E0D-BEB4-09C8163BBC31}"/>
                    </a:ext>
                  </a:extLst>
                </p14:cNvPr>
                <p14:cNvContentPartPr/>
                <p14:nvPr/>
              </p14:nvContentPartPr>
              <p14:xfrm>
                <a:off x="3888657" y="2666078"/>
                <a:ext cx="103320" cy="112680"/>
              </p14:xfrm>
            </p:contentPart>
          </mc:Choice>
          <mc:Fallback xmlns="">
            <p:pic>
              <p:nvPicPr>
                <p:cNvPr id="84" name="Ink 83">
                  <a:extLst>
                    <a:ext uri="{FF2B5EF4-FFF2-40B4-BE49-F238E27FC236}">
                      <a16:creationId xmlns:a16="http://schemas.microsoft.com/office/drawing/2014/main" id="{2305226F-A32F-4E0D-BEB4-09C8163BBC31}"/>
                    </a:ext>
                  </a:extLst>
                </p:cNvPr>
                <p:cNvPicPr/>
                <p:nvPr/>
              </p:nvPicPr>
              <p:blipFill>
                <a:blip r:embed="rId82"/>
                <a:stretch>
                  <a:fillRect/>
                </a:stretch>
              </p:blipFill>
              <p:spPr>
                <a:xfrm>
                  <a:off x="3884337" y="2661758"/>
                  <a:ext cx="111960" cy="121320"/>
                </a:xfrm>
                <a:prstGeom prst="rect">
                  <a:avLst/>
                </a:prstGeom>
              </p:spPr>
            </p:pic>
          </mc:Fallback>
        </mc:AlternateContent>
        <mc:AlternateContent xmlns:mc="http://schemas.openxmlformats.org/markup-compatibility/2006" xmlns:p14="http://schemas.microsoft.com/office/powerpoint/2010/main">
          <mc:Choice Requires="p14">
            <p:contentPart p14:bwMode="auto" r:id="rId83">
              <p14:nvContentPartPr>
                <p14:cNvPr id="85" name="Ink 84">
                  <a:extLst>
                    <a:ext uri="{FF2B5EF4-FFF2-40B4-BE49-F238E27FC236}">
                      <a16:creationId xmlns:a16="http://schemas.microsoft.com/office/drawing/2014/main" id="{D5EE0536-0E3B-4A6B-81D1-EB3FFB91D185}"/>
                    </a:ext>
                  </a:extLst>
                </p14:cNvPr>
                <p14:cNvContentPartPr/>
                <p14:nvPr/>
              </p14:nvContentPartPr>
              <p14:xfrm>
                <a:off x="4105017" y="2686958"/>
                <a:ext cx="20160" cy="82800"/>
              </p14:xfrm>
            </p:contentPart>
          </mc:Choice>
          <mc:Fallback xmlns="">
            <p:pic>
              <p:nvPicPr>
                <p:cNvPr id="85" name="Ink 84">
                  <a:extLst>
                    <a:ext uri="{FF2B5EF4-FFF2-40B4-BE49-F238E27FC236}">
                      <a16:creationId xmlns:a16="http://schemas.microsoft.com/office/drawing/2014/main" id="{D5EE0536-0E3B-4A6B-81D1-EB3FFB91D185}"/>
                    </a:ext>
                  </a:extLst>
                </p:cNvPr>
                <p:cNvPicPr/>
                <p:nvPr/>
              </p:nvPicPr>
              <p:blipFill>
                <a:blip r:embed="rId29"/>
                <a:stretch>
                  <a:fillRect/>
                </a:stretch>
              </p:blipFill>
              <p:spPr>
                <a:xfrm>
                  <a:off x="4100697" y="2682638"/>
                  <a:ext cx="28800" cy="91440"/>
                </a:xfrm>
                <a:prstGeom prst="rect">
                  <a:avLst/>
                </a:prstGeom>
              </p:spPr>
            </p:pic>
          </mc:Fallback>
        </mc:AlternateContent>
        <mc:AlternateContent xmlns:mc="http://schemas.openxmlformats.org/markup-compatibility/2006" xmlns:p14="http://schemas.microsoft.com/office/powerpoint/2010/main">
          <mc:Choice Requires="p14">
            <p:contentPart p14:bwMode="auto" r:id="rId84">
              <p14:nvContentPartPr>
                <p14:cNvPr id="86" name="Ink 85">
                  <a:extLst>
                    <a:ext uri="{FF2B5EF4-FFF2-40B4-BE49-F238E27FC236}">
                      <a16:creationId xmlns:a16="http://schemas.microsoft.com/office/drawing/2014/main" id="{EFD931F9-B7D6-4A0C-ADF2-48A294C2F01D}"/>
                    </a:ext>
                  </a:extLst>
                </p14:cNvPr>
                <p14:cNvContentPartPr/>
                <p14:nvPr/>
              </p14:nvContentPartPr>
              <p14:xfrm>
                <a:off x="4062177" y="2716118"/>
                <a:ext cx="125640" cy="12960"/>
              </p14:xfrm>
            </p:contentPart>
          </mc:Choice>
          <mc:Fallback xmlns="">
            <p:pic>
              <p:nvPicPr>
                <p:cNvPr id="86" name="Ink 85">
                  <a:extLst>
                    <a:ext uri="{FF2B5EF4-FFF2-40B4-BE49-F238E27FC236}">
                      <a16:creationId xmlns:a16="http://schemas.microsoft.com/office/drawing/2014/main" id="{EFD931F9-B7D6-4A0C-ADF2-48A294C2F01D}"/>
                    </a:ext>
                  </a:extLst>
                </p:cNvPr>
                <p:cNvPicPr/>
                <p:nvPr/>
              </p:nvPicPr>
              <p:blipFill>
                <a:blip r:embed="rId85"/>
                <a:stretch>
                  <a:fillRect/>
                </a:stretch>
              </p:blipFill>
              <p:spPr>
                <a:xfrm>
                  <a:off x="4057857" y="2711798"/>
                  <a:ext cx="134280" cy="21600"/>
                </a:xfrm>
                <a:prstGeom prst="rect">
                  <a:avLst/>
                </a:prstGeom>
              </p:spPr>
            </p:pic>
          </mc:Fallback>
        </mc:AlternateContent>
      </p:grpSp>
      <p:grpSp>
        <p:nvGrpSpPr>
          <p:cNvPr id="100" name="Group 99">
            <a:extLst>
              <a:ext uri="{FF2B5EF4-FFF2-40B4-BE49-F238E27FC236}">
                <a16:creationId xmlns:a16="http://schemas.microsoft.com/office/drawing/2014/main" id="{A9F4159A-25B1-4432-866A-4E7FB4FD22E7}"/>
              </a:ext>
            </a:extLst>
          </p:cNvPr>
          <p:cNvGrpSpPr/>
          <p:nvPr/>
        </p:nvGrpSpPr>
        <p:grpSpPr>
          <a:xfrm>
            <a:off x="4300137" y="2589398"/>
            <a:ext cx="990000" cy="161640"/>
            <a:chOff x="4300137" y="2589398"/>
            <a:chExt cx="990000" cy="161640"/>
          </a:xfrm>
        </p:grpSpPr>
        <mc:AlternateContent xmlns:mc="http://schemas.openxmlformats.org/markup-compatibility/2006" xmlns:p14="http://schemas.microsoft.com/office/powerpoint/2010/main">
          <mc:Choice Requires="p14">
            <p:contentPart p14:bwMode="auto" r:id="rId86">
              <p14:nvContentPartPr>
                <p14:cNvPr id="88" name="Ink 87">
                  <a:extLst>
                    <a:ext uri="{FF2B5EF4-FFF2-40B4-BE49-F238E27FC236}">
                      <a16:creationId xmlns:a16="http://schemas.microsoft.com/office/drawing/2014/main" id="{7150333E-B932-465E-BDB6-198191C88484}"/>
                    </a:ext>
                  </a:extLst>
                </p14:cNvPr>
                <p14:cNvContentPartPr/>
                <p14:nvPr/>
              </p14:nvContentPartPr>
              <p14:xfrm>
                <a:off x="4300137" y="2671838"/>
                <a:ext cx="68400" cy="79200"/>
              </p14:xfrm>
            </p:contentPart>
          </mc:Choice>
          <mc:Fallback xmlns="">
            <p:pic>
              <p:nvPicPr>
                <p:cNvPr id="88" name="Ink 87">
                  <a:extLst>
                    <a:ext uri="{FF2B5EF4-FFF2-40B4-BE49-F238E27FC236}">
                      <a16:creationId xmlns:a16="http://schemas.microsoft.com/office/drawing/2014/main" id="{7150333E-B932-465E-BDB6-198191C88484}"/>
                    </a:ext>
                  </a:extLst>
                </p:cNvPr>
                <p:cNvPicPr/>
                <p:nvPr/>
              </p:nvPicPr>
              <p:blipFill>
                <a:blip r:embed="rId87"/>
                <a:stretch>
                  <a:fillRect/>
                </a:stretch>
              </p:blipFill>
              <p:spPr>
                <a:xfrm>
                  <a:off x="4295817" y="2667518"/>
                  <a:ext cx="77040" cy="87840"/>
                </a:xfrm>
                <a:prstGeom prst="rect">
                  <a:avLst/>
                </a:prstGeom>
              </p:spPr>
            </p:pic>
          </mc:Fallback>
        </mc:AlternateContent>
        <mc:AlternateContent xmlns:mc="http://schemas.openxmlformats.org/markup-compatibility/2006" xmlns:p14="http://schemas.microsoft.com/office/powerpoint/2010/main">
          <mc:Choice Requires="p14">
            <p:contentPart p14:bwMode="auto" r:id="rId88">
              <p14:nvContentPartPr>
                <p14:cNvPr id="89" name="Ink 88">
                  <a:extLst>
                    <a:ext uri="{FF2B5EF4-FFF2-40B4-BE49-F238E27FC236}">
                      <a16:creationId xmlns:a16="http://schemas.microsoft.com/office/drawing/2014/main" id="{903AD705-D9ED-4493-9168-511B1DDDD9F4}"/>
                    </a:ext>
                  </a:extLst>
                </p14:cNvPr>
                <p14:cNvContentPartPr/>
                <p14:nvPr/>
              </p14:nvContentPartPr>
              <p14:xfrm>
                <a:off x="4411017" y="2729078"/>
                <a:ext cx="360" cy="2880"/>
              </p14:xfrm>
            </p:contentPart>
          </mc:Choice>
          <mc:Fallback xmlns="">
            <p:pic>
              <p:nvPicPr>
                <p:cNvPr id="89" name="Ink 88">
                  <a:extLst>
                    <a:ext uri="{FF2B5EF4-FFF2-40B4-BE49-F238E27FC236}">
                      <a16:creationId xmlns:a16="http://schemas.microsoft.com/office/drawing/2014/main" id="{903AD705-D9ED-4493-9168-511B1DDDD9F4}"/>
                    </a:ext>
                  </a:extLst>
                </p:cNvPr>
                <p:cNvPicPr/>
                <p:nvPr/>
              </p:nvPicPr>
              <p:blipFill>
                <a:blip r:embed="rId89"/>
                <a:stretch>
                  <a:fillRect/>
                </a:stretch>
              </p:blipFill>
              <p:spPr>
                <a:xfrm>
                  <a:off x="4406697" y="2724758"/>
                  <a:ext cx="9000" cy="11520"/>
                </a:xfrm>
                <a:prstGeom prst="rect">
                  <a:avLst/>
                </a:prstGeom>
              </p:spPr>
            </p:pic>
          </mc:Fallback>
        </mc:AlternateContent>
        <mc:AlternateContent xmlns:mc="http://schemas.openxmlformats.org/markup-compatibility/2006" xmlns:p14="http://schemas.microsoft.com/office/powerpoint/2010/main">
          <mc:Choice Requires="p14">
            <p:contentPart p14:bwMode="auto" r:id="rId90">
              <p14:nvContentPartPr>
                <p14:cNvPr id="90" name="Ink 89">
                  <a:extLst>
                    <a:ext uri="{FF2B5EF4-FFF2-40B4-BE49-F238E27FC236}">
                      <a16:creationId xmlns:a16="http://schemas.microsoft.com/office/drawing/2014/main" id="{864DAD99-776D-47A1-A649-B066EA8886B1}"/>
                    </a:ext>
                  </a:extLst>
                </p14:cNvPr>
                <p14:cNvContentPartPr/>
                <p14:nvPr/>
              </p14:nvContentPartPr>
              <p14:xfrm>
                <a:off x="4452777" y="2652398"/>
                <a:ext cx="7920" cy="90000"/>
              </p14:xfrm>
            </p:contentPart>
          </mc:Choice>
          <mc:Fallback xmlns="">
            <p:pic>
              <p:nvPicPr>
                <p:cNvPr id="90" name="Ink 89">
                  <a:extLst>
                    <a:ext uri="{FF2B5EF4-FFF2-40B4-BE49-F238E27FC236}">
                      <a16:creationId xmlns:a16="http://schemas.microsoft.com/office/drawing/2014/main" id="{864DAD99-776D-47A1-A649-B066EA8886B1}"/>
                    </a:ext>
                  </a:extLst>
                </p:cNvPr>
                <p:cNvPicPr/>
                <p:nvPr/>
              </p:nvPicPr>
              <p:blipFill>
                <a:blip r:embed="rId91"/>
                <a:stretch>
                  <a:fillRect/>
                </a:stretch>
              </p:blipFill>
              <p:spPr>
                <a:xfrm>
                  <a:off x="4448457" y="2648078"/>
                  <a:ext cx="16560" cy="98640"/>
                </a:xfrm>
                <a:prstGeom prst="rect">
                  <a:avLst/>
                </a:prstGeom>
              </p:spPr>
            </p:pic>
          </mc:Fallback>
        </mc:AlternateContent>
        <mc:AlternateContent xmlns:mc="http://schemas.openxmlformats.org/markup-compatibility/2006" xmlns:p14="http://schemas.microsoft.com/office/powerpoint/2010/main">
          <mc:Choice Requires="p14">
            <p:contentPart p14:bwMode="auto" r:id="rId92">
              <p14:nvContentPartPr>
                <p14:cNvPr id="91" name="Ink 90">
                  <a:extLst>
                    <a:ext uri="{FF2B5EF4-FFF2-40B4-BE49-F238E27FC236}">
                      <a16:creationId xmlns:a16="http://schemas.microsoft.com/office/drawing/2014/main" id="{6322F807-6C41-42E6-A1B0-4C5F248B647A}"/>
                    </a:ext>
                  </a:extLst>
                </p14:cNvPr>
                <p14:cNvContentPartPr/>
                <p14:nvPr/>
              </p14:nvContentPartPr>
              <p14:xfrm>
                <a:off x="4506417" y="2652038"/>
                <a:ext cx="65160" cy="78480"/>
              </p14:xfrm>
            </p:contentPart>
          </mc:Choice>
          <mc:Fallback xmlns="">
            <p:pic>
              <p:nvPicPr>
                <p:cNvPr id="91" name="Ink 90">
                  <a:extLst>
                    <a:ext uri="{FF2B5EF4-FFF2-40B4-BE49-F238E27FC236}">
                      <a16:creationId xmlns:a16="http://schemas.microsoft.com/office/drawing/2014/main" id="{6322F807-6C41-42E6-A1B0-4C5F248B647A}"/>
                    </a:ext>
                  </a:extLst>
                </p:cNvPr>
                <p:cNvPicPr/>
                <p:nvPr/>
              </p:nvPicPr>
              <p:blipFill>
                <a:blip r:embed="rId93"/>
                <a:stretch>
                  <a:fillRect/>
                </a:stretch>
              </p:blipFill>
              <p:spPr>
                <a:xfrm>
                  <a:off x="4502097" y="2647718"/>
                  <a:ext cx="73800" cy="87120"/>
                </a:xfrm>
                <a:prstGeom prst="rect">
                  <a:avLst/>
                </a:prstGeom>
              </p:spPr>
            </p:pic>
          </mc:Fallback>
        </mc:AlternateContent>
        <mc:AlternateContent xmlns:mc="http://schemas.openxmlformats.org/markup-compatibility/2006" xmlns:p14="http://schemas.microsoft.com/office/powerpoint/2010/main">
          <mc:Choice Requires="p14">
            <p:contentPart p14:bwMode="auto" r:id="rId94">
              <p14:nvContentPartPr>
                <p14:cNvPr id="92" name="Ink 91">
                  <a:extLst>
                    <a:ext uri="{FF2B5EF4-FFF2-40B4-BE49-F238E27FC236}">
                      <a16:creationId xmlns:a16="http://schemas.microsoft.com/office/drawing/2014/main" id="{570943C6-E320-44AB-8D76-5609F373ABED}"/>
                    </a:ext>
                  </a:extLst>
                </p14:cNvPr>
                <p14:cNvContentPartPr/>
                <p14:nvPr/>
              </p14:nvContentPartPr>
              <p14:xfrm>
                <a:off x="4612257" y="2642678"/>
                <a:ext cx="58320" cy="104040"/>
              </p14:xfrm>
            </p:contentPart>
          </mc:Choice>
          <mc:Fallback xmlns="">
            <p:pic>
              <p:nvPicPr>
                <p:cNvPr id="92" name="Ink 91">
                  <a:extLst>
                    <a:ext uri="{FF2B5EF4-FFF2-40B4-BE49-F238E27FC236}">
                      <a16:creationId xmlns:a16="http://schemas.microsoft.com/office/drawing/2014/main" id="{570943C6-E320-44AB-8D76-5609F373ABED}"/>
                    </a:ext>
                  </a:extLst>
                </p:cNvPr>
                <p:cNvPicPr/>
                <p:nvPr/>
              </p:nvPicPr>
              <p:blipFill>
                <a:blip r:embed="rId95"/>
                <a:stretch>
                  <a:fillRect/>
                </a:stretch>
              </p:blipFill>
              <p:spPr>
                <a:xfrm>
                  <a:off x="4607937" y="2638358"/>
                  <a:ext cx="66960" cy="112680"/>
                </a:xfrm>
                <a:prstGeom prst="rect">
                  <a:avLst/>
                </a:prstGeom>
              </p:spPr>
            </p:pic>
          </mc:Fallback>
        </mc:AlternateContent>
        <mc:AlternateContent xmlns:mc="http://schemas.openxmlformats.org/markup-compatibility/2006" xmlns:p14="http://schemas.microsoft.com/office/powerpoint/2010/main">
          <mc:Choice Requires="p14">
            <p:contentPart p14:bwMode="auto" r:id="rId96">
              <p14:nvContentPartPr>
                <p14:cNvPr id="93" name="Ink 92">
                  <a:extLst>
                    <a:ext uri="{FF2B5EF4-FFF2-40B4-BE49-F238E27FC236}">
                      <a16:creationId xmlns:a16="http://schemas.microsoft.com/office/drawing/2014/main" id="{9D44812A-A5A3-42E5-AF55-F1205B0D3AEA}"/>
                    </a:ext>
                  </a:extLst>
                </p14:cNvPr>
                <p14:cNvContentPartPr/>
                <p14:nvPr/>
              </p14:nvContentPartPr>
              <p14:xfrm>
                <a:off x="4767057" y="2624318"/>
                <a:ext cx="7920" cy="90360"/>
              </p14:xfrm>
            </p:contentPart>
          </mc:Choice>
          <mc:Fallback xmlns="">
            <p:pic>
              <p:nvPicPr>
                <p:cNvPr id="93" name="Ink 92">
                  <a:extLst>
                    <a:ext uri="{FF2B5EF4-FFF2-40B4-BE49-F238E27FC236}">
                      <a16:creationId xmlns:a16="http://schemas.microsoft.com/office/drawing/2014/main" id="{9D44812A-A5A3-42E5-AF55-F1205B0D3AEA}"/>
                    </a:ext>
                  </a:extLst>
                </p:cNvPr>
                <p:cNvPicPr/>
                <p:nvPr/>
              </p:nvPicPr>
              <p:blipFill>
                <a:blip r:embed="rId97"/>
                <a:stretch>
                  <a:fillRect/>
                </a:stretch>
              </p:blipFill>
              <p:spPr>
                <a:xfrm>
                  <a:off x="4762737" y="2619998"/>
                  <a:ext cx="16560" cy="99000"/>
                </a:xfrm>
                <a:prstGeom prst="rect">
                  <a:avLst/>
                </a:prstGeom>
              </p:spPr>
            </p:pic>
          </mc:Fallback>
        </mc:AlternateContent>
        <mc:AlternateContent xmlns:mc="http://schemas.openxmlformats.org/markup-compatibility/2006" xmlns:p14="http://schemas.microsoft.com/office/powerpoint/2010/main">
          <mc:Choice Requires="p14">
            <p:contentPart p14:bwMode="auto" r:id="rId98">
              <p14:nvContentPartPr>
                <p14:cNvPr id="94" name="Ink 93">
                  <a:extLst>
                    <a:ext uri="{FF2B5EF4-FFF2-40B4-BE49-F238E27FC236}">
                      <a16:creationId xmlns:a16="http://schemas.microsoft.com/office/drawing/2014/main" id="{3E07791C-A239-417F-BCCC-C715632EBAC4}"/>
                    </a:ext>
                  </a:extLst>
                </p14:cNvPr>
                <p14:cNvContentPartPr/>
                <p14:nvPr/>
              </p14:nvContentPartPr>
              <p14:xfrm>
                <a:off x="4725297" y="2673278"/>
                <a:ext cx="76320" cy="14040"/>
              </p14:xfrm>
            </p:contentPart>
          </mc:Choice>
          <mc:Fallback xmlns="">
            <p:pic>
              <p:nvPicPr>
                <p:cNvPr id="94" name="Ink 93">
                  <a:extLst>
                    <a:ext uri="{FF2B5EF4-FFF2-40B4-BE49-F238E27FC236}">
                      <a16:creationId xmlns:a16="http://schemas.microsoft.com/office/drawing/2014/main" id="{3E07791C-A239-417F-BCCC-C715632EBAC4}"/>
                    </a:ext>
                  </a:extLst>
                </p:cNvPr>
                <p:cNvPicPr/>
                <p:nvPr/>
              </p:nvPicPr>
              <p:blipFill>
                <a:blip r:embed="rId99"/>
                <a:stretch>
                  <a:fillRect/>
                </a:stretch>
              </p:blipFill>
              <p:spPr>
                <a:xfrm>
                  <a:off x="4720977" y="2668958"/>
                  <a:ext cx="84960" cy="22680"/>
                </a:xfrm>
                <a:prstGeom prst="rect">
                  <a:avLst/>
                </a:prstGeom>
              </p:spPr>
            </p:pic>
          </mc:Fallback>
        </mc:AlternateContent>
        <mc:AlternateContent xmlns:mc="http://schemas.openxmlformats.org/markup-compatibility/2006" xmlns:p14="http://schemas.microsoft.com/office/powerpoint/2010/main">
          <mc:Choice Requires="p14">
            <p:contentPart p14:bwMode="auto" r:id="rId100">
              <p14:nvContentPartPr>
                <p14:cNvPr id="96" name="Ink 95">
                  <a:extLst>
                    <a:ext uri="{FF2B5EF4-FFF2-40B4-BE49-F238E27FC236}">
                      <a16:creationId xmlns:a16="http://schemas.microsoft.com/office/drawing/2014/main" id="{45EEE506-88A2-4193-9C54-8C8449DFE730}"/>
                    </a:ext>
                  </a:extLst>
                </p14:cNvPr>
                <p14:cNvContentPartPr/>
                <p14:nvPr/>
              </p14:nvContentPartPr>
              <p14:xfrm>
                <a:off x="4936617" y="2603798"/>
                <a:ext cx="95760" cy="85320"/>
              </p14:xfrm>
            </p:contentPart>
          </mc:Choice>
          <mc:Fallback xmlns="">
            <p:pic>
              <p:nvPicPr>
                <p:cNvPr id="96" name="Ink 95">
                  <a:extLst>
                    <a:ext uri="{FF2B5EF4-FFF2-40B4-BE49-F238E27FC236}">
                      <a16:creationId xmlns:a16="http://schemas.microsoft.com/office/drawing/2014/main" id="{45EEE506-88A2-4193-9C54-8C8449DFE730}"/>
                    </a:ext>
                  </a:extLst>
                </p:cNvPr>
                <p:cNvPicPr/>
                <p:nvPr/>
              </p:nvPicPr>
              <p:blipFill>
                <a:blip r:embed="rId101"/>
                <a:stretch>
                  <a:fillRect/>
                </a:stretch>
              </p:blipFill>
              <p:spPr>
                <a:xfrm>
                  <a:off x="4932297" y="2599478"/>
                  <a:ext cx="104400" cy="93960"/>
                </a:xfrm>
                <a:prstGeom prst="rect">
                  <a:avLst/>
                </a:prstGeom>
              </p:spPr>
            </p:pic>
          </mc:Fallback>
        </mc:AlternateContent>
        <mc:AlternateContent xmlns:mc="http://schemas.openxmlformats.org/markup-compatibility/2006" xmlns:p14="http://schemas.microsoft.com/office/powerpoint/2010/main">
          <mc:Choice Requires="p14">
            <p:contentPart p14:bwMode="auto" r:id="rId102">
              <p14:nvContentPartPr>
                <p14:cNvPr id="97" name="Ink 96">
                  <a:extLst>
                    <a:ext uri="{FF2B5EF4-FFF2-40B4-BE49-F238E27FC236}">
                      <a16:creationId xmlns:a16="http://schemas.microsoft.com/office/drawing/2014/main" id="{B715EBB9-3E3F-4D08-ACA5-9DC3F8F6B292}"/>
                    </a:ext>
                  </a:extLst>
                </p14:cNvPr>
                <p14:cNvContentPartPr/>
                <p14:nvPr/>
              </p14:nvContentPartPr>
              <p14:xfrm>
                <a:off x="5088177" y="2666078"/>
                <a:ext cx="360" cy="360"/>
              </p14:xfrm>
            </p:contentPart>
          </mc:Choice>
          <mc:Fallback xmlns="">
            <p:pic>
              <p:nvPicPr>
                <p:cNvPr id="97" name="Ink 96">
                  <a:extLst>
                    <a:ext uri="{FF2B5EF4-FFF2-40B4-BE49-F238E27FC236}">
                      <a16:creationId xmlns:a16="http://schemas.microsoft.com/office/drawing/2014/main" id="{B715EBB9-3E3F-4D08-ACA5-9DC3F8F6B292}"/>
                    </a:ext>
                  </a:extLst>
                </p:cNvPr>
                <p:cNvPicPr/>
                <p:nvPr/>
              </p:nvPicPr>
              <p:blipFill>
                <a:blip r:embed="rId3"/>
                <a:stretch>
                  <a:fillRect/>
                </a:stretch>
              </p:blipFill>
              <p:spPr>
                <a:xfrm>
                  <a:off x="5083857" y="266175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3">
              <p14:nvContentPartPr>
                <p14:cNvPr id="98" name="Ink 97">
                  <a:extLst>
                    <a:ext uri="{FF2B5EF4-FFF2-40B4-BE49-F238E27FC236}">
                      <a16:creationId xmlns:a16="http://schemas.microsoft.com/office/drawing/2014/main" id="{D3A830D0-F0D6-44F5-B9F2-36FF45C191DB}"/>
                    </a:ext>
                  </a:extLst>
                </p14:cNvPr>
                <p14:cNvContentPartPr/>
                <p14:nvPr/>
              </p14:nvContentPartPr>
              <p14:xfrm>
                <a:off x="5131737" y="2589398"/>
                <a:ext cx="61920" cy="89280"/>
              </p14:xfrm>
            </p:contentPart>
          </mc:Choice>
          <mc:Fallback xmlns="">
            <p:pic>
              <p:nvPicPr>
                <p:cNvPr id="98" name="Ink 97">
                  <a:extLst>
                    <a:ext uri="{FF2B5EF4-FFF2-40B4-BE49-F238E27FC236}">
                      <a16:creationId xmlns:a16="http://schemas.microsoft.com/office/drawing/2014/main" id="{D3A830D0-F0D6-44F5-B9F2-36FF45C191DB}"/>
                    </a:ext>
                  </a:extLst>
                </p:cNvPr>
                <p:cNvPicPr/>
                <p:nvPr/>
              </p:nvPicPr>
              <p:blipFill>
                <a:blip r:embed="rId104"/>
                <a:stretch>
                  <a:fillRect/>
                </a:stretch>
              </p:blipFill>
              <p:spPr>
                <a:xfrm>
                  <a:off x="5127417" y="2585078"/>
                  <a:ext cx="70560" cy="97920"/>
                </a:xfrm>
                <a:prstGeom prst="rect">
                  <a:avLst/>
                </a:prstGeom>
              </p:spPr>
            </p:pic>
          </mc:Fallback>
        </mc:AlternateContent>
        <mc:AlternateContent xmlns:mc="http://schemas.openxmlformats.org/markup-compatibility/2006" xmlns:p14="http://schemas.microsoft.com/office/powerpoint/2010/main">
          <mc:Choice Requires="p14">
            <p:contentPart p14:bwMode="auto" r:id="rId105">
              <p14:nvContentPartPr>
                <p14:cNvPr id="99" name="Ink 98">
                  <a:extLst>
                    <a:ext uri="{FF2B5EF4-FFF2-40B4-BE49-F238E27FC236}">
                      <a16:creationId xmlns:a16="http://schemas.microsoft.com/office/drawing/2014/main" id="{20F5E6BA-171F-4F0C-A1E4-124FE3399DBA}"/>
                    </a:ext>
                  </a:extLst>
                </p14:cNvPr>
                <p14:cNvContentPartPr/>
                <p14:nvPr/>
              </p14:nvContentPartPr>
              <p14:xfrm>
                <a:off x="5229297" y="2595518"/>
                <a:ext cx="60840" cy="72360"/>
              </p14:xfrm>
            </p:contentPart>
          </mc:Choice>
          <mc:Fallback xmlns="">
            <p:pic>
              <p:nvPicPr>
                <p:cNvPr id="99" name="Ink 98">
                  <a:extLst>
                    <a:ext uri="{FF2B5EF4-FFF2-40B4-BE49-F238E27FC236}">
                      <a16:creationId xmlns:a16="http://schemas.microsoft.com/office/drawing/2014/main" id="{20F5E6BA-171F-4F0C-A1E4-124FE3399DBA}"/>
                    </a:ext>
                  </a:extLst>
                </p:cNvPr>
                <p:cNvPicPr/>
                <p:nvPr/>
              </p:nvPicPr>
              <p:blipFill>
                <a:blip r:embed="rId106"/>
                <a:stretch>
                  <a:fillRect/>
                </a:stretch>
              </p:blipFill>
              <p:spPr>
                <a:xfrm>
                  <a:off x="5224977" y="2591198"/>
                  <a:ext cx="69480" cy="810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07">
            <p14:nvContentPartPr>
              <p14:cNvPr id="101" name="Ink 100">
                <a:extLst>
                  <a:ext uri="{FF2B5EF4-FFF2-40B4-BE49-F238E27FC236}">
                    <a16:creationId xmlns:a16="http://schemas.microsoft.com/office/drawing/2014/main" id="{D9CAB537-CA15-47F7-898B-A67370E7504E}"/>
                  </a:ext>
                </a:extLst>
              </p14:cNvPr>
              <p14:cNvContentPartPr/>
              <p14:nvPr/>
            </p14:nvContentPartPr>
            <p14:xfrm>
              <a:off x="5576697" y="2351798"/>
              <a:ext cx="88920" cy="360"/>
            </p14:xfrm>
          </p:contentPart>
        </mc:Choice>
        <mc:Fallback xmlns="">
          <p:pic>
            <p:nvPicPr>
              <p:cNvPr id="101" name="Ink 100">
                <a:extLst>
                  <a:ext uri="{FF2B5EF4-FFF2-40B4-BE49-F238E27FC236}">
                    <a16:creationId xmlns:a16="http://schemas.microsoft.com/office/drawing/2014/main" id="{D9CAB537-CA15-47F7-898B-A67370E7504E}"/>
                  </a:ext>
                </a:extLst>
              </p:cNvPr>
              <p:cNvPicPr/>
              <p:nvPr/>
            </p:nvPicPr>
            <p:blipFill>
              <a:blip r:embed="rId108"/>
              <a:stretch>
                <a:fillRect/>
              </a:stretch>
            </p:blipFill>
            <p:spPr>
              <a:xfrm>
                <a:off x="5572377" y="2347478"/>
                <a:ext cx="97560" cy="9000"/>
              </a:xfrm>
              <a:prstGeom prst="rect">
                <a:avLst/>
              </a:prstGeom>
            </p:spPr>
          </p:pic>
        </mc:Fallback>
      </mc:AlternateContent>
      <p:grpSp>
        <p:nvGrpSpPr>
          <p:cNvPr id="104" name="Group 103">
            <a:extLst>
              <a:ext uri="{FF2B5EF4-FFF2-40B4-BE49-F238E27FC236}">
                <a16:creationId xmlns:a16="http://schemas.microsoft.com/office/drawing/2014/main" id="{673549E1-D675-42AA-BE35-08B353582A17}"/>
              </a:ext>
            </a:extLst>
          </p:cNvPr>
          <p:cNvGrpSpPr/>
          <p:nvPr/>
        </p:nvGrpSpPr>
        <p:grpSpPr>
          <a:xfrm>
            <a:off x="5583897" y="2416238"/>
            <a:ext cx="111600" cy="5760"/>
            <a:chOff x="5583897" y="2416238"/>
            <a:chExt cx="111600" cy="5760"/>
          </a:xfrm>
        </p:grpSpPr>
        <mc:AlternateContent xmlns:mc="http://schemas.openxmlformats.org/markup-compatibility/2006" xmlns:p14="http://schemas.microsoft.com/office/powerpoint/2010/main">
          <mc:Choice Requires="p14">
            <p:contentPart p14:bwMode="auto" r:id="rId109">
              <p14:nvContentPartPr>
                <p14:cNvPr id="102" name="Ink 101">
                  <a:extLst>
                    <a:ext uri="{FF2B5EF4-FFF2-40B4-BE49-F238E27FC236}">
                      <a16:creationId xmlns:a16="http://schemas.microsoft.com/office/drawing/2014/main" id="{385105F5-29F1-4053-8C51-F613A2E39263}"/>
                    </a:ext>
                  </a:extLst>
                </p14:cNvPr>
                <p14:cNvContentPartPr/>
                <p14:nvPr/>
              </p14:nvContentPartPr>
              <p14:xfrm>
                <a:off x="5583897" y="2416238"/>
                <a:ext cx="37440" cy="5760"/>
              </p14:xfrm>
            </p:contentPart>
          </mc:Choice>
          <mc:Fallback xmlns="">
            <p:pic>
              <p:nvPicPr>
                <p:cNvPr id="102" name="Ink 101">
                  <a:extLst>
                    <a:ext uri="{FF2B5EF4-FFF2-40B4-BE49-F238E27FC236}">
                      <a16:creationId xmlns:a16="http://schemas.microsoft.com/office/drawing/2014/main" id="{385105F5-29F1-4053-8C51-F613A2E39263}"/>
                    </a:ext>
                  </a:extLst>
                </p:cNvPr>
                <p:cNvPicPr/>
                <p:nvPr/>
              </p:nvPicPr>
              <p:blipFill>
                <a:blip r:embed="rId110"/>
                <a:stretch>
                  <a:fillRect/>
                </a:stretch>
              </p:blipFill>
              <p:spPr>
                <a:xfrm>
                  <a:off x="5579577" y="2411918"/>
                  <a:ext cx="46080" cy="14400"/>
                </a:xfrm>
                <a:prstGeom prst="rect">
                  <a:avLst/>
                </a:prstGeom>
              </p:spPr>
            </p:pic>
          </mc:Fallback>
        </mc:AlternateContent>
        <mc:AlternateContent xmlns:mc="http://schemas.openxmlformats.org/markup-compatibility/2006" xmlns:p14="http://schemas.microsoft.com/office/powerpoint/2010/main">
          <mc:Choice Requires="p14">
            <p:contentPart p14:bwMode="auto" r:id="rId111">
              <p14:nvContentPartPr>
                <p14:cNvPr id="103" name="Ink 102">
                  <a:extLst>
                    <a:ext uri="{FF2B5EF4-FFF2-40B4-BE49-F238E27FC236}">
                      <a16:creationId xmlns:a16="http://schemas.microsoft.com/office/drawing/2014/main" id="{397FCE79-ED80-4ED5-A468-FF0165DA9002}"/>
                    </a:ext>
                  </a:extLst>
                </p14:cNvPr>
                <p14:cNvContentPartPr/>
                <p14:nvPr/>
              </p14:nvContentPartPr>
              <p14:xfrm>
                <a:off x="5597937" y="2421638"/>
                <a:ext cx="97560" cy="360"/>
              </p14:xfrm>
            </p:contentPart>
          </mc:Choice>
          <mc:Fallback xmlns="">
            <p:pic>
              <p:nvPicPr>
                <p:cNvPr id="103" name="Ink 102">
                  <a:extLst>
                    <a:ext uri="{FF2B5EF4-FFF2-40B4-BE49-F238E27FC236}">
                      <a16:creationId xmlns:a16="http://schemas.microsoft.com/office/drawing/2014/main" id="{397FCE79-ED80-4ED5-A468-FF0165DA9002}"/>
                    </a:ext>
                  </a:extLst>
                </p:cNvPr>
                <p:cNvPicPr/>
                <p:nvPr/>
              </p:nvPicPr>
              <p:blipFill>
                <a:blip r:embed="rId112"/>
                <a:stretch>
                  <a:fillRect/>
                </a:stretch>
              </p:blipFill>
              <p:spPr>
                <a:xfrm>
                  <a:off x="5593617" y="2417318"/>
                  <a:ext cx="106200" cy="9000"/>
                </a:xfrm>
                <a:prstGeom prst="rect">
                  <a:avLst/>
                </a:prstGeom>
              </p:spPr>
            </p:pic>
          </mc:Fallback>
        </mc:AlternateContent>
      </p:grpSp>
    </p:spTree>
    <p:extLst>
      <p:ext uri="{BB962C8B-B14F-4D97-AF65-F5344CB8AC3E}">
        <p14:creationId xmlns:p14="http://schemas.microsoft.com/office/powerpoint/2010/main" val="1236711108"/>
      </p:ext>
    </p:extLst>
  </p:cSld>
  <p:clrMapOvr>
    <a:masterClrMapping/>
  </p:clrMapOvr>
  <p:transition spd="med">
    <p:wipe dir="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EECB27-EAA2-4EE0-A357-855C3ABB6A5B}"/>
              </a:ext>
            </a:extLst>
          </p:cNvPr>
          <p:cNvSpPr>
            <a:spLocks noGrp="1"/>
          </p:cNvSpPr>
          <p:nvPr>
            <p:ph type="title"/>
          </p:nvPr>
        </p:nvSpPr>
        <p:spPr>
          <a:xfrm>
            <a:off x="0" y="0"/>
            <a:ext cx="7955280" cy="640080"/>
          </a:xfrm>
        </p:spPr>
        <p:txBody>
          <a:bodyPr/>
          <a:lstStyle/>
          <a:p>
            <a:r>
              <a:rPr lang="en-US" dirty="0"/>
              <a:t>Harmonic Mean - </a:t>
            </a:r>
            <a:r>
              <a:rPr lang="en-US" sz="2400" dirty="0">
                <a:solidFill>
                  <a:schemeClr val="bg2">
                    <a:lumMod val="50000"/>
                    <a:lumOff val="50000"/>
                  </a:schemeClr>
                </a:solidFill>
              </a:rPr>
              <a:t>Continued</a:t>
            </a:r>
            <a:endParaRPr lang="en-US" dirty="0">
              <a:solidFill>
                <a:schemeClr val="bg2">
                  <a:lumMod val="50000"/>
                  <a:lumOff val="50000"/>
                </a:schemeClr>
              </a:solidFill>
            </a:endParaRPr>
          </a:p>
        </p:txBody>
      </p:sp>
      <p:sp>
        <p:nvSpPr>
          <p:cNvPr id="4" name="Content Placeholder 3">
            <a:extLst>
              <a:ext uri="{FF2B5EF4-FFF2-40B4-BE49-F238E27FC236}">
                <a16:creationId xmlns:a16="http://schemas.microsoft.com/office/drawing/2014/main" id="{B5302A69-3D48-4326-8584-D4306A30249E}"/>
              </a:ext>
            </a:extLst>
          </p:cNvPr>
          <p:cNvSpPr>
            <a:spLocks noGrp="1"/>
          </p:cNvSpPr>
          <p:nvPr>
            <p:ph sz="half" idx="1"/>
          </p:nvPr>
        </p:nvSpPr>
        <p:spPr>
          <a:xfrm>
            <a:off x="176598" y="854632"/>
            <a:ext cx="7955280" cy="3811163"/>
          </a:xfrm>
        </p:spPr>
        <p:txBody>
          <a:bodyPr/>
          <a:lstStyle/>
          <a:p>
            <a:r>
              <a:rPr lang="en-US" dirty="0">
                <a:solidFill>
                  <a:schemeClr val="bg2">
                    <a:lumMod val="50000"/>
                    <a:lumOff val="50000"/>
                  </a:schemeClr>
                </a:solidFill>
                <a:latin typeface="Inter"/>
              </a:rPr>
              <a:t>The Harmonic mean is the reciprocal of the average of the reciprocals</a:t>
            </a:r>
          </a:p>
          <a:p>
            <a:r>
              <a:rPr lang="en-US" dirty="0">
                <a:solidFill>
                  <a:schemeClr val="bg2">
                    <a:lumMod val="50000"/>
                    <a:lumOff val="50000"/>
                  </a:schemeClr>
                </a:solidFill>
                <a:latin typeface="Inter"/>
              </a:rPr>
              <a:t>The formula is : </a:t>
            </a:r>
          </a:p>
          <a:p>
            <a:pPr lvl="1"/>
            <a:endParaRPr lang="en-US" dirty="0"/>
          </a:p>
        </p:txBody>
      </p:sp>
      <p:pic>
        <p:nvPicPr>
          <p:cNvPr id="6" name="Picture 5">
            <a:extLst>
              <a:ext uri="{FF2B5EF4-FFF2-40B4-BE49-F238E27FC236}">
                <a16:creationId xmlns:a16="http://schemas.microsoft.com/office/drawing/2014/main" id="{1E1A9138-205F-4B7A-8E4D-495313CAAA7C}"/>
              </a:ext>
            </a:extLst>
          </p:cNvPr>
          <p:cNvPicPr>
            <a:picLocks noChangeAspect="1"/>
          </p:cNvPicPr>
          <p:nvPr/>
        </p:nvPicPr>
        <p:blipFill>
          <a:blip r:embed="rId2"/>
          <a:stretch>
            <a:fillRect/>
          </a:stretch>
        </p:blipFill>
        <p:spPr>
          <a:xfrm>
            <a:off x="947555" y="1570570"/>
            <a:ext cx="5791147" cy="537436"/>
          </a:xfrm>
          <a:prstGeom prst="rect">
            <a:avLst/>
          </a:prstGeom>
        </p:spPr>
      </p:pic>
      <p:sp>
        <p:nvSpPr>
          <p:cNvPr id="7" name="TextBox 6">
            <a:extLst>
              <a:ext uri="{FF2B5EF4-FFF2-40B4-BE49-F238E27FC236}">
                <a16:creationId xmlns:a16="http://schemas.microsoft.com/office/drawing/2014/main" id="{DDA14BC5-E68B-44F9-AF61-3F4A96899004}"/>
              </a:ext>
            </a:extLst>
          </p:cNvPr>
          <p:cNvSpPr txBox="1"/>
          <p:nvPr/>
        </p:nvSpPr>
        <p:spPr>
          <a:xfrm>
            <a:off x="2132117" y="2014781"/>
            <a:ext cx="5003026" cy="307777"/>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q"/>
            </a:pPr>
            <a:r>
              <a:rPr lang="en-US" sz="1400" i="1" dirty="0">
                <a:solidFill>
                  <a:schemeClr val="bg2"/>
                </a:solidFill>
                <a:latin typeface="+mn-lt"/>
              </a:rPr>
              <a:t>a1, a2,a3,.. are the values and n being how many values</a:t>
            </a:r>
          </a:p>
        </p:txBody>
      </p:sp>
      <p:sp>
        <p:nvSpPr>
          <p:cNvPr id="9" name="TextBox 8">
            <a:extLst>
              <a:ext uri="{FF2B5EF4-FFF2-40B4-BE49-F238E27FC236}">
                <a16:creationId xmlns:a16="http://schemas.microsoft.com/office/drawing/2014/main" id="{E971881A-FAFB-4FE7-9BFB-69C4060B8AA2}"/>
              </a:ext>
            </a:extLst>
          </p:cNvPr>
          <p:cNvSpPr txBox="1"/>
          <p:nvPr/>
        </p:nvSpPr>
        <p:spPr>
          <a:xfrm>
            <a:off x="69800" y="2553863"/>
            <a:ext cx="8669351" cy="1200329"/>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Why Harmonic Mean ?</a:t>
            </a:r>
          </a:p>
          <a:p>
            <a:pPr>
              <a:spcBef>
                <a:spcPts val="0"/>
              </a:spcBef>
              <a:spcAft>
                <a:spcPts val="0"/>
              </a:spcAft>
              <a:buClr>
                <a:schemeClr val="bg1"/>
              </a:buClr>
            </a:pPr>
            <a:endParaRPr lang="en-US" sz="1800" dirty="0">
              <a:solidFill>
                <a:schemeClr val="bg2">
                  <a:lumMod val="50000"/>
                  <a:lumOff val="50000"/>
                </a:schemeClr>
              </a:solidFill>
              <a:latin typeface="Inter"/>
              <a:cs typeface="Arial" panose="020B0604020202020204" pitchFamily="34" charset="0"/>
            </a:endParaRPr>
          </a:p>
          <a:p>
            <a:pPr marL="285750" indent="-285750">
              <a:spcBef>
                <a:spcPts val="0"/>
              </a:spcBef>
              <a:spcAft>
                <a:spcPts val="0"/>
              </a:spcAft>
              <a:buClr>
                <a:schemeClr val="bg1"/>
              </a:buClr>
              <a:buFont typeface="Wingdings" panose="05000000000000000000" pitchFamily="2" charset="2"/>
              <a:buChar char="q"/>
            </a:pPr>
            <a:r>
              <a:rPr lang="en-US" sz="1800" dirty="0">
                <a:solidFill>
                  <a:schemeClr val="bg2">
                    <a:lumMod val="50000"/>
                    <a:lumOff val="50000"/>
                  </a:schemeClr>
                </a:solidFill>
                <a:latin typeface="Inter"/>
                <a:cs typeface="Arial" panose="020B0604020202020204" pitchFamily="34" charset="0"/>
              </a:rPr>
              <a:t>Ex : Example : A car is travelling at 80 km/</a:t>
            </a:r>
            <a:r>
              <a:rPr lang="en-US" sz="1800" dirty="0" err="1">
                <a:solidFill>
                  <a:schemeClr val="bg2">
                    <a:lumMod val="50000"/>
                    <a:lumOff val="50000"/>
                  </a:schemeClr>
                </a:solidFill>
                <a:latin typeface="Inter"/>
                <a:cs typeface="Arial" panose="020B0604020202020204" pitchFamily="34" charset="0"/>
              </a:rPr>
              <a:t>hr</a:t>
            </a:r>
            <a:r>
              <a:rPr lang="en-US" sz="1800" dirty="0">
                <a:solidFill>
                  <a:schemeClr val="bg2">
                    <a:lumMod val="50000"/>
                    <a:lumOff val="50000"/>
                  </a:schemeClr>
                </a:solidFill>
                <a:latin typeface="Inter"/>
                <a:cs typeface="Arial" panose="020B0604020202020204" pitchFamily="34" charset="0"/>
              </a:rPr>
              <a:t> for 20km and then a another 20km at 50 km/</a:t>
            </a:r>
            <a:r>
              <a:rPr lang="en-US" sz="1800" dirty="0" err="1">
                <a:solidFill>
                  <a:schemeClr val="bg2">
                    <a:lumMod val="50000"/>
                    <a:lumOff val="50000"/>
                  </a:schemeClr>
                </a:solidFill>
                <a:latin typeface="Inter"/>
                <a:cs typeface="Arial" panose="020B0604020202020204" pitchFamily="34" charset="0"/>
              </a:rPr>
              <a:t>hr</a:t>
            </a:r>
            <a:r>
              <a:rPr lang="en-US" sz="1800" dirty="0">
                <a:solidFill>
                  <a:schemeClr val="bg2">
                    <a:lumMod val="50000"/>
                    <a:lumOff val="50000"/>
                  </a:schemeClr>
                </a:solidFill>
                <a:latin typeface="Inter"/>
                <a:cs typeface="Arial" panose="020B0604020202020204" pitchFamily="34" charset="0"/>
              </a:rPr>
              <a:t>, what is cars average speed? </a:t>
            </a:r>
          </a:p>
        </p:txBody>
      </p:sp>
    </p:spTree>
    <p:extLst>
      <p:ext uri="{BB962C8B-B14F-4D97-AF65-F5344CB8AC3E}">
        <p14:creationId xmlns:p14="http://schemas.microsoft.com/office/powerpoint/2010/main" val="3158841867"/>
      </p:ext>
    </p:extLst>
  </p:cSld>
  <p:clrMapOvr>
    <a:masterClrMapping/>
  </p:clrMapOvr>
  <p:transition spd="med">
    <p:wipe dir="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CFC01E-EA6B-43E8-BBC9-193147DFA0CA}"/>
              </a:ext>
            </a:extLst>
          </p:cNvPr>
          <p:cNvSpPr>
            <a:spLocks noGrp="1"/>
          </p:cNvSpPr>
          <p:nvPr>
            <p:ph type="title"/>
          </p:nvPr>
        </p:nvSpPr>
        <p:spPr>
          <a:xfrm>
            <a:off x="99816" y="27981"/>
            <a:ext cx="7955280" cy="640080"/>
          </a:xfrm>
        </p:spPr>
        <p:txBody>
          <a:bodyPr/>
          <a:lstStyle/>
          <a:p>
            <a:r>
              <a:rPr lang="en-US" dirty="0"/>
              <a:t>Harmonic Mean</a:t>
            </a:r>
          </a:p>
        </p:txBody>
      </p:sp>
      <p:sp>
        <p:nvSpPr>
          <p:cNvPr id="4" name="Content Placeholder 3">
            <a:extLst>
              <a:ext uri="{FF2B5EF4-FFF2-40B4-BE49-F238E27FC236}">
                <a16:creationId xmlns:a16="http://schemas.microsoft.com/office/drawing/2014/main" id="{E713E63C-EBD1-4963-862B-4E27D9C33808}"/>
              </a:ext>
            </a:extLst>
          </p:cNvPr>
          <p:cNvSpPr>
            <a:spLocks noGrp="1"/>
          </p:cNvSpPr>
          <p:nvPr>
            <p:ph sz="half" idx="1"/>
          </p:nvPr>
        </p:nvSpPr>
        <p:spPr>
          <a:xfrm>
            <a:off x="99816" y="640691"/>
            <a:ext cx="8967402" cy="3862118"/>
          </a:xfrm>
        </p:spPr>
        <p:txBody>
          <a:bodyPr/>
          <a:lstStyle/>
          <a:p>
            <a:pPr>
              <a:buFont typeface="Wingdings" panose="05000000000000000000" pitchFamily="2" charset="2"/>
              <a:buChar char="q"/>
            </a:pPr>
            <a:r>
              <a:rPr lang="en-US" sz="2000" b="1" dirty="0">
                <a:solidFill>
                  <a:schemeClr val="bg2">
                    <a:lumMod val="50000"/>
                    <a:lumOff val="50000"/>
                  </a:schemeClr>
                </a:solidFill>
                <a:latin typeface="Inter"/>
                <a:cs typeface="Arial" panose="020B0604020202020204" pitchFamily="34" charset="0"/>
              </a:rPr>
              <a:t>Find harmonic mean of 4, 6, 8, 100  </a:t>
            </a:r>
          </a:p>
          <a:p>
            <a:endParaRPr lang="en-US" dirty="0">
              <a:solidFill>
                <a:schemeClr val="bg2">
                  <a:lumMod val="50000"/>
                  <a:lumOff val="50000"/>
                </a:schemeClr>
              </a:solidFill>
              <a:latin typeface="Inter"/>
            </a:endParaRPr>
          </a:p>
        </p:txBody>
      </p:sp>
    </p:spTree>
    <p:extLst>
      <p:ext uri="{BB962C8B-B14F-4D97-AF65-F5344CB8AC3E}">
        <p14:creationId xmlns:p14="http://schemas.microsoft.com/office/powerpoint/2010/main" val="3983213857"/>
      </p:ext>
    </p:extLst>
  </p:cSld>
  <p:clrMapOvr>
    <a:masterClrMapping/>
  </p:clrMapOvr>
  <p:transition spd="med">
    <p:wipe dir="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0CBCE88-F32A-46E6-B441-39E55F5DE739}"/>
              </a:ext>
            </a:extLst>
          </p:cNvPr>
          <p:cNvSpPr>
            <a:spLocks noGrp="1"/>
          </p:cNvSpPr>
          <p:nvPr>
            <p:ph type="title"/>
          </p:nvPr>
        </p:nvSpPr>
        <p:spPr>
          <a:xfrm>
            <a:off x="0" y="0"/>
            <a:ext cx="7955280" cy="640080"/>
          </a:xfrm>
        </p:spPr>
        <p:txBody>
          <a:bodyPr/>
          <a:lstStyle/>
          <a:p>
            <a:r>
              <a:rPr lang="en-US" dirty="0"/>
              <a:t>Conclusion : Mean, Median, Mode</a:t>
            </a:r>
          </a:p>
        </p:txBody>
      </p:sp>
      <p:sp>
        <p:nvSpPr>
          <p:cNvPr id="4" name="Content Placeholder 3">
            <a:extLst>
              <a:ext uri="{FF2B5EF4-FFF2-40B4-BE49-F238E27FC236}">
                <a16:creationId xmlns:a16="http://schemas.microsoft.com/office/drawing/2014/main" id="{0A4320CA-59D2-4476-A3FC-D912E3A0EBDE}"/>
              </a:ext>
            </a:extLst>
          </p:cNvPr>
          <p:cNvSpPr>
            <a:spLocks noGrp="1"/>
          </p:cNvSpPr>
          <p:nvPr>
            <p:ph sz="half" idx="1"/>
          </p:nvPr>
        </p:nvSpPr>
        <p:spPr>
          <a:xfrm>
            <a:off x="155657" y="744781"/>
            <a:ext cx="7955280" cy="3017520"/>
          </a:xfrm>
        </p:spPr>
        <p:txBody>
          <a:bodyPr>
            <a:normAutofit lnSpcReduction="10000"/>
          </a:bodyPr>
          <a:lstStyle/>
          <a:p>
            <a:r>
              <a:rPr lang="en-US" sz="2800" b="1" dirty="0">
                <a:solidFill>
                  <a:schemeClr val="bg2">
                    <a:lumMod val="50000"/>
                    <a:lumOff val="50000"/>
                  </a:schemeClr>
                </a:solidFill>
              </a:rPr>
              <a:t>A measure of central tendency is a measure that tells us where the middle of a bunch of data lies. The three most common measures of central tendency are the mean, the median, and the mode.</a:t>
            </a:r>
          </a:p>
          <a:p>
            <a:r>
              <a:rPr lang="en-US" sz="2800" b="1" dirty="0">
                <a:solidFill>
                  <a:schemeClr val="bg2">
                    <a:lumMod val="50000"/>
                    <a:lumOff val="50000"/>
                  </a:schemeClr>
                </a:solidFill>
              </a:rPr>
              <a:t>Use the one that best suits your data. Or better still use all three !</a:t>
            </a:r>
          </a:p>
        </p:txBody>
      </p:sp>
    </p:spTree>
    <p:extLst>
      <p:ext uri="{BB962C8B-B14F-4D97-AF65-F5344CB8AC3E}">
        <p14:creationId xmlns:p14="http://schemas.microsoft.com/office/powerpoint/2010/main" val="142900990"/>
      </p:ext>
    </p:extLst>
  </p:cSld>
  <p:clrMapOvr>
    <a:masterClrMapping/>
  </p:clrMapOvr>
  <p:transition spd="med">
    <p:wipe dir="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6C462B2-9098-4F9E-B15A-40E3AA3A6352}"/>
              </a:ext>
            </a:extLst>
          </p:cNvPr>
          <p:cNvSpPr>
            <a:spLocks noGrp="1"/>
          </p:cNvSpPr>
          <p:nvPr>
            <p:ph type="title"/>
          </p:nvPr>
        </p:nvSpPr>
        <p:spPr>
          <a:xfrm>
            <a:off x="0" y="27981"/>
            <a:ext cx="7955280" cy="640080"/>
          </a:xfrm>
        </p:spPr>
        <p:txBody>
          <a:bodyPr/>
          <a:lstStyle/>
          <a:p>
            <a:r>
              <a:rPr lang="en-US" dirty="0"/>
              <a:t>The Mean from a Frequency Table</a:t>
            </a:r>
          </a:p>
        </p:txBody>
      </p:sp>
      <p:sp>
        <p:nvSpPr>
          <p:cNvPr id="4" name="Content Placeholder 3">
            <a:extLst>
              <a:ext uri="{FF2B5EF4-FFF2-40B4-BE49-F238E27FC236}">
                <a16:creationId xmlns:a16="http://schemas.microsoft.com/office/drawing/2014/main" id="{71B3E98E-0974-4A9D-8EB5-A9CB714EE14D}"/>
              </a:ext>
            </a:extLst>
          </p:cNvPr>
          <p:cNvSpPr>
            <a:spLocks noGrp="1"/>
          </p:cNvSpPr>
          <p:nvPr>
            <p:ph sz="half" idx="1"/>
          </p:nvPr>
        </p:nvSpPr>
        <p:spPr>
          <a:xfrm>
            <a:off x="48861" y="765783"/>
            <a:ext cx="6728867" cy="1251481"/>
          </a:xfrm>
        </p:spPr>
        <p:txBody>
          <a:bodyPr/>
          <a:lstStyle/>
          <a:p>
            <a:r>
              <a:rPr lang="en-US" dirty="0">
                <a:solidFill>
                  <a:schemeClr val="bg2">
                    <a:lumMod val="50000"/>
                    <a:lumOff val="50000"/>
                  </a:schemeClr>
                </a:solidFill>
                <a:latin typeface="Inter"/>
              </a:rPr>
              <a:t>It is easy to calculate Mean : Add up all the numbers, then divide by how many numbers there are. </a:t>
            </a:r>
          </a:p>
          <a:p>
            <a:pPr lvl="1"/>
            <a:r>
              <a:rPr lang="en-US" sz="1400" dirty="0">
                <a:solidFill>
                  <a:schemeClr val="bg2">
                    <a:lumMod val="50000"/>
                    <a:lumOff val="50000"/>
                  </a:schemeClr>
                </a:solidFill>
                <a:latin typeface="Inter"/>
              </a:rPr>
              <a:t>Ex : What is the Mean of these numbers?</a:t>
            </a:r>
          </a:p>
          <a:p>
            <a:pPr lvl="2"/>
            <a:r>
              <a:rPr lang="en-US" sz="1400" dirty="0">
                <a:solidFill>
                  <a:schemeClr val="bg2">
                    <a:lumMod val="50000"/>
                    <a:lumOff val="50000"/>
                  </a:schemeClr>
                </a:solidFill>
                <a:latin typeface="Inter"/>
              </a:rPr>
              <a:t>6, 11, 7</a:t>
            </a:r>
          </a:p>
          <a:p>
            <a:pPr lvl="2"/>
            <a:r>
              <a:rPr lang="en-US" sz="1400" dirty="0">
                <a:solidFill>
                  <a:schemeClr val="bg2">
                    <a:lumMod val="50000"/>
                    <a:lumOff val="50000"/>
                  </a:schemeClr>
                </a:solidFill>
                <a:latin typeface="Inter"/>
              </a:rPr>
              <a:t>Add the numbers &amp; Divide by 3 : (6 + 11 + 7) / 3. </a:t>
            </a:r>
            <a:r>
              <a:rPr lang="en-US" sz="1400" b="1" i="1" dirty="0">
                <a:solidFill>
                  <a:schemeClr val="bg2">
                    <a:lumMod val="50000"/>
                    <a:lumOff val="50000"/>
                  </a:schemeClr>
                </a:solidFill>
                <a:latin typeface="Inter"/>
              </a:rPr>
              <a:t>Mean is 8 </a:t>
            </a:r>
          </a:p>
          <a:p>
            <a:pPr lvl="2"/>
            <a:endParaRPr lang="en-US" sz="1400" b="1" i="1" dirty="0">
              <a:solidFill>
                <a:schemeClr val="bg2">
                  <a:lumMod val="50000"/>
                  <a:lumOff val="50000"/>
                </a:schemeClr>
              </a:solidFill>
              <a:latin typeface="Inter"/>
            </a:endParaRPr>
          </a:p>
          <a:p>
            <a:pPr lvl="2"/>
            <a:endParaRPr lang="en-US" sz="1400" b="1" i="1" dirty="0">
              <a:solidFill>
                <a:schemeClr val="bg2">
                  <a:lumMod val="50000"/>
                  <a:lumOff val="50000"/>
                </a:schemeClr>
              </a:solidFill>
              <a:latin typeface="Inter"/>
            </a:endParaRPr>
          </a:p>
        </p:txBody>
      </p:sp>
      <p:sp>
        <p:nvSpPr>
          <p:cNvPr id="7" name="TextBox 6">
            <a:extLst>
              <a:ext uri="{FF2B5EF4-FFF2-40B4-BE49-F238E27FC236}">
                <a16:creationId xmlns:a16="http://schemas.microsoft.com/office/drawing/2014/main" id="{CBFD15FC-B763-4689-A555-569FEEEBA5DC}"/>
              </a:ext>
            </a:extLst>
          </p:cNvPr>
          <p:cNvSpPr txBox="1"/>
          <p:nvPr/>
        </p:nvSpPr>
        <p:spPr>
          <a:xfrm>
            <a:off x="48860" y="2205512"/>
            <a:ext cx="6950779"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But sometimes we don't have a simple list of numbers, it might be a </a:t>
            </a:r>
            <a:r>
              <a:rPr lang="en-US" sz="1400" b="1" dirty="0">
                <a:solidFill>
                  <a:schemeClr val="bg2">
                    <a:lumMod val="50000"/>
                    <a:lumOff val="50000"/>
                  </a:schemeClr>
                </a:solidFill>
                <a:latin typeface="Inter"/>
                <a:cs typeface="Arial" panose="020B0604020202020204" pitchFamily="34" charset="0"/>
              </a:rPr>
              <a:t>frequency table </a:t>
            </a:r>
            <a:r>
              <a:rPr lang="en-US" sz="1400" dirty="0">
                <a:solidFill>
                  <a:schemeClr val="bg2">
                    <a:lumMod val="50000"/>
                    <a:lumOff val="50000"/>
                  </a:schemeClr>
                </a:solidFill>
                <a:latin typeface="Inter"/>
                <a:cs typeface="Arial" panose="020B0604020202020204" pitchFamily="34" charset="0"/>
              </a:rPr>
              <a:t>like this (the "frequency" says how often they occur):</a:t>
            </a:r>
            <a:endParaRPr lang="en-US" sz="1400" dirty="0">
              <a:solidFill>
                <a:schemeClr val="bg2"/>
              </a:solidFill>
              <a:latin typeface="+mn-lt"/>
            </a:endParaRPr>
          </a:p>
        </p:txBody>
      </p:sp>
      <p:pic>
        <p:nvPicPr>
          <p:cNvPr id="9" name="Picture 8">
            <a:extLst>
              <a:ext uri="{FF2B5EF4-FFF2-40B4-BE49-F238E27FC236}">
                <a16:creationId xmlns:a16="http://schemas.microsoft.com/office/drawing/2014/main" id="{05C3B33C-63E7-4CA8-AE9F-A05162C62A6E}"/>
              </a:ext>
            </a:extLst>
          </p:cNvPr>
          <p:cNvPicPr>
            <a:picLocks noChangeAspect="1"/>
          </p:cNvPicPr>
          <p:nvPr/>
        </p:nvPicPr>
        <p:blipFill>
          <a:blip r:embed="rId2"/>
          <a:stretch>
            <a:fillRect/>
          </a:stretch>
        </p:blipFill>
        <p:spPr>
          <a:xfrm>
            <a:off x="6924311" y="1689362"/>
            <a:ext cx="2219689" cy="1878713"/>
          </a:xfrm>
          <a:prstGeom prst="rect">
            <a:avLst/>
          </a:prstGeom>
        </p:spPr>
      </p:pic>
      <p:sp>
        <p:nvSpPr>
          <p:cNvPr id="13" name="TextBox 12">
            <a:extLst>
              <a:ext uri="{FF2B5EF4-FFF2-40B4-BE49-F238E27FC236}">
                <a16:creationId xmlns:a16="http://schemas.microsoft.com/office/drawing/2014/main" id="{0A0536CE-DB43-41F4-904B-13D49F0C36A6}"/>
              </a:ext>
            </a:extLst>
          </p:cNvPr>
          <p:cNvSpPr txBox="1"/>
          <p:nvPr/>
        </p:nvSpPr>
        <p:spPr>
          <a:xfrm>
            <a:off x="160543" y="2916980"/>
            <a:ext cx="7063915" cy="369332"/>
          </a:xfrm>
          <a:prstGeom prst="rect">
            <a:avLst/>
          </a:prstGeom>
          <a:noFill/>
        </p:spPr>
        <p:txBody>
          <a:bodyPr wrap="square" rtlCol="0">
            <a:spAutoFit/>
          </a:bodyPr>
          <a:lstStyle/>
          <a:p>
            <a:pPr>
              <a:spcBef>
                <a:spcPts val="0"/>
              </a:spcBef>
              <a:spcAft>
                <a:spcPts val="0"/>
              </a:spcAft>
              <a:buClr>
                <a:schemeClr val="bg1"/>
              </a:buClr>
            </a:pPr>
            <a:r>
              <a:rPr lang="en-US" sz="1800" b="1" dirty="0">
                <a:solidFill>
                  <a:srgbClr val="007DB8"/>
                </a:solidFill>
                <a:latin typeface="Arial" panose="020B0604020202020204" pitchFamily="34" charset="0"/>
                <a:cs typeface="Arial" panose="020B0604020202020204" pitchFamily="34" charset="0"/>
              </a:rPr>
              <a:t>Method 1 : </a:t>
            </a:r>
            <a:r>
              <a:rPr lang="en-US" sz="1800" b="1" dirty="0">
                <a:solidFill>
                  <a:schemeClr val="bg2">
                    <a:lumMod val="50000"/>
                    <a:lumOff val="50000"/>
                  </a:schemeClr>
                </a:solidFill>
                <a:latin typeface="Arial" panose="020B0604020202020204" pitchFamily="34" charset="0"/>
                <a:cs typeface="Arial" panose="020B0604020202020204" pitchFamily="34" charset="0"/>
              </a:rPr>
              <a:t>We can list all the numbers</a:t>
            </a:r>
          </a:p>
        </p:txBody>
      </p:sp>
    </p:spTree>
    <p:extLst>
      <p:ext uri="{BB962C8B-B14F-4D97-AF65-F5344CB8AC3E}">
        <p14:creationId xmlns:p14="http://schemas.microsoft.com/office/powerpoint/2010/main" val="4077311094"/>
      </p:ext>
    </p:extLst>
  </p:cSld>
  <p:clrMapOvr>
    <a:masterClrMapping/>
  </p:clrMapOvr>
  <p:transition spd="med">
    <p:wipe dir="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247FCC-648D-405D-B74C-DC5AA1A2FA39}"/>
              </a:ext>
            </a:extLst>
          </p:cNvPr>
          <p:cNvSpPr>
            <a:spLocks noGrp="1"/>
          </p:cNvSpPr>
          <p:nvPr>
            <p:ph type="title"/>
          </p:nvPr>
        </p:nvSpPr>
        <p:spPr>
          <a:xfrm>
            <a:off x="0" y="0"/>
            <a:ext cx="7955280" cy="640080"/>
          </a:xfrm>
        </p:spPr>
        <p:txBody>
          <a:bodyPr/>
          <a:lstStyle/>
          <a:p>
            <a:r>
              <a:rPr lang="en-US" dirty="0"/>
              <a:t>The Mean from a Frequency Table - </a:t>
            </a:r>
            <a:r>
              <a:rPr lang="en-US" b="1" dirty="0">
                <a:solidFill>
                  <a:schemeClr val="bg2">
                    <a:lumMod val="50000"/>
                    <a:lumOff val="50000"/>
                  </a:schemeClr>
                </a:solidFill>
              </a:rPr>
              <a:t>Continued</a:t>
            </a:r>
          </a:p>
        </p:txBody>
      </p:sp>
      <p:sp>
        <p:nvSpPr>
          <p:cNvPr id="5" name="Content Placeholder 4">
            <a:extLst>
              <a:ext uri="{FF2B5EF4-FFF2-40B4-BE49-F238E27FC236}">
                <a16:creationId xmlns:a16="http://schemas.microsoft.com/office/drawing/2014/main" id="{CF1C8607-03FF-4056-8357-79E38FF403FC}"/>
              </a:ext>
            </a:extLst>
          </p:cNvPr>
          <p:cNvSpPr txBox="1">
            <a:spLocks noGrp="1"/>
          </p:cNvSpPr>
          <p:nvPr>
            <p:ph sz="half" idx="1"/>
          </p:nvPr>
        </p:nvSpPr>
        <p:spPr>
          <a:xfrm>
            <a:off x="121305" y="697773"/>
            <a:ext cx="7954963" cy="276999"/>
          </a:xfrm>
          <a:prstGeom prst="rect">
            <a:avLst/>
          </a:prstGeom>
          <a:noFill/>
        </p:spPr>
        <p:txBody>
          <a:bodyPr wrap="square" rtlCol="0">
            <a:spAutoFit/>
          </a:bodyPr>
          <a:lstStyle/>
          <a:p>
            <a:pPr marL="0" indent="0">
              <a:spcBef>
                <a:spcPts val="0"/>
              </a:spcBef>
              <a:spcAft>
                <a:spcPts val="0"/>
              </a:spcAft>
              <a:buClr>
                <a:schemeClr val="bg1"/>
              </a:buClr>
              <a:buNone/>
            </a:pPr>
            <a:r>
              <a:rPr lang="en-US" sz="1800" b="1" dirty="0">
                <a:solidFill>
                  <a:srgbClr val="007DB8"/>
                </a:solidFill>
                <a:latin typeface="Arial" panose="020B0604020202020204" pitchFamily="34" charset="0"/>
                <a:cs typeface="Arial" panose="020B0604020202020204" pitchFamily="34" charset="0"/>
              </a:rPr>
              <a:t>Method </a:t>
            </a:r>
            <a:r>
              <a:rPr lang="en-US" sz="1800" b="1" dirty="0">
                <a:solidFill>
                  <a:srgbClr val="007DB8"/>
                </a:solidFill>
              </a:rPr>
              <a:t>2</a:t>
            </a:r>
            <a:r>
              <a:rPr lang="en-US" sz="1800" b="1" dirty="0">
                <a:solidFill>
                  <a:srgbClr val="007DB8"/>
                </a:solidFill>
                <a:latin typeface="Arial" panose="020B0604020202020204" pitchFamily="34" charset="0"/>
                <a:cs typeface="Arial" panose="020B0604020202020204" pitchFamily="34" charset="0"/>
              </a:rPr>
              <a:t> : </a:t>
            </a:r>
            <a:r>
              <a:rPr lang="en-US" sz="1800" b="1" dirty="0">
                <a:solidFill>
                  <a:schemeClr val="bg2">
                    <a:lumMod val="50000"/>
                    <a:lumOff val="50000"/>
                  </a:schemeClr>
                </a:solidFill>
              </a:rPr>
              <a:t>It is easier to use multiplication: </a:t>
            </a:r>
            <a:endParaRPr lang="en-US" sz="1800" b="1" dirty="0">
              <a:solidFill>
                <a:schemeClr val="bg2">
                  <a:lumMod val="50000"/>
                  <a:lumOff val="50000"/>
                </a:schemeClr>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D12F7D83-572C-4B8E-B64D-C75A5FADBC65}"/>
              </a:ext>
            </a:extLst>
          </p:cNvPr>
          <p:cNvPicPr>
            <a:picLocks noChangeAspect="1"/>
          </p:cNvPicPr>
          <p:nvPr/>
        </p:nvPicPr>
        <p:blipFill>
          <a:blip r:embed="rId2"/>
          <a:stretch>
            <a:fillRect/>
          </a:stretch>
        </p:blipFill>
        <p:spPr>
          <a:xfrm>
            <a:off x="6845435" y="751822"/>
            <a:ext cx="2219689" cy="1878713"/>
          </a:xfrm>
          <a:prstGeom prst="rect">
            <a:avLst/>
          </a:prstGeom>
        </p:spPr>
      </p:pic>
      <p:pic>
        <p:nvPicPr>
          <p:cNvPr id="8" name="Picture 7">
            <a:extLst>
              <a:ext uri="{FF2B5EF4-FFF2-40B4-BE49-F238E27FC236}">
                <a16:creationId xmlns:a16="http://schemas.microsoft.com/office/drawing/2014/main" id="{C513CFDB-808F-4A44-B1A6-71130FF08E65}"/>
              </a:ext>
            </a:extLst>
          </p:cNvPr>
          <p:cNvPicPr>
            <a:picLocks noChangeAspect="1"/>
          </p:cNvPicPr>
          <p:nvPr/>
        </p:nvPicPr>
        <p:blipFill>
          <a:blip r:embed="rId3"/>
          <a:stretch>
            <a:fillRect/>
          </a:stretch>
        </p:blipFill>
        <p:spPr>
          <a:xfrm>
            <a:off x="1719262" y="3832562"/>
            <a:ext cx="3431381" cy="1039474"/>
          </a:xfrm>
          <a:prstGeom prst="rect">
            <a:avLst/>
          </a:prstGeom>
        </p:spPr>
      </p:pic>
      <p:sp>
        <p:nvSpPr>
          <p:cNvPr id="9" name="TextBox 8">
            <a:extLst>
              <a:ext uri="{FF2B5EF4-FFF2-40B4-BE49-F238E27FC236}">
                <a16:creationId xmlns:a16="http://schemas.microsoft.com/office/drawing/2014/main" id="{45E930DC-77C7-4B7D-8DBE-B633640ED210}"/>
              </a:ext>
            </a:extLst>
          </p:cNvPr>
          <p:cNvSpPr txBox="1"/>
          <p:nvPr/>
        </p:nvSpPr>
        <p:spPr>
          <a:xfrm>
            <a:off x="309769" y="4167633"/>
            <a:ext cx="1336020" cy="369332"/>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accent1"/>
                </a:solidFill>
                <a:latin typeface="+mn-lt"/>
              </a:rPr>
              <a:t>Notation : </a:t>
            </a:r>
            <a:endParaRPr lang="en-US" sz="1400" b="1" dirty="0">
              <a:solidFill>
                <a:schemeClr val="accent1"/>
              </a:solidFill>
              <a:latin typeface="+mn-lt"/>
            </a:endParaRPr>
          </a:p>
        </p:txBody>
      </p:sp>
    </p:spTree>
    <p:extLst>
      <p:ext uri="{BB962C8B-B14F-4D97-AF65-F5344CB8AC3E}">
        <p14:creationId xmlns:p14="http://schemas.microsoft.com/office/powerpoint/2010/main" val="1490276767"/>
      </p:ext>
    </p:extLst>
  </p:cSld>
  <p:clrMapOvr>
    <a:masterClrMapping/>
  </p:clrMapOvr>
  <p:transition spd="med">
    <p:wipe dir="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D7F4E04-8B25-441E-9B3E-D8CC37F76D72}"/>
              </a:ext>
            </a:extLst>
          </p:cNvPr>
          <p:cNvSpPr>
            <a:spLocks noGrp="1"/>
          </p:cNvSpPr>
          <p:nvPr>
            <p:ph type="title"/>
          </p:nvPr>
        </p:nvSpPr>
        <p:spPr>
          <a:xfrm>
            <a:off x="0" y="62480"/>
            <a:ext cx="7955280" cy="640080"/>
          </a:xfrm>
        </p:spPr>
        <p:txBody>
          <a:bodyPr/>
          <a:lstStyle/>
          <a:p>
            <a:r>
              <a:rPr lang="en-US" dirty="0"/>
              <a:t>Another example of Mean from a Freq Table</a:t>
            </a:r>
          </a:p>
        </p:txBody>
      </p:sp>
      <p:sp>
        <p:nvSpPr>
          <p:cNvPr id="4" name="Content Placeholder 3">
            <a:extLst>
              <a:ext uri="{FF2B5EF4-FFF2-40B4-BE49-F238E27FC236}">
                <a16:creationId xmlns:a16="http://schemas.microsoft.com/office/drawing/2014/main" id="{29F6A6DF-D96F-4002-BBEA-EFA3FFF52633}"/>
              </a:ext>
            </a:extLst>
          </p:cNvPr>
          <p:cNvSpPr>
            <a:spLocks noGrp="1"/>
          </p:cNvSpPr>
          <p:nvPr>
            <p:ph sz="half" idx="1"/>
          </p:nvPr>
        </p:nvSpPr>
        <p:spPr>
          <a:xfrm>
            <a:off x="85856" y="821564"/>
            <a:ext cx="7955280" cy="3017520"/>
          </a:xfrm>
        </p:spPr>
        <p:txBody>
          <a:bodyPr/>
          <a:lstStyle/>
          <a:p>
            <a:pPr marL="0" indent="0">
              <a:buNone/>
            </a:pPr>
            <a:r>
              <a:rPr lang="en-US" dirty="0">
                <a:solidFill>
                  <a:schemeClr val="bg2">
                    <a:lumMod val="50000"/>
                    <a:lumOff val="50000"/>
                  </a:schemeClr>
                </a:solidFill>
                <a:latin typeface="Inter"/>
              </a:rPr>
              <a:t>Isabella went up and down the street to find out how many parking spaces each house has. Here are her results:</a:t>
            </a:r>
          </a:p>
          <a:p>
            <a:endParaRPr lang="en-US" dirty="0">
              <a:solidFill>
                <a:srgbClr val="333333"/>
              </a:solidFill>
              <a:latin typeface="Verdana" panose="020B0604030504040204" pitchFamily="34" charset="0"/>
            </a:endParaRPr>
          </a:p>
          <a:p>
            <a:pPr marL="0" indent="0">
              <a:buNone/>
            </a:pPr>
            <a:r>
              <a:rPr lang="en-US" dirty="0">
                <a:solidFill>
                  <a:schemeClr val="bg2">
                    <a:lumMod val="50000"/>
                    <a:lumOff val="50000"/>
                  </a:schemeClr>
                </a:solidFill>
                <a:latin typeface="Inter"/>
              </a:rPr>
              <a:t>What is the mean number of Parking Spaces?</a:t>
            </a:r>
          </a:p>
        </p:txBody>
      </p:sp>
      <p:pic>
        <p:nvPicPr>
          <p:cNvPr id="6" name="Picture 5">
            <a:extLst>
              <a:ext uri="{FF2B5EF4-FFF2-40B4-BE49-F238E27FC236}">
                <a16:creationId xmlns:a16="http://schemas.microsoft.com/office/drawing/2014/main" id="{56085063-4095-4C3B-B988-BF3C9872C324}"/>
              </a:ext>
            </a:extLst>
          </p:cNvPr>
          <p:cNvPicPr>
            <a:picLocks noChangeAspect="1"/>
          </p:cNvPicPr>
          <p:nvPr/>
        </p:nvPicPr>
        <p:blipFill>
          <a:blip r:embed="rId2"/>
          <a:stretch>
            <a:fillRect/>
          </a:stretch>
        </p:blipFill>
        <p:spPr>
          <a:xfrm>
            <a:off x="6878768" y="1114905"/>
            <a:ext cx="2179375" cy="1732997"/>
          </a:xfrm>
          <a:prstGeom prst="rect">
            <a:avLst/>
          </a:prstGeom>
        </p:spPr>
      </p:pic>
    </p:spTree>
    <p:extLst>
      <p:ext uri="{BB962C8B-B14F-4D97-AF65-F5344CB8AC3E}">
        <p14:creationId xmlns:p14="http://schemas.microsoft.com/office/powerpoint/2010/main" val="832144514"/>
      </p:ext>
    </p:extLst>
  </p:cSld>
  <p:clrMapOvr>
    <a:masterClrMapping/>
  </p:clrMapOvr>
  <p:transition spd="med">
    <p:wipe dir="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8465CC-6FD4-40D5-ABD5-0BE485707A80}"/>
              </a:ext>
            </a:extLst>
          </p:cNvPr>
          <p:cNvSpPr>
            <a:spLocks noGrp="1"/>
          </p:cNvSpPr>
          <p:nvPr>
            <p:ph type="title"/>
          </p:nvPr>
        </p:nvSpPr>
        <p:spPr>
          <a:xfrm>
            <a:off x="0" y="27981"/>
            <a:ext cx="7955280" cy="640080"/>
          </a:xfrm>
        </p:spPr>
        <p:txBody>
          <a:bodyPr/>
          <a:lstStyle/>
          <a:p>
            <a:r>
              <a:rPr lang="en-US" dirty="0"/>
              <a:t>Weighted Mean</a:t>
            </a:r>
          </a:p>
        </p:txBody>
      </p:sp>
      <p:sp>
        <p:nvSpPr>
          <p:cNvPr id="4" name="Content Placeholder 3">
            <a:extLst>
              <a:ext uri="{FF2B5EF4-FFF2-40B4-BE49-F238E27FC236}">
                <a16:creationId xmlns:a16="http://schemas.microsoft.com/office/drawing/2014/main" id="{51F75A8C-3E42-4490-9BF3-6D0824C8CED9}"/>
              </a:ext>
            </a:extLst>
          </p:cNvPr>
          <p:cNvSpPr>
            <a:spLocks noGrp="1"/>
          </p:cNvSpPr>
          <p:nvPr>
            <p:ph sz="half" idx="1"/>
          </p:nvPr>
        </p:nvSpPr>
        <p:spPr>
          <a:xfrm>
            <a:off x="0" y="779086"/>
            <a:ext cx="7754950" cy="3771377"/>
          </a:xfrm>
        </p:spPr>
        <p:txBody>
          <a:bodyPr/>
          <a:lstStyle/>
          <a:p>
            <a:pPr algn="l"/>
            <a:r>
              <a:rPr lang="en-US" dirty="0">
                <a:solidFill>
                  <a:schemeClr val="bg2">
                    <a:lumMod val="50000"/>
                    <a:lumOff val="50000"/>
                  </a:schemeClr>
                </a:solidFill>
                <a:latin typeface="Inter"/>
              </a:rPr>
              <a:t>When we do a simple </a:t>
            </a:r>
            <a:r>
              <a:rPr lang="en-US" dirty="0">
                <a:solidFill>
                  <a:schemeClr val="bg2">
                    <a:lumMod val="50000"/>
                    <a:lumOff val="50000"/>
                  </a:schemeClr>
                </a:solidFill>
                <a:latin typeface="Inter"/>
                <a:hlinkClick r:id="rId2">
                  <a:extLst>
                    <a:ext uri="{A12FA001-AC4F-418D-AE19-62706E023703}">
                      <ahyp:hlinkClr xmlns:ahyp="http://schemas.microsoft.com/office/drawing/2018/hyperlinkcolor" val="tx"/>
                    </a:ext>
                  </a:extLst>
                </a:hlinkClick>
              </a:rPr>
              <a:t>mean</a:t>
            </a:r>
            <a:r>
              <a:rPr lang="en-US" dirty="0">
                <a:solidFill>
                  <a:schemeClr val="bg2">
                    <a:lumMod val="50000"/>
                    <a:lumOff val="50000"/>
                  </a:schemeClr>
                </a:solidFill>
                <a:latin typeface="Inter"/>
              </a:rPr>
              <a:t> (or average), we give equal weight to each number.</a:t>
            </a:r>
          </a:p>
          <a:p>
            <a:pPr algn="l"/>
            <a:r>
              <a:rPr lang="en-US" dirty="0">
                <a:solidFill>
                  <a:schemeClr val="bg2">
                    <a:lumMod val="50000"/>
                    <a:lumOff val="50000"/>
                  </a:schemeClr>
                </a:solidFill>
                <a:latin typeface="Inter"/>
              </a:rPr>
              <a:t>What is the mean of 1, 2, 3 and 4 ? </a:t>
            </a:r>
          </a:p>
          <a:p>
            <a:endParaRPr lang="en-US" dirty="0"/>
          </a:p>
        </p:txBody>
      </p:sp>
      <p:pic>
        <p:nvPicPr>
          <p:cNvPr id="6" name="Picture 5">
            <a:extLst>
              <a:ext uri="{FF2B5EF4-FFF2-40B4-BE49-F238E27FC236}">
                <a16:creationId xmlns:a16="http://schemas.microsoft.com/office/drawing/2014/main" id="{37AAEF72-07AA-4AF0-B6D5-AC806A1EAAEA}"/>
              </a:ext>
            </a:extLst>
          </p:cNvPr>
          <p:cNvPicPr>
            <a:picLocks noChangeAspect="1"/>
          </p:cNvPicPr>
          <p:nvPr/>
        </p:nvPicPr>
        <p:blipFill>
          <a:blip r:embed="rId3"/>
          <a:stretch>
            <a:fillRect/>
          </a:stretch>
        </p:blipFill>
        <p:spPr>
          <a:xfrm>
            <a:off x="7586231" y="779086"/>
            <a:ext cx="1557769" cy="1077635"/>
          </a:xfrm>
          <a:prstGeom prst="rect">
            <a:avLst/>
          </a:prstGeom>
        </p:spPr>
      </p:pic>
    </p:spTree>
    <p:extLst>
      <p:ext uri="{BB962C8B-B14F-4D97-AF65-F5344CB8AC3E}">
        <p14:creationId xmlns:p14="http://schemas.microsoft.com/office/powerpoint/2010/main" val="421686646"/>
      </p:ext>
    </p:extLst>
  </p:cSld>
  <p:clrMapOvr>
    <a:masterClrMapping/>
  </p:clrMapOvr>
  <p:transition spd="med">
    <p:wipe dir="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007897-F972-49B5-A559-CC66DAECA555}"/>
              </a:ext>
            </a:extLst>
          </p:cNvPr>
          <p:cNvSpPr>
            <a:spLocks noGrp="1"/>
          </p:cNvSpPr>
          <p:nvPr>
            <p:ph type="title"/>
          </p:nvPr>
        </p:nvSpPr>
        <p:spPr>
          <a:xfrm>
            <a:off x="71894" y="27981"/>
            <a:ext cx="7955280" cy="640080"/>
          </a:xfrm>
        </p:spPr>
        <p:txBody>
          <a:bodyPr/>
          <a:lstStyle/>
          <a:p>
            <a:r>
              <a:rPr lang="en-US" dirty="0"/>
              <a:t>Weighted Mean</a:t>
            </a:r>
          </a:p>
        </p:txBody>
      </p:sp>
      <p:sp>
        <p:nvSpPr>
          <p:cNvPr id="4" name="Content Placeholder 3">
            <a:extLst>
              <a:ext uri="{FF2B5EF4-FFF2-40B4-BE49-F238E27FC236}">
                <a16:creationId xmlns:a16="http://schemas.microsoft.com/office/drawing/2014/main" id="{8B99626D-700C-462B-8E1D-46027AF50B0A}"/>
              </a:ext>
            </a:extLst>
          </p:cNvPr>
          <p:cNvSpPr>
            <a:spLocks noGrp="1"/>
          </p:cNvSpPr>
          <p:nvPr>
            <p:ph sz="half" idx="1"/>
          </p:nvPr>
        </p:nvSpPr>
        <p:spPr>
          <a:xfrm>
            <a:off x="71894" y="758742"/>
            <a:ext cx="8255428" cy="3017520"/>
          </a:xfrm>
        </p:spPr>
        <p:txBody>
          <a:bodyPr/>
          <a:lstStyle/>
          <a:p>
            <a:r>
              <a:rPr lang="en-US" dirty="0">
                <a:solidFill>
                  <a:schemeClr val="bg2">
                    <a:lumMod val="50000"/>
                    <a:lumOff val="50000"/>
                  </a:schemeClr>
                </a:solidFill>
                <a:latin typeface="Inter"/>
              </a:rPr>
              <a:t>Now let's change the weight of 3 to 0.7, and the weights of the other numbers to 0.1 </a:t>
            </a:r>
            <a:r>
              <a:rPr lang="en-US" sz="1800" b="1" dirty="0">
                <a:solidFill>
                  <a:schemeClr val="bg2">
                    <a:lumMod val="50000"/>
                    <a:lumOff val="50000"/>
                  </a:schemeClr>
                </a:solidFill>
                <a:latin typeface="Inter"/>
              </a:rPr>
              <a:t>so the total of the weights is still 1:</a:t>
            </a:r>
            <a:endParaRPr lang="en-US" b="1" dirty="0">
              <a:solidFill>
                <a:schemeClr val="bg2">
                  <a:lumMod val="50000"/>
                  <a:lumOff val="50000"/>
                </a:schemeClr>
              </a:solidFill>
              <a:latin typeface="Inter"/>
            </a:endParaRPr>
          </a:p>
        </p:txBody>
      </p:sp>
      <p:pic>
        <p:nvPicPr>
          <p:cNvPr id="6" name="Picture 5">
            <a:extLst>
              <a:ext uri="{FF2B5EF4-FFF2-40B4-BE49-F238E27FC236}">
                <a16:creationId xmlns:a16="http://schemas.microsoft.com/office/drawing/2014/main" id="{0A5A856D-0F57-43ED-9EC3-EAA12B3858F9}"/>
              </a:ext>
            </a:extLst>
          </p:cNvPr>
          <p:cNvPicPr>
            <a:picLocks noChangeAspect="1"/>
          </p:cNvPicPr>
          <p:nvPr/>
        </p:nvPicPr>
        <p:blipFill>
          <a:blip r:embed="rId2"/>
          <a:stretch>
            <a:fillRect/>
          </a:stretch>
        </p:blipFill>
        <p:spPr>
          <a:xfrm>
            <a:off x="7217079" y="1356077"/>
            <a:ext cx="1926921" cy="1589548"/>
          </a:xfrm>
          <a:prstGeom prst="rect">
            <a:avLst/>
          </a:prstGeom>
        </p:spPr>
      </p:pic>
      <p:sp>
        <p:nvSpPr>
          <p:cNvPr id="7" name="TextBox 6">
            <a:extLst>
              <a:ext uri="{FF2B5EF4-FFF2-40B4-BE49-F238E27FC236}">
                <a16:creationId xmlns:a16="http://schemas.microsoft.com/office/drawing/2014/main" id="{586C4650-B4D2-4078-9665-6627666C6CB4}"/>
              </a:ext>
            </a:extLst>
          </p:cNvPr>
          <p:cNvSpPr txBox="1"/>
          <p:nvPr/>
        </p:nvSpPr>
        <p:spPr>
          <a:xfrm>
            <a:off x="1383115" y="4481258"/>
            <a:ext cx="5332837" cy="369332"/>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accent1"/>
                </a:solidFill>
                <a:latin typeface="+mn-lt"/>
              </a:rPr>
              <a:t>When should I use Weighted mean ? </a:t>
            </a:r>
          </a:p>
        </p:txBody>
      </p:sp>
      <p:pic>
        <p:nvPicPr>
          <p:cNvPr id="9" name="Picture 8">
            <a:extLst>
              <a:ext uri="{FF2B5EF4-FFF2-40B4-BE49-F238E27FC236}">
                <a16:creationId xmlns:a16="http://schemas.microsoft.com/office/drawing/2014/main" id="{515CA4EC-C0A9-4FF0-B09F-3C87F72A000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5500359" y="4054287"/>
            <a:ext cx="1716720" cy="1015010"/>
          </a:xfrm>
          <a:prstGeom prst="rect">
            <a:avLst/>
          </a:prstGeom>
        </p:spPr>
      </p:pic>
    </p:spTree>
    <p:extLst>
      <p:ext uri="{BB962C8B-B14F-4D97-AF65-F5344CB8AC3E}">
        <p14:creationId xmlns:p14="http://schemas.microsoft.com/office/powerpoint/2010/main" val="3603259149"/>
      </p:ext>
    </p:extLst>
  </p:cSld>
  <p:clrMapOvr>
    <a:masterClrMapping/>
  </p:clrMapOvr>
  <p:transition spd="med">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1651A-6ED4-4C8B-8D44-5EDBA939BABF}"/>
              </a:ext>
            </a:extLst>
          </p:cNvPr>
          <p:cNvSpPr>
            <a:spLocks noGrp="1"/>
          </p:cNvSpPr>
          <p:nvPr>
            <p:ph type="title"/>
          </p:nvPr>
        </p:nvSpPr>
        <p:spPr/>
        <p:txBody>
          <a:bodyPr/>
          <a:lstStyle/>
          <a:p>
            <a:r>
              <a:rPr lang="en-US" dirty="0"/>
              <a:t>What is Statistics ? </a:t>
            </a:r>
          </a:p>
        </p:txBody>
      </p:sp>
      <p:sp>
        <p:nvSpPr>
          <p:cNvPr id="3" name="Content Placeholder 2">
            <a:extLst>
              <a:ext uri="{FF2B5EF4-FFF2-40B4-BE49-F238E27FC236}">
                <a16:creationId xmlns:a16="http://schemas.microsoft.com/office/drawing/2014/main" id="{E8A42226-9FEF-40B1-B486-27D94ECAAFDE}"/>
              </a:ext>
            </a:extLst>
          </p:cNvPr>
          <p:cNvSpPr>
            <a:spLocks noGrp="1"/>
          </p:cNvSpPr>
          <p:nvPr>
            <p:ph sz="half" idx="1"/>
          </p:nvPr>
        </p:nvSpPr>
        <p:spPr/>
        <p:txBody>
          <a:bodyPr/>
          <a:lstStyle/>
          <a:p>
            <a:r>
              <a:rPr lang="en-US" sz="18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Uncertainty is rampant ! we use statistics to answer questions about things that are unknown (e.g. : number of cars in Bangalore ?) , but just as importantly, we use statistics to get an idea of how sure we are of our answers. Sometimes it is useful to know that you don’t know.!! </a:t>
            </a:r>
          </a:p>
          <a:p>
            <a:endParaRPr lang="en-US" dirty="0">
              <a:solidFill>
                <a:schemeClr val="bg2">
                  <a:lumMod val="50000"/>
                  <a:lumOff val="50000"/>
                </a:schemeClr>
              </a:solidFill>
            </a:endParaRPr>
          </a:p>
          <a:p>
            <a:endParaRPr lang="en-US" dirty="0">
              <a:solidFill>
                <a:schemeClr val="bg2">
                  <a:lumMod val="50000"/>
                  <a:lumOff val="50000"/>
                </a:schemeClr>
              </a:solidFill>
            </a:endParaRPr>
          </a:p>
          <a:p>
            <a:r>
              <a:rPr lang="en-US" sz="18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Statistical tools are used to make most out of limited information!! </a:t>
            </a:r>
          </a:p>
          <a:p>
            <a:endParaRPr lang="en-US" dirty="0"/>
          </a:p>
        </p:txBody>
      </p:sp>
      <p:pic>
        <p:nvPicPr>
          <p:cNvPr id="5" name="Picture 4" descr="Text, whiteboard&#10;&#10;Description automatically generated">
            <a:extLst>
              <a:ext uri="{FF2B5EF4-FFF2-40B4-BE49-F238E27FC236}">
                <a16:creationId xmlns:a16="http://schemas.microsoft.com/office/drawing/2014/main" id="{51F1782B-1A57-4E62-8628-08331F40875E}"/>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521911" y="174424"/>
            <a:ext cx="1465548" cy="977032"/>
          </a:xfrm>
          <a:prstGeom prst="rect">
            <a:avLst/>
          </a:prstGeom>
        </p:spPr>
      </p:pic>
    </p:spTree>
    <p:extLst>
      <p:ext uri="{BB962C8B-B14F-4D97-AF65-F5344CB8AC3E}">
        <p14:creationId xmlns:p14="http://schemas.microsoft.com/office/powerpoint/2010/main" val="2976966562"/>
      </p:ext>
    </p:extLst>
  </p:cSld>
  <p:clrMapOvr>
    <a:masterClrMapping/>
  </p:clrMapOvr>
  <p:transition spd="med">
    <p:wipe dir="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E8170F-5441-4F00-8D1A-03BC63DB25FC}"/>
              </a:ext>
            </a:extLst>
          </p:cNvPr>
          <p:cNvSpPr>
            <a:spLocks noGrp="1"/>
          </p:cNvSpPr>
          <p:nvPr>
            <p:ph type="title"/>
          </p:nvPr>
        </p:nvSpPr>
        <p:spPr>
          <a:xfrm>
            <a:off x="0" y="0"/>
            <a:ext cx="7955280" cy="640080"/>
          </a:xfrm>
        </p:spPr>
        <p:txBody>
          <a:bodyPr/>
          <a:lstStyle/>
          <a:p>
            <a:r>
              <a:rPr lang="en-US" dirty="0"/>
              <a:t>Weighted Mean – Example </a:t>
            </a:r>
          </a:p>
        </p:txBody>
      </p:sp>
      <p:pic>
        <p:nvPicPr>
          <p:cNvPr id="6" name="Content Placeholder 5" descr="A camera on a tripod&#10;&#10;Description automatically generated">
            <a:extLst>
              <a:ext uri="{FF2B5EF4-FFF2-40B4-BE49-F238E27FC236}">
                <a16:creationId xmlns:a16="http://schemas.microsoft.com/office/drawing/2014/main" id="{5FA604C4-BA58-4823-9F14-A808A90C3613}"/>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428594" y="1281936"/>
            <a:ext cx="2631645" cy="2026655"/>
          </a:xfrm>
        </p:spPr>
      </p:pic>
      <p:sp>
        <p:nvSpPr>
          <p:cNvPr id="7" name="TextBox 6">
            <a:extLst>
              <a:ext uri="{FF2B5EF4-FFF2-40B4-BE49-F238E27FC236}">
                <a16:creationId xmlns:a16="http://schemas.microsoft.com/office/drawing/2014/main" id="{9BE58714-D8FF-4A6D-B0FC-0DB2E076BB69}"/>
              </a:ext>
            </a:extLst>
          </p:cNvPr>
          <p:cNvSpPr txBox="1"/>
          <p:nvPr/>
        </p:nvSpPr>
        <p:spPr>
          <a:xfrm>
            <a:off x="0" y="640080"/>
            <a:ext cx="6428594" cy="2154436"/>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Weighted means can help with decisions where some things are more important than others:</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r>
              <a:rPr lang="en-US" sz="1400" b="1" dirty="0">
                <a:solidFill>
                  <a:schemeClr val="bg2">
                    <a:lumMod val="50000"/>
                    <a:lumOff val="50000"/>
                  </a:schemeClr>
                </a:solidFill>
                <a:latin typeface="Inter"/>
                <a:cs typeface="Arial" panose="020B0604020202020204" pitchFamily="34" charset="0"/>
              </a:rPr>
              <a:t>Question : </a:t>
            </a:r>
            <a:r>
              <a:rPr lang="en-US" sz="1400" dirty="0">
                <a:solidFill>
                  <a:schemeClr val="bg2">
                    <a:lumMod val="50000"/>
                    <a:lumOff val="50000"/>
                  </a:schemeClr>
                </a:solidFill>
                <a:latin typeface="Inter"/>
                <a:cs typeface="Arial" panose="020B0604020202020204" pitchFamily="34" charset="0"/>
              </a:rPr>
              <a:t>Mike wants to buy a new camera, and decides on the following rating system:</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Image Quality </a:t>
            </a:r>
            <a:r>
              <a:rPr lang="en-US" sz="1400" b="1" dirty="0">
                <a:solidFill>
                  <a:schemeClr val="bg2">
                    <a:lumMod val="50000"/>
                    <a:lumOff val="50000"/>
                  </a:schemeClr>
                </a:solidFill>
                <a:latin typeface="Inter"/>
                <a:cs typeface="Arial" panose="020B0604020202020204" pitchFamily="34" charset="0"/>
              </a:rPr>
              <a:t>50%</a:t>
            </a: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Battery Life     </a:t>
            </a:r>
            <a:r>
              <a:rPr lang="en-US" sz="1400" b="1" dirty="0">
                <a:solidFill>
                  <a:schemeClr val="bg2">
                    <a:lumMod val="50000"/>
                    <a:lumOff val="50000"/>
                  </a:schemeClr>
                </a:solidFill>
                <a:latin typeface="Inter"/>
                <a:cs typeface="Arial" panose="020B0604020202020204" pitchFamily="34" charset="0"/>
              </a:rPr>
              <a:t>30%</a:t>
            </a: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Zoom Range   </a:t>
            </a:r>
            <a:r>
              <a:rPr lang="en-US" sz="1400" b="1" dirty="0">
                <a:solidFill>
                  <a:schemeClr val="bg2">
                    <a:lumMod val="50000"/>
                    <a:lumOff val="50000"/>
                  </a:schemeClr>
                </a:solidFill>
                <a:latin typeface="Inter"/>
                <a:cs typeface="Arial" panose="020B0604020202020204" pitchFamily="34" charset="0"/>
              </a:rPr>
              <a:t>20%</a:t>
            </a:r>
          </a:p>
          <a:p>
            <a:pPr>
              <a:spcBef>
                <a:spcPts val="0"/>
              </a:spcBef>
              <a:spcAft>
                <a:spcPts val="0"/>
              </a:spcAft>
              <a:buClr>
                <a:schemeClr val="bg1"/>
              </a:buClr>
            </a:pPr>
            <a:endParaRPr lang="en-US" sz="1400" dirty="0">
              <a:solidFill>
                <a:schemeClr val="bg2"/>
              </a:solidFill>
              <a:latin typeface="+mn-lt"/>
            </a:endParaRPr>
          </a:p>
        </p:txBody>
      </p:sp>
    </p:spTree>
    <p:extLst>
      <p:ext uri="{BB962C8B-B14F-4D97-AF65-F5344CB8AC3E}">
        <p14:creationId xmlns:p14="http://schemas.microsoft.com/office/powerpoint/2010/main" val="2701245991"/>
      </p:ext>
    </p:extLst>
  </p:cSld>
  <p:clrMapOvr>
    <a:masterClrMapping/>
  </p:clrMapOvr>
  <p:transition spd="med">
    <p:wipe dir="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978E4DC-81E1-4BC8-9DB3-611736E8964A}"/>
              </a:ext>
            </a:extLst>
          </p:cNvPr>
          <p:cNvSpPr>
            <a:spLocks noGrp="1"/>
          </p:cNvSpPr>
          <p:nvPr>
            <p:ph type="title"/>
          </p:nvPr>
        </p:nvSpPr>
        <p:spPr>
          <a:xfrm>
            <a:off x="302240" y="232918"/>
            <a:ext cx="7955280" cy="640080"/>
          </a:xfrm>
        </p:spPr>
        <p:txBody>
          <a:bodyPr/>
          <a:lstStyle/>
          <a:p>
            <a:r>
              <a:rPr lang="en-US" dirty="0"/>
              <a:t>What if the weights don’t add to 1 ?</a:t>
            </a:r>
          </a:p>
        </p:txBody>
      </p:sp>
      <p:pic>
        <p:nvPicPr>
          <p:cNvPr id="6" name="Content Placeholder 5" descr="A yellow hat with black text&#10;&#10;Description automatically generated with low confidence">
            <a:extLst>
              <a:ext uri="{FF2B5EF4-FFF2-40B4-BE49-F238E27FC236}">
                <a16:creationId xmlns:a16="http://schemas.microsoft.com/office/drawing/2014/main" id="{B1B54872-4DCF-42B3-BC9A-C2750AC2AF53}"/>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156173" y="90401"/>
            <a:ext cx="921701" cy="925115"/>
          </a:xfrm>
        </p:spPr>
      </p:pic>
      <p:sp>
        <p:nvSpPr>
          <p:cNvPr id="2" name="TextBox 1">
            <a:extLst>
              <a:ext uri="{FF2B5EF4-FFF2-40B4-BE49-F238E27FC236}">
                <a16:creationId xmlns:a16="http://schemas.microsoft.com/office/drawing/2014/main" id="{AE6428D7-E78E-45E0-A9C6-6B3B8B9B4A7E}"/>
              </a:ext>
            </a:extLst>
          </p:cNvPr>
          <p:cNvSpPr txBox="1"/>
          <p:nvPr/>
        </p:nvSpPr>
        <p:spPr>
          <a:xfrm>
            <a:off x="181484" y="1015515"/>
            <a:ext cx="6728867" cy="30623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When the weights don't add to 1, divide by the sum of weights.</a:t>
            </a:r>
          </a:p>
          <a:p>
            <a:pPr>
              <a:spcBef>
                <a:spcPts val="0"/>
              </a:spcBef>
              <a:spcAft>
                <a:spcPts val="0"/>
              </a:spcAft>
              <a:buClr>
                <a:schemeClr val="bg1"/>
              </a:buClr>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Example: Adrian usually eats lunch 7 times a week, but some weeks only gets 1, 2, or 5 lunches.</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lgn="l"/>
            <a:r>
              <a:rPr lang="en-US" sz="1400" dirty="0">
                <a:solidFill>
                  <a:schemeClr val="bg2">
                    <a:lumMod val="50000"/>
                    <a:lumOff val="50000"/>
                  </a:schemeClr>
                </a:solidFill>
                <a:latin typeface="Inter"/>
                <a:cs typeface="Arial" panose="020B0604020202020204" pitchFamily="34" charset="0"/>
              </a:rPr>
              <a:t>Alex had lunch:</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2 weeks: only one lunch for the whole week</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14 weeks: 2 lunches each week</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8 weeks: 5 lunches each week</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32 weeks: 7 lunches each week</a:t>
            </a:r>
          </a:p>
          <a:p>
            <a:pPr>
              <a:spcBef>
                <a:spcPts val="0"/>
              </a:spcBef>
              <a:spcAft>
                <a:spcPts val="0"/>
              </a:spcAft>
              <a:buClr>
                <a:schemeClr val="bg1"/>
              </a:buClr>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What is the mean number of lunches Alex having each week?</a:t>
            </a:r>
          </a:p>
          <a:p>
            <a:pPr>
              <a:spcBef>
                <a:spcPts val="0"/>
              </a:spcBef>
              <a:spcAft>
                <a:spcPts val="0"/>
              </a:spcAft>
              <a:buClr>
                <a:schemeClr val="bg1"/>
              </a:buClr>
            </a:pPr>
            <a:endParaRPr lang="en-US" sz="1400" dirty="0">
              <a:solidFill>
                <a:schemeClr val="bg2"/>
              </a:solidFill>
              <a:latin typeface="+mn-lt"/>
            </a:endParaRPr>
          </a:p>
        </p:txBody>
      </p:sp>
    </p:spTree>
    <p:extLst>
      <p:ext uri="{BB962C8B-B14F-4D97-AF65-F5344CB8AC3E}">
        <p14:creationId xmlns:p14="http://schemas.microsoft.com/office/powerpoint/2010/main" val="1541171692"/>
      </p:ext>
    </p:extLst>
  </p:cSld>
  <p:clrMapOvr>
    <a:masterClrMapping/>
  </p:clrMapOvr>
  <p:transition spd="med">
    <p:wipe dir="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463494-2B80-433F-975F-08D7A84349CD}"/>
              </a:ext>
            </a:extLst>
          </p:cNvPr>
          <p:cNvSpPr>
            <a:spLocks noGrp="1"/>
          </p:cNvSpPr>
          <p:nvPr>
            <p:ph type="title"/>
          </p:nvPr>
        </p:nvSpPr>
        <p:spPr>
          <a:xfrm>
            <a:off x="0" y="83421"/>
            <a:ext cx="7955280" cy="640080"/>
          </a:xfrm>
        </p:spPr>
        <p:txBody>
          <a:bodyPr/>
          <a:lstStyle/>
          <a:p>
            <a:r>
              <a:rPr lang="en-US" dirty="0"/>
              <a:t>What if the weights don’t add to 1 ?</a:t>
            </a:r>
          </a:p>
        </p:txBody>
      </p:sp>
      <p:pic>
        <p:nvPicPr>
          <p:cNvPr id="6" name="Content Placeholder 5">
            <a:extLst>
              <a:ext uri="{FF2B5EF4-FFF2-40B4-BE49-F238E27FC236}">
                <a16:creationId xmlns:a16="http://schemas.microsoft.com/office/drawing/2014/main" id="{4EB52728-6157-4065-A402-BCEDE421A612}"/>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841269" y="0"/>
            <a:ext cx="1688223" cy="998162"/>
          </a:xfrm>
        </p:spPr>
      </p:pic>
      <p:sp>
        <p:nvSpPr>
          <p:cNvPr id="8" name="TextBox 7">
            <a:extLst>
              <a:ext uri="{FF2B5EF4-FFF2-40B4-BE49-F238E27FC236}">
                <a16:creationId xmlns:a16="http://schemas.microsoft.com/office/drawing/2014/main" id="{9B2D573D-0295-44A9-AEDB-1A984B1AD36C}"/>
              </a:ext>
            </a:extLst>
          </p:cNvPr>
          <p:cNvSpPr txBox="1"/>
          <p:nvPr/>
        </p:nvSpPr>
        <p:spPr>
          <a:xfrm>
            <a:off x="104702" y="1081583"/>
            <a:ext cx="6428594" cy="1338828"/>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q"/>
            </a:pPr>
            <a:r>
              <a:rPr lang="en-US" sz="1400" dirty="0">
                <a:solidFill>
                  <a:schemeClr val="bg2">
                    <a:lumMod val="50000"/>
                    <a:lumOff val="50000"/>
                  </a:schemeClr>
                </a:solidFill>
                <a:latin typeface="Inter"/>
                <a:cs typeface="Arial" panose="020B0604020202020204" pitchFamily="34" charset="0"/>
              </a:rPr>
              <a:t>Use “Weeks” as the weighting</a:t>
            </a:r>
          </a:p>
          <a:p>
            <a:pPr marL="285750" indent="-285750">
              <a:spcBef>
                <a:spcPts val="0"/>
              </a:spcBef>
              <a:spcAft>
                <a:spcPts val="0"/>
              </a:spcAft>
              <a:buClr>
                <a:schemeClr val="bg1"/>
              </a:buClr>
              <a:buFont typeface="Wingdings" panose="05000000000000000000" pitchFamily="2" charset="2"/>
              <a:buChar char="q"/>
            </a:pPr>
            <a:endParaRPr lang="en-US" sz="1400" dirty="0">
              <a:solidFill>
                <a:schemeClr val="bg2">
                  <a:lumMod val="50000"/>
                  <a:lumOff val="50000"/>
                </a:schemeClr>
              </a:solidFill>
              <a:latin typeface="Inter"/>
              <a:cs typeface="Arial" panose="020B0604020202020204" pitchFamily="34" charset="0"/>
            </a:endParaRPr>
          </a:p>
          <a:p>
            <a:pPr marL="285750" indent="-285750">
              <a:spcBef>
                <a:spcPts val="0"/>
              </a:spcBef>
              <a:spcAft>
                <a:spcPts val="0"/>
              </a:spcAft>
              <a:buClr>
                <a:schemeClr val="bg1"/>
              </a:buClr>
              <a:buFont typeface="Wingdings" panose="05000000000000000000" pitchFamily="2" charset="2"/>
              <a:buChar char="q"/>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400" b="1" dirty="0">
                <a:solidFill>
                  <a:schemeClr val="bg2">
                    <a:lumMod val="50000"/>
                    <a:lumOff val="50000"/>
                  </a:schemeClr>
                </a:solidFill>
                <a:latin typeface="Inter"/>
                <a:cs typeface="Arial" panose="020B0604020202020204" pitchFamily="34" charset="0"/>
              </a:rPr>
              <a:t>Solution : </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400" dirty="0">
              <a:solidFill>
                <a:schemeClr val="bg2"/>
              </a:solidFill>
              <a:latin typeface="+mn-lt"/>
            </a:endParaRPr>
          </a:p>
        </p:txBody>
      </p:sp>
      <p:pic>
        <p:nvPicPr>
          <p:cNvPr id="10" name="Picture 9">
            <a:extLst>
              <a:ext uri="{FF2B5EF4-FFF2-40B4-BE49-F238E27FC236}">
                <a16:creationId xmlns:a16="http://schemas.microsoft.com/office/drawing/2014/main" id="{4E664255-7746-4696-9615-CC824F9301BD}"/>
              </a:ext>
            </a:extLst>
          </p:cNvPr>
          <p:cNvPicPr>
            <a:picLocks noChangeAspect="1"/>
          </p:cNvPicPr>
          <p:nvPr/>
        </p:nvPicPr>
        <p:blipFill>
          <a:blip r:embed="rId4"/>
          <a:stretch>
            <a:fillRect/>
          </a:stretch>
        </p:blipFill>
        <p:spPr>
          <a:xfrm>
            <a:off x="5752099" y="3070904"/>
            <a:ext cx="3233429" cy="1619759"/>
          </a:xfrm>
          <a:prstGeom prst="rect">
            <a:avLst/>
          </a:prstGeom>
        </p:spPr>
      </p:pic>
    </p:spTree>
    <p:extLst>
      <p:ext uri="{BB962C8B-B14F-4D97-AF65-F5344CB8AC3E}">
        <p14:creationId xmlns:p14="http://schemas.microsoft.com/office/powerpoint/2010/main" val="2216126519"/>
      </p:ext>
    </p:extLst>
  </p:cSld>
  <p:clrMapOvr>
    <a:masterClrMapping/>
  </p:clrMapOvr>
  <p:transition spd="med">
    <p:wipe dir="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7D7890-7B45-4CAF-9C2B-2740282A16C3}"/>
              </a:ext>
            </a:extLst>
          </p:cNvPr>
          <p:cNvSpPr>
            <a:spLocks noGrp="1"/>
          </p:cNvSpPr>
          <p:nvPr>
            <p:ph type="title"/>
          </p:nvPr>
        </p:nvSpPr>
        <p:spPr>
          <a:xfrm>
            <a:off x="0" y="27981"/>
            <a:ext cx="7955280" cy="640080"/>
          </a:xfrm>
        </p:spPr>
        <p:txBody>
          <a:bodyPr/>
          <a:lstStyle/>
          <a:p>
            <a:r>
              <a:rPr lang="en-US" dirty="0"/>
              <a:t>What if the weights don’t add to 1 ?</a:t>
            </a:r>
          </a:p>
        </p:txBody>
      </p:sp>
      <p:sp>
        <p:nvSpPr>
          <p:cNvPr id="4" name="Content Placeholder 3">
            <a:extLst>
              <a:ext uri="{FF2B5EF4-FFF2-40B4-BE49-F238E27FC236}">
                <a16:creationId xmlns:a16="http://schemas.microsoft.com/office/drawing/2014/main" id="{C00C7600-583F-4D5F-8694-F5771CA467EA}"/>
              </a:ext>
            </a:extLst>
          </p:cNvPr>
          <p:cNvSpPr>
            <a:spLocks noGrp="1"/>
          </p:cNvSpPr>
          <p:nvPr>
            <p:ph sz="half" idx="1"/>
          </p:nvPr>
        </p:nvSpPr>
        <p:spPr>
          <a:xfrm>
            <a:off x="99816" y="856465"/>
            <a:ext cx="7955280" cy="3017520"/>
          </a:xfrm>
        </p:spPr>
        <p:txBody>
          <a:bodyPr/>
          <a:lstStyle/>
          <a:p>
            <a:r>
              <a:rPr lang="en-US" sz="2000" kern="1200" dirty="0">
                <a:solidFill>
                  <a:schemeClr val="bg2">
                    <a:lumMod val="50000"/>
                    <a:lumOff val="50000"/>
                  </a:schemeClr>
                </a:solidFill>
                <a:latin typeface="Inter"/>
                <a:ea typeface="+mn-ea"/>
              </a:rPr>
              <a:t>But it is often better to use a table to make sure you have all the numbers correct:</a:t>
            </a:r>
          </a:p>
          <a:p>
            <a:pPr marL="0" indent="0" algn="l">
              <a:buNone/>
            </a:pPr>
            <a:r>
              <a:rPr lang="en-US" sz="2000" b="1" kern="1200" dirty="0">
                <a:solidFill>
                  <a:schemeClr val="bg2">
                    <a:lumMod val="50000"/>
                    <a:lumOff val="50000"/>
                  </a:schemeClr>
                </a:solidFill>
                <a:latin typeface="Inter"/>
                <a:ea typeface="+mn-ea"/>
              </a:rPr>
              <a:t>Example (continued):</a:t>
            </a:r>
          </a:p>
          <a:p>
            <a:pPr algn="l"/>
            <a:r>
              <a:rPr lang="en-US" sz="2000" kern="1200" dirty="0">
                <a:solidFill>
                  <a:schemeClr val="bg2">
                    <a:lumMod val="50000"/>
                    <a:lumOff val="50000"/>
                  </a:schemeClr>
                </a:solidFill>
                <a:latin typeface="Inter"/>
                <a:ea typeface="+mn-ea"/>
              </a:rPr>
              <a:t>Let's use:</a:t>
            </a:r>
          </a:p>
          <a:p>
            <a:pPr algn="l">
              <a:buFont typeface="Arial" panose="020B0604020202020204" pitchFamily="34" charset="0"/>
              <a:buChar char="•"/>
            </a:pPr>
            <a:r>
              <a:rPr lang="en-US" sz="2000" b="1" kern="1200" dirty="0">
                <a:solidFill>
                  <a:schemeClr val="bg2">
                    <a:lumMod val="50000"/>
                    <a:lumOff val="50000"/>
                  </a:schemeClr>
                </a:solidFill>
                <a:latin typeface="Inter"/>
                <a:ea typeface="+mn-ea"/>
              </a:rPr>
              <a:t>w</a:t>
            </a:r>
            <a:r>
              <a:rPr lang="en-US" sz="2000" kern="1200" dirty="0">
                <a:solidFill>
                  <a:schemeClr val="bg2">
                    <a:lumMod val="50000"/>
                    <a:lumOff val="50000"/>
                  </a:schemeClr>
                </a:solidFill>
                <a:latin typeface="Inter"/>
                <a:ea typeface="+mn-ea"/>
              </a:rPr>
              <a:t> for the number of weeks (the weight)</a:t>
            </a:r>
          </a:p>
          <a:p>
            <a:pPr algn="l">
              <a:buFont typeface="Arial" panose="020B0604020202020204" pitchFamily="34" charset="0"/>
              <a:buChar char="•"/>
            </a:pPr>
            <a:r>
              <a:rPr lang="en-US" sz="2000" b="1" kern="1200" dirty="0">
                <a:solidFill>
                  <a:schemeClr val="bg2">
                    <a:lumMod val="50000"/>
                    <a:lumOff val="50000"/>
                  </a:schemeClr>
                </a:solidFill>
                <a:latin typeface="Inter"/>
                <a:ea typeface="+mn-ea"/>
              </a:rPr>
              <a:t>x</a:t>
            </a:r>
            <a:r>
              <a:rPr lang="en-US" sz="2000" kern="1200" dirty="0">
                <a:solidFill>
                  <a:schemeClr val="bg2">
                    <a:lumMod val="50000"/>
                    <a:lumOff val="50000"/>
                  </a:schemeClr>
                </a:solidFill>
                <a:latin typeface="Inter"/>
                <a:ea typeface="+mn-ea"/>
              </a:rPr>
              <a:t> for lunches (the value we want the mean of)</a:t>
            </a:r>
          </a:p>
          <a:p>
            <a:pPr algn="l"/>
            <a:r>
              <a:rPr lang="en-US" sz="2000" kern="1200" dirty="0">
                <a:solidFill>
                  <a:schemeClr val="bg2">
                    <a:lumMod val="50000"/>
                    <a:lumOff val="50000"/>
                  </a:schemeClr>
                </a:solidFill>
                <a:latin typeface="Inter"/>
                <a:ea typeface="+mn-ea"/>
              </a:rPr>
              <a:t>Multiply </a:t>
            </a:r>
            <a:r>
              <a:rPr lang="en-US" sz="2000" b="1" kern="1200" dirty="0">
                <a:solidFill>
                  <a:schemeClr val="bg2">
                    <a:lumMod val="50000"/>
                    <a:lumOff val="50000"/>
                  </a:schemeClr>
                </a:solidFill>
                <a:latin typeface="Inter"/>
                <a:ea typeface="+mn-ea"/>
              </a:rPr>
              <a:t>w</a:t>
            </a:r>
            <a:r>
              <a:rPr lang="en-US" sz="2000" kern="1200" dirty="0">
                <a:solidFill>
                  <a:schemeClr val="bg2">
                    <a:lumMod val="50000"/>
                    <a:lumOff val="50000"/>
                  </a:schemeClr>
                </a:solidFill>
                <a:latin typeface="Inter"/>
                <a:ea typeface="+mn-ea"/>
              </a:rPr>
              <a:t> by </a:t>
            </a:r>
            <a:r>
              <a:rPr lang="en-US" sz="2000" b="1" kern="1200" dirty="0">
                <a:solidFill>
                  <a:schemeClr val="bg2">
                    <a:lumMod val="50000"/>
                    <a:lumOff val="50000"/>
                  </a:schemeClr>
                </a:solidFill>
                <a:latin typeface="Inter"/>
                <a:ea typeface="+mn-ea"/>
              </a:rPr>
              <a:t>x</a:t>
            </a:r>
            <a:r>
              <a:rPr lang="en-US" sz="2000" kern="1200" dirty="0">
                <a:solidFill>
                  <a:schemeClr val="bg2">
                    <a:lumMod val="50000"/>
                    <a:lumOff val="50000"/>
                  </a:schemeClr>
                </a:solidFill>
                <a:latin typeface="Inter"/>
                <a:ea typeface="+mn-ea"/>
              </a:rPr>
              <a:t>, sum up </a:t>
            </a:r>
            <a:r>
              <a:rPr lang="en-US" sz="2000" b="1" kern="1200" dirty="0">
                <a:solidFill>
                  <a:schemeClr val="bg2">
                    <a:lumMod val="50000"/>
                    <a:lumOff val="50000"/>
                  </a:schemeClr>
                </a:solidFill>
                <a:latin typeface="Inter"/>
                <a:ea typeface="+mn-ea"/>
              </a:rPr>
              <a:t>w</a:t>
            </a:r>
            <a:r>
              <a:rPr lang="en-US" sz="2000" kern="1200" dirty="0">
                <a:solidFill>
                  <a:schemeClr val="bg2">
                    <a:lumMod val="50000"/>
                    <a:lumOff val="50000"/>
                  </a:schemeClr>
                </a:solidFill>
                <a:latin typeface="Inter"/>
                <a:ea typeface="+mn-ea"/>
              </a:rPr>
              <a:t> and sum up </a:t>
            </a:r>
            <a:r>
              <a:rPr lang="en-US" sz="2000" b="1" kern="1200" dirty="0" err="1">
                <a:solidFill>
                  <a:schemeClr val="bg2">
                    <a:lumMod val="50000"/>
                    <a:lumOff val="50000"/>
                  </a:schemeClr>
                </a:solidFill>
                <a:latin typeface="Inter"/>
                <a:ea typeface="+mn-ea"/>
              </a:rPr>
              <a:t>wx</a:t>
            </a:r>
            <a:endParaRPr lang="en-US" sz="2000" kern="1200" dirty="0">
              <a:solidFill>
                <a:schemeClr val="bg2">
                  <a:lumMod val="50000"/>
                  <a:lumOff val="50000"/>
                </a:schemeClr>
              </a:solidFill>
              <a:latin typeface="Inter"/>
              <a:ea typeface="+mn-ea"/>
            </a:endParaRPr>
          </a:p>
          <a:p>
            <a:pPr marL="0" indent="0">
              <a:buNone/>
            </a:pPr>
            <a:endParaRPr lang="en-US" dirty="0"/>
          </a:p>
        </p:txBody>
      </p:sp>
    </p:spTree>
    <p:extLst>
      <p:ext uri="{BB962C8B-B14F-4D97-AF65-F5344CB8AC3E}">
        <p14:creationId xmlns:p14="http://schemas.microsoft.com/office/powerpoint/2010/main" val="2167338885"/>
      </p:ext>
    </p:extLst>
  </p:cSld>
  <p:clrMapOvr>
    <a:masterClrMapping/>
  </p:clrMapOvr>
  <p:transition spd="med">
    <p:wipe dir="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502489-34AB-4B78-A9F8-548C875B7302}"/>
              </a:ext>
            </a:extLst>
          </p:cNvPr>
          <p:cNvSpPr>
            <a:spLocks noGrp="1"/>
          </p:cNvSpPr>
          <p:nvPr>
            <p:ph type="title"/>
          </p:nvPr>
        </p:nvSpPr>
        <p:spPr>
          <a:xfrm>
            <a:off x="0" y="0"/>
            <a:ext cx="7955280" cy="640080"/>
          </a:xfrm>
        </p:spPr>
        <p:txBody>
          <a:bodyPr/>
          <a:lstStyle/>
          <a:p>
            <a:r>
              <a:rPr lang="en-US" dirty="0"/>
              <a:t>What if the weights don’t add to 1 ?</a:t>
            </a:r>
          </a:p>
        </p:txBody>
      </p:sp>
      <p:pic>
        <p:nvPicPr>
          <p:cNvPr id="6" name="Content Placeholder 5">
            <a:extLst>
              <a:ext uri="{FF2B5EF4-FFF2-40B4-BE49-F238E27FC236}">
                <a16:creationId xmlns:a16="http://schemas.microsoft.com/office/drawing/2014/main" id="{D782ECDC-620D-4681-B615-F5287CCEE213}"/>
              </a:ext>
            </a:extLst>
          </p:cNvPr>
          <p:cNvPicPr>
            <a:picLocks noGrp="1" noChangeAspect="1"/>
          </p:cNvPicPr>
          <p:nvPr>
            <p:ph sz="half" idx="1"/>
          </p:nvPr>
        </p:nvPicPr>
        <p:blipFill>
          <a:blip r:embed="rId2"/>
          <a:stretch>
            <a:fillRect/>
          </a:stretch>
        </p:blipFill>
        <p:spPr>
          <a:xfrm>
            <a:off x="369948" y="755247"/>
            <a:ext cx="3395776" cy="2463603"/>
          </a:xfrm>
        </p:spPr>
      </p:pic>
      <p:sp>
        <p:nvSpPr>
          <p:cNvPr id="7" name="TextBox 6">
            <a:extLst>
              <a:ext uri="{FF2B5EF4-FFF2-40B4-BE49-F238E27FC236}">
                <a16:creationId xmlns:a16="http://schemas.microsoft.com/office/drawing/2014/main" id="{D6C86B2D-9211-4100-BBC8-0EF99C9983B8}"/>
              </a:ext>
            </a:extLst>
          </p:cNvPr>
          <p:cNvSpPr txBox="1"/>
          <p:nvPr/>
        </p:nvSpPr>
        <p:spPr>
          <a:xfrm>
            <a:off x="4213395" y="808998"/>
            <a:ext cx="4204669"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333333"/>
                </a:solidFill>
                <a:effectLst/>
                <a:latin typeface="Verdana" panose="020B0604030504040204" pitchFamily="34" charset="0"/>
              </a:rPr>
              <a:t>Divide </a:t>
            </a:r>
            <a:r>
              <a:rPr lang="el-GR" sz="1100" b="1" i="0" dirty="0">
                <a:solidFill>
                  <a:srgbClr val="333333"/>
                </a:solidFill>
                <a:effectLst/>
                <a:latin typeface="Verdana" panose="020B0604030504040204" pitchFamily="34" charset="0"/>
              </a:rPr>
              <a:t>Σ</a:t>
            </a:r>
            <a:r>
              <a:rPr lang="en-US" sz="1100" b="1" i="0" dirty="0" err="1">
                <a:solidFill>
                  <a:srgbClr val="333333"/>
                </a:solidFill>
                <a:effectLst/>
                <a:latin typeface="Verdana" panose="020B0604030504040204" pitchFamily="34" charset="0"/>
              </a:rPr>
              <a:t>wx</a:t>
            </a:r>
            <a:r>
              <a:rPr lang="en-US" sz="1100" b="0" i="0" dirty="0">
                <a:solidFill>
                  <a:srgbClr val="333333"/>
                </a:solidFill>
                <a:effectLst/>
                <a:latin typeface="Verdana" panose="020B0604030504040204" pitchFamily="34" charset="0"/>
              </a:rPr>
              <a:t> by </a:t>
            </a:r>
            <a:r>
              <a:rPr lang="el-GR" sz="1100" b="1" i="0" dirty="0">
                <a:solidFill>
                  <a:srgbClr val="333333"/>
                </a:solidFill>
                <a:effectLst/>
                <a:latin typeface="Verdana" panose="020B0604030504040204" pitchFamily="34" charset="0"/>
              </a:rPr>
              <a:t>Σ</a:t>
            </a:r>
            <a:r>
              <a:rPr lang="en-US" sz="1100" b="1" i="0" dirty="0">
                <a:solidFill>
                  <a:srgbClr val="333333"/>
                </a:solidFill>
                <a:effectLst/>
                <a:latin typeface="Verdana" panose="020B0604030504040204" pitchFamily="34" charset="0"/>
              </a:rPr>
              <a:t>w</a:t>
            </a:r>
            <a:r>
              <a:rPr lang="en-US" sz="1100" b="0" i="0" dirty="0">
                <a:solidFill>
                  <a:srgbClr val="333333"/>
                </a:solidFill>
                <a:effectLst/>
                <a:latin typeface="Verdana" panose="020B0604030504040204" pitchFamily="34" charset="0"/>
              </a:rPr>
              <a:t>:</a:t>
            </a:r>
            <a:endParaRPr lang="en-US" sz="1400" dirty="0">
              <a:solidFill>
                <a:schemeClr val="bg2"/>
              </a:solidFill>
              <a:latin typeface="+mn-lt"/>
            </a:endParaRPr>
          </a:p>
        </p:txBody>
      </p:sp>
    </p:spTree>
    <p:extLst>
      <p:ext uri="{BB962C8B-B14F-4D97-AF65-F5344CB8AC3E}">
        <p14:creationId xmlns:p14="http://schemas.microsoft.com/office/powerpoint/2010/main" val="2987937793"/>
      </p:ext>
    </p:extLst>
  </p:cSld>
  <p:clrMapOvr>
    <a:masterClrMapping/>
  </p:clrMapOvr>
  <p:transition spd="med">
    <p:wipe dir="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8A6EC3-9EEB-4520-A0E7-3537EBC315EA}"/>
              </a:ext>
            </a:extLst>
          </p:cNvPr>
          <p:cNvSpPr>
            <a:spLocks noGrp="1"/>
          </p:cNvSpPr>
          <p:nvPr>
            <p:ph type="title"/>
          </p:nvPr>
        </p:nvSpPr>
        <p:spPr>
          <a:xfrm>
            <a:off x="0" y="0"/>
            <a:ext cx="7955280" cy="640080"/>
          </a:xfrm>
        </p:spPr>
        <p:txBody>
          <a:bodyPr/>
          <a:lstStyle/>
          <a:p>
            <a:r>
              <a:rPr lang="en-US" dirty="0"/>
              <a:t>Weighted Mean : Summary</a:t>
            </a:r>
          </a:p>
        </p:txBody>
      </p:sp>
      <p:sp>
        <p:nvSpPr>
          <p:cNvPr id="4" name="Content Placeholder 3">
            <a:extLst>
              <a:ext uri="{FF2B5EF4-FFF2-40B4-BE49-F238E27FC236}">
                <a16:creationId xmlns:a16="http://schemas.microsoft.com/office/drawing/2014/main" id="{CF701619-2E8D-4182-BCFA-D371984D8E07}"/>
              </a:ext>
            </a:extLst>
          </p:cNvPr>
          <p:cNvSpPr>
            <a:spLocks noGrp="1"/>
          </p:cNvSpPr>
          <p:nvPr>
            <p:ph sz="half" idx="1"/>
          </p:nvPr>
        </p:nvSpPr>
        <p:spPr>
          <a:xfrm>
            <a:off x="62822" y="711976"/>
            <a:ext cx="8229600" cy="4020568"/>
          </a:xfrm>
        </p:spPr>
        <p:txBody>
          <a:bodyPr>
            <a:normAutofit/>
          </a:bodyPr>
          <a:lstStyle/>
          <a:p>
            <a:pPr>
              <a:buFont typeface="Arial" panose="020B0604020202020204" pitchFamily="34" charset="0"/>
              <a:buChar char="•"/>
            </a:pPr>
            <a:r>
              <a:rPr lang="en-US" sz="2400" b="1" kern="1200" dirty="0">
                <a:solidFill>
                  <a:schemeClr val="bg2">
                    <a:lumMod val="50000"/>
                    <a:lumOff val="50000"/>
                  </a:schemeClr>
                </a:solidFill>
                <a:latin typeface="Inter"/>
                <a:ea typeface="+mn-ea"/>
              </a:rPr>
              <a:t>Weighted Mean: </a:t>
            </a:r>
            <a:r>
              <a:rPr lang="en-US" sz="2400" kern="1200" dirty="0">
                <a:solidFill>
                  <a:schemeClr val="bg2">
                    <a:lumMod val="50000"/>
                    <a:lumOff val="50000"/>
                  </a:schemeClr>
                </a:solidFill>
                <a:latin typeface="Inter"/>
                <a:ea typeface="+mn-ea"/>
              </a:rPr>
              <a:t>A mean where some values contribute more than others.</a:t>
            </a:r>
          </a:p>
          <a:p>
            <a:pPr>
              <a:buFont typeface="Arial" panose="020B0604020202020204" pitchFamily="34" charset="0"/>
              <a:buChar char="•"/>
            </a:pPr>
            <a:r>
              <a:rPr lang="en-US" sz="2400" kern="1200" dirty="0">
                <a:solidFill>
                  <a:schemeClr val="bg2">
                    <a:lumMod val="50000"/>
                    <a:lumOff val="50000"/>
                  </a:schemeClr>
                </a:solidFill>
                <a:latin typeface="Inter"/>
                <a:ea typeface="+mn-ea"/>
              </a:rPr>
              <a:t>When the weights add to 1: just multiply each weight by the matching value and sum it all up</a:t>
            </a:r>
          </a:p>
          <a:p>
            <a:pPr>
              <a:buFont typeface="Arial" panose="020B0604020202020204" pitchFamily="34" charset="0"/>
              <a:buChar char="•"/>
            </a:pPr>
            <a:r>
              <a:rPr lang="en-US" sz="2400" kern="1200" dirty="0">
                <a:solidFill>
                  <a:schemeClr val="bg2">
                    <a:lumMod val="50000"/>
                    <a:lumOff val="50000"/>
                  </a:schemeClr>
                </a:solidFill>
                <a:latin typeface="Inter"/>
                <a:ea typeface="+mn-ea"/>
              </a:rPr>
              <a:t>Otherwise, multiply each weight </a:t>
            </a:r>
            <a:r>
              <a:rPr lang="en-US" sz="2400" b="1" kern="1200" dirty="0">
                <a:solidFill>
                  <a:schemeClr val="bg2">
                    <a:lumMod val="50000"/>
                    <a:lumOff val="50000"/>
                  </a:schemeClr>
                </a:solidFill>
                <a:latin typeface="Inter"/>
                <a:ea typeface="+mn-ea"/>
              </a:rPr>
              <a:t>w</a:t>
            </a:r>
            <a:r>
              <a:rPr lang="en-US" sz="2400" kern="1200" dirty="0">
                <a:solidFill>
                  <a:schemeClr val="bg2">
                    <a:lumMod val="50000"/>
                    <a:lumOff val="50000"/>
                  </a:schemeClr>
                </a:solidFill>
                <a:latin typeface="Inter"/>
                <a:ea typeface="+mn-ea"/>
              </a:rPr>
              <a:t> by its matching value </a:t>
            </a:r>
            <a:r>
              <a:rPr lang="en-US" sz="2400" b="1" kern="1200" dirty="0">
                <a:solidFill>
                  <a:schemeClr val="bg2">
                    <a:lumMod val="50000"/>
                    <a:lumOff val="50000"/>
                  </a:schemeClr>
                </a:solidFill>
                <a:latin typeface="Inter"/>
                <a:ea typeface="+mn-ea"/>
              </a:rPr>
              <a:t>x</a:t>
            </a:r>
            <a:r>
              <a:rPr lang="en-US" sz="2400" kern="1200" dirty="0">
                <a:solidFill>
                  <a:schemeClr val="bg2">
                    <a:lumMod val="50000"/>
                    <a:lumOff val="50000"/>
                  </a:schemeClr>
                </a:solidFill>
                <a:latin typeface="Inter"/>
                <a:ea typeface="+mn-ea"/>
              </a:rPr>
              <a:t>, sum that all up, and divide by the sum of weights:</a:t>
            </a:r>
          </a:p>
        </p:txBody>
      </p:sp>
      <p:pic>
        <p:nvPicPr>
          <p:cNvPr id="5" name="Picture 4">
            <a:extLst>
              <a:ext uri="{FF2B5EF4-FFF2-40B4-BE49-F238E27FC236}">
                <a16:creationId xmlns:a16="http://schemas.microsoft.com/office/drawing/2014/main" id="{0D4ADD21-A252-44ED-9CF5-2BCC2F3D1F9E}"/>
              </a:ext>
            </a:extLst>
          </p:cNvPr>
          <p:cNvPicPr>
            <a:picLocks noChangeAspect="1"/>
          </p:cNvPicPr>
          <p:nvPr/>
        </p:nvPicPr>
        <p:blipFill>
          <a:blip r:embed="rId2"/>
          <a:stretch>
            <a:fillRect/>
          </a:stretch>
        </p:blipFill>
        <p:spPr>
          <a:xfrm>
            <a:off x="2463122" y="3393299"/>
            <a:ext cx="3429000" cy="1038225"/>
          </a:xfrm>
          <a:prstGeom prst="rect">
            <a:avLst/>
          </a:prstGeom>
        </p:spPr>
      </p:pic>
    </p:spTree>
    <p:extLst>
      <p:ext uri="{BB962C8B-B14F-4D97-AF65-F5344CB8AC3E}">
        <p14:creationId xmlns:p14="http://schemas.microsoft.com/office/powerpoint/2010/main" val="2486453715"/>
      </p:ext>
    </p:extLst>
  </p:cSld>
  <p:clrMapOvr>
    <a:masterClrMapping/>
  </p:clrMapOvr>
  <p:transition spd="med">
    <p:wipe dir="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4211"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pic>
        <p:nvPicPr>
          <p:cNvPr id="18" name="Picture 17" descr="Diagram&#10;&#10;Description automatically generated with medium confidence">
            <a:extLst>
              <a:ext uri="{FF2B5EF4-FFF2-40B4-BE49-F238E27FC236}">
                <a16:creationId xmlns:a16="http://schemas.microsoft.com/office/drawing/2014/main" id="{E58CA81C-C243-431A-9819-E31BF6C52308}"/>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0" y="0"/>
            <a:ext cx="9144000" cy="5143500"/>
          </a:xfrm>
          <a:prstGeom prst="rect">
            <a:avLst/>
          </a:prstGeom>
        </p:spPr>
      </p:pic>
      <p:sp>
        <p:nvSpPr>
          <p:cNvPr id="22" name="Title 32">
            <a:extLst>
              <a:ext uri="{FF2B5EF4-FFF2-40B4-BE49-F238E27FC236}">
                <a16:creationId xmlns:a16="http://schemas.microsoft.com/office/drawing/2014/main" id="{7DE4F7AF-87AC-4CE0-9C4D-A5C0A40E4C2E}"/>
              </a:ext>
            </a:extLst>
          </p:cNvPr>
          <p:cNvSpPr>
            <a:spLocks noGrp="1"/>
          </p:cNvSpPr>
          <p:nvPr>
            <p:ph type="title"/>
          </p:nvPr>
        </p:nvSpPr>
        <p:spPr>
          <a:xfrm>
            <a:off x="75610" y="1249967"/>
            <a:ext cx="8992779" cy="3035543"/>
          </a:xfrm>
        </p:spPr>
        <p:txBody>
          <a:bodyPr/>
          <a:lstStyle/>
          <a:p>
            <a:r>
              <a:rPr lang="en-US" sz="4800" dirty="0">
                <a:solidFill>
                  <a:schemeClr val="tx2"/>
                </a:solidFill>
              </a:rPr>
              <a:t>Measure of  </a:t>
            </a:r>
            <a:br>
              <a:rPr lang="en-US" sz="4800" dirty="0">
                <a:solidFill>
                  <a:schemeClr val="tx2"/>
                </a:solidFill>
              </a:rPr>
            </a:br>
            <a:r>
              <a:rPr lang="en-US" sz="4800" dirty="0">
                <a:solidFill>
                  <a:schemeClr val="tx2"/>
                </a:solidFill>
              </a:rPr>
              <a:t>Variability</a:t>
            </a:r>
            <a:br>
              <a:rPr lang="en-US" dirty="0"/>
            </a:br>
            <a:br>
              <a:rPr lang="en-US" dirty="0"/>
            </a:br>
            <a:r>
              <a:rPr lang="en-US" dirty="0"/>
              <a:t> </a:t>
            </a:r>
          </a:p>
        </p:txBody>
      </p:sp>
    </p:spTree>
    <p:extLst>
      <p:ext uri="{BB962C8B-B14F-4D97-AF65-F5344CB8AC3E}">
        <p14:creationId xmlns:p14="http://schemas.microsoft.com/office/powerpoint/2010/main" val="2675433104"/>
      </p:ext>
    </p:extLst>
  </p:cSld>
  <p:clrMapOvr>
    <a:masterClrMapping/>
  </p:clrMapOvr>
  <p:transition spd="med">
    <p:wipe dir="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93D5C2-409B-4595-BFEF-49120103B5E7}"/>
              </a:ext>
            </a:extLst>
          </p:cNvPr>
          <p:cNvSpPr>
            <a:spLocks noGrp="1"/>
          </p:cNvSpPr>
          <p:nvPr>
            <p:ph type="title"/>
          </p:nvPr>
        </p:nvSpPr>
        <p:spPr>
          <a:xfrm>
            <a:off x="0" y="49589"/>
            <a:ext cx="8229600" cy="637794"/>
          </a:xfrm>
        </p:spPr>
        <p:txBody>
          <a:bodyPr/>
          <a:lstStyle/>
          <a:p>
            <a:r>
              <a:rPr lang="en-US" dirty="0"/>
              <a:t>Measure of Variability </a:t>
            </a:r>
          </a:p>
        </p:txBody>
      </p:sp>
      <p:sp>
        <p:nvSpPr>
          <p:cNvPr id="3" name="TextBox 2">
            <a:extLst>
              <a:ext uri="{FF2B5EF4-FFF2-40B4-BE49-F238E27FC236}">
                <a16:creationId xmlns:a16="http://schemas.microsoft.com/office/drawing/2014/main" id="{8B0A8520-70DC-4944-9F76-6EF1C18E6612}"/>
              </a:ext>
            </a:extLst>
          </p:cNvPr>
          <p:cNvSpPr txBox="1"/>
          <p:nvPr/>
        </p:nvSpPr>
        <p:spPr>
          <a:xfrm>
            <a:off x="104701" y="687383"/>
            <a:ext cx="8732171" cy="3862596"/>
          </a:xfrm>
          <a:prstGeom prst="rect">
            <a:avLst/>
          </a:prstGeom>
          <a:noFill/>
        </p:spPr>
        <p:txBody>
          <a:bodyPr wrap="square" rtlCol="0">
            <a:spAutoFit/>
          </a:bodyPr>
          <a:lstStyle/>
          <a:p>
            <a:pPr>
              <a:spcBef>
                <a:spcPts val="0"/>
              </a:spcBef>
              <a:spcAft>
                <a:spcPts val="0"/>
              </a:spcAft>
              <a:buClr>
                <a:schemeClr val="bg1"/>
              </a:buClr>
            </a:pPr>
            <a:r>
              <a:rPr lang="en-US" sz="2000" b="1" dirty="0">
                <a:solidFill>
                  <a:schemeClr val="bg2">
                    <a:lumMod val="50000"/>
                    <a:lumOff val="50000"/>
                  </a:schemeClr>
                </a:solidFill>
                <a:latin typeface="Inter"/>
                <a:cs typeface="Arial" panose="020B0604020202020204" pitchFamily="34" charset="0"/>
              </a:rPr>
              <a:t>Variability</a:t>
            </a:r>
            <a:r>
              <a:rPr lang="en-US" sz="2000" dirty="0">
                <a:solidFill>
                  <a:schemeClr val="bg2">
                    <a:lumMod val="50000"/>
                    <a:lumOff val="50000"/>
                  </a:schemeClr>
                </a:solidFill>
                <a:latin typeface="Inter"/>
                <a:cs typeface="Arial" panose="020B0604020202020204" pitchFamily="34" charset="0"/>
              </a:rPr>
              <a:t> describes how </a:t>
            </a:r>
            <a:r>
              <a:rPr lang="en-US" sz="2000" b="1" i="1" dirty="0">
                <a:solidFill>
                  <a:schemeClr val="bg2">
                    <a:lumMod val="50000"/>
                    <a:lumOff val="50000"/>
                  </a:schemeClr>
                </a:solidFill>
                <a:latin typeface="Inter"/>
                <a:cs typeface="Arial" panose="020B0604020202020204" pitchFamily="34" charset="0"/>
              </a:rPr>
              <a:t>far apart data points lie from each other </a:t>
            </a:r>
            <a:r>
              <a:rPr lang="en-US" sz="2000" dirty="0">
                <a:solidFill>
                  <a:schemeClr val="bg2">
                    <a:lumMod val="50000"/>
                    <a:lumOff val="50000"/>
                  </a:schemeClr>
                </a:solidFill>
                <a:latin typeface="Inter"/>
                <a:cs typeface="Arial" panose="020B0604020202020204" pitchFamily="34" charset="0"/>
              </a:rPr>
              <a:t>and from the center of a distribution. Along with measures of central tendency, measures of variability give you descriptive statistics that summarize your data.</a:t>
            </a:r>
          </a:p>
          <a:p>
            <a:pPr>
              <a:spcBef>
                <a:spcPts val="0"/>
              </a:spcBef>
              <a:spcAft>
                <a:spcPts val="0"/>
              </a:spcAft>
              <a:buClr>
                <a:schemeClr val="bg1"/>
              </a:buClr>
            </a:pPr>
            <a:endParaRPr lang="en-US" sz="1100" b="1" dirty="0">
              <a:solidFill>
                <a:srgbClr val="000000"/>
              </a:solidFill>
              <a:latin typeface="Lato" panose="020F0502020204030203" pitchFamily="34" charset="0"/>
            </a:endParaRPr>
          </a:p>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Variability is also referred to as </a:t>
            </a:r>
            <a:r>
              <a:rPr lang="en-US" sz="2000" b="1" dirty="0">
                <a:solidFill>
                  <a:schemeClr val="bg2">
                    <a:lumMod val="50000"/>
                    <a:lumOff val="50000"/>
                  </a:schemeClr>
                </a:solidFill>
                <a:latin typeface="Inter"/>
                <a:cs typeface="Arial" panose="020B0604020202020204" pitchFamily="34" charset="0"/>
              </a:rPr>
              <a:t>spread</a:t>
            </a:r>
            <a:r>
              <a:rPr lang="en-US" sz="2000" dirty="0">
                <a:solidFill>
                  <a:schemeClr val="bg2">
                    <a:lumMod val="50000"/>
                    <a:lumOff val="50000"/>
                  </a:schemeClr>
                </a:solidFill>
                <a:latin typeface="Inter"/>
                <a:cs typeface="Arial" panose="020B0604020202020204" pitchFamily="34" charset="0"/>
              </a:rPr>
              <a:t>, </a:t>
            </a:r>
            <a:r>
              <a:rPr lang="en-US" sz="2000" b="1" dirty="0">
                <a:solidFill>
                  <a:schemeClr val="bg2">
                    <a:lumMod val="50000"/>
                    <a:lumOff val="50000"/>
                  </a:schemeClr>
                </a:solidFill>
                <a:latin typeface="Inter"/>
                <a:cs typeface="Arial" panose="020B0604020202020204" pitchFamily="34" charset="0"/>
              </a:rPr>
              <a:t>scatter</a:t>
            </a:r>
            <a:r>
              <a:rPr lang="en-US" sz="2000" dirty="0">
                <a:solidFill>
                  <a:schemeClr val="bg2">
                    <a:lumMod val="50000"/>
                    <a:lumOff val="50000"/>
                  </a:schemeClr>
                </a:solidFill>
                <a:latin typeface="Inter"/>
                <a:cs typeface="Arial" panose="020B0604020202020204" pitchFamily="34" charset="0"/>
              </a:rPr>
              <a:t> or </a:t>
            </a:r>
            <a:r>
              <a:rPr lang="en-US" sz="2000" b="1" dirty="0">
                <a:solidFill>
                  <a:schemeClr val="bg2">
                    <a:lumMod val="50000"/>
                    <a:lumOff val="50000"/>
                  </a:schemeClr>
                </a:solidFill>
                <a:latin typeface="Inter"/>
                <a:cs typeface="Arial" panose="020B0604020202020204" pitchFamily="34" charset="0"/>
              </a:rPr>
              <a:t>dispersion</a:t>
            </a:r>
            <a:r>
              <a:rPr lang="en-US" sz="2000" dirty="0">
                <a:solidFill>
                  <a:schemeClr val="bg2">
                    <a:lumMod val="50000"/>
                    <a:lumOff val="50000"/>
                  </a:schemeClr>
                </a:solidFill>
                <a:latin typeface="Inter"/>
                <a:cs typeface="Arial" panose="020B0604020202020204" pitchFamily="34" charset="0"/>
              </a:rPr>
              <a:t>. It is most commonly measured with the following:</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Range</a:t>
            </a:r>
            <a:r>
              <a:rPr lang="en-US" sz="2000" b="1" dirty="0">
                <a:solidFill>
                  <a:schemeClr val="accent1"/>
                </a:solidFill>
                <a:latin typeface="Inter"/>
                <a:cs typeface="Arial" panose="020B0604020202020204" pitchFamily="34" charset="0"/>
              </a:rPr>
              <a:t>: </a:t>
            </a:r>
            <a:r>
              <a:rPr lang="en-US" sz="2000" b="1" dirty="0">
                <a:solidFill>
                  <a:schemeClr val="bg2">
                    <a:lumMod val="50000"/>
                    <a:lumOff val="50000"/>
                  </a:schemeClr>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the difference between the highest and lowest values</a:t>
            </a:r>
          </a:p>
          <a:p>
            <a:pPr>
              <a:spcBef>
                <a:spcPts val="0"/>
              </a:spcBef>
              <a:spcAft>
                <a:spcPts val="0"/>
              </a:spcAft>
              <a:buClr>
                <a:schemeClr val="bg1"/>
              </a:buClr>
            </a:pPr>
            <a:r>
              <a:rPr lang="en-US" sz="2000" b="1" u="sng" dirty="0">
                <a:solidFill>
                  <a:schemeClr val="accent1"/>
                </a:solidFill>
                <a:latin typeface="Inter"/>
                <a:cs typeface="Arial" panose="020B0604020202020204" pitchFamily="34" charset="0"/>
              </a:rPr>
              <a:t>Quartile:</a:t>
            </a:r>
            <a:r>
              <a:rPr lang="en-US" sz="2000" dirty="0">
                <a:solidFill>
                  <a:schemeClr val="bg2">
                    <a:lumMod val="50000"/>
                    <a:lumOff val="50000"/>
                  </a:schemeClr>
                </a:solidFill>
                <a:latin typeface="Inter"/>
                <a:cs typeface="Arial" panose="020B0604020202020204" pitchFamily="34" charset="0"/>
              </a:rPr>
              <a:t> 		that divide a list of numbers into quarters</a:t>
            </a:r>
            <a:endParaRPr lang="en-US" sz="2000" b="1" u="sng" dirty="0">
              <a:solidFill>
                <a:schemeClr val="accent1"/>
              </a:solidFill>
              <a:latin typeface="Inter"/>
              <a:cs typeface="Arial" panose="020B0604020202020204" pitchFamily="34" charset="0"/>
            </a:endParaRP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3">
                  <a:extLst>
                    <a:ext uri="{A12FA001-AC4F-418D-AE19-62706E023703}">
                      <ahyp:hlinkClr xmlns:ahyp="http://schemas.microsoft.com/office/drawing/2018/hyperlinkcolor" val="tx"/>
                    </a:ext>
                  </a:extLst>
                </a:hlinkClick>
              </a:rPr>
              <a:t>Interquartile range</a:t>
            </a:r>
            <a:r>
              <a:rPr lang="en-US" sz="2000" b="1" dirty="0">
                <a:solidFill>
                  <a:schemeClr val="accent1"/>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the range of the middle half of a distribution</a:t>
            </a: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4">
                  <a:extLst>
                    <a:ext uri="{A12FA001-AC4F-418D-AE19-62706E023703}">
                      <ahyp:hlinkClr xmlns:ahyp="http://schemas.microsoft.com/office/drawing/2018/hyperlinkcolor" val="tx"/>
                    </a:ext>
                  </a:extLst>
                </a:hlinkClick>
              </a:rPr>
              <a:t>Standard deviation</a:t>
            </a:r>
            <a:r>
              <a:rPr lang="en-US" sz="2000" b="1" dirty="0">
                <a:solidFill>
                  <a:schemeClr val="accent1"/>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average distance from the mean</a:t>
            </a: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5">
                  <a:extLst>
                    <a:ext uri="{A12FA001-AC4F-418D-AE19-62706E023703}">
                      <ahyp:hlinkClr xmlns:ahyp="http://schemas.microsoft.com/office/drawing/2018/hyperlinkcolor" val="tx"/>
                    </a:ext>
                  </a:extLst>
                </a:hlinkClick>
              </a:rPr>
              <a:t>Variance</a:t>
            </a:r>
            <a:r>
              <a:rPr lang="en-US" sz="2000" b="1" dirty="0">
                <a:solidFill>
                  <a:schemeClr val="accent1"/>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average of squared distances from the mean</a:t>
            </a:r>
          </a:p>
          <a:p>
            <a:pPr>
              <a:spcBef>
                <a:spcPts val="0"/>
              </a:spcBef>
              <a:spcAft>
                <a:spcPts val="0"/>
              </a:spcAft>
              <a:buClr>
                <a:schemeClr val="bg1"/>
              </a:buClr>
            </a:pPr>
            <a:endParaRPr lang="en-US" sz="1400" dirty="0">
              <a:solidFill>
                <a:schemeClr val="bg2"/>
              </a:solidFill>
              <a:latin typeface="+mn-lt"/>
            </a:endParaRPr>
          </a:p>
        </p:txBody>
      </p:sp>
    </p:spTree>
    <p:extLst>
      <p:ext uri="{BB962C8B-B14F-4D97-AF65-F5344CB8AC3E}">
        <p14:creationId xmlns:p14="http://schemas.microsoft.com/office/powerpoint/2010/main" val="891461818"/>
      </p:ext>
    </p:extLst>
  </p:cSld>
  <p:clrMapOvr>
    <a:masterClrMapping/>
  </p:clrMapOvr>
  <p:transition spd="med">
    <p:wipe dir="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D8BA4-EE20-4594-86BE-1831B7FC5366}"/>
              </a:ext>
            </a:extLst>
          </p:cNvPr>
          <p:cNvSpPr>
            <a:spLocks noGrp="1"/>
          </p:cNvSpPr>
          <p:nvPr>
            <p:ph type="title"/>
          </p:nvPr>
        </p:nvSpPr>
        <p:spPr>
          <a:xfrm>
            <a:off x="0" y="0"/>
            <a:ext cx="8229600" cy="637794"/>
          </a:xfrm>
        </p:spPr>
        <p:txBody>
          <a:bodyPr/>
          <a:lstStyle/>
          <a:p>
            <a:r>
              <a:rPr lang="en-US" dirty="0"/>
              <a:t>Why does variability matters? </a:t>
            </a:r>
          </a:p>
        </p:txBody>
      </p:sp>
      <p:pic>
        <p:nvPicPr>
          <p:cNvPr id="4" name="Picture 3">
            <a:extLst>
              <a:ext uri="{FF2B5EF4-FFF2-40B4-BE49-F238E27FC236}">
                <a16:creationId xmlns:a16="http://schemas.microsoft.com/office/drawing/2014/main" id="{B28A3692-9C0A-4265-A9CA-4E9ADB430840}"/>
              </a:ext>
            </a:extLst>
          </p:cNvPr>
          <p:cNvPicPr>
            <a:picLocks noChangeAspect="1"/>
          </p:cNvPicPr>
          <p:nvPr/>
        </p:nvPicPr>
        <p:blipFill>
          <a:blip r:embed="rId2"/>
          <a:stretch>
            <a:fillRect/>
          </a:stretch>
        </p:blipFill>
        <p:spPr>
          <a:xfrm>
            <a:off x="5535261" y="832512"/>
            <a:ext cx="3280672" cy="2508493"/>
          </a:xfrm>
          <a:prstGeom prst="rect">
            <a:avLst/>
          </a:prstGeom>
        </p:spPr>
      </p:pic>
      <p:sp>
        <p:nvSpPr>
          <p:cNvPr id="5" name="TextBox 4">
            <a:extLst>
              <a:ext uri="{FF2B5EF4-FFF2-40B4-BE49-F238E27FC236}">
                <a16:creationId xmlns:a16="http://schemas.microsoft.com/office/drawing/2014/main" id="{C16DED31-9843-4D58-962A-5B07E801B359}"/>
              </a:ext>
            </a:extLst>
          </p:cNvPr>
          <p:cNvSpPr txBox="1"/>
          <p:nvPr/>
        </p:nvSpPr>
        <p:spPr>
          <a:xfrm>
            <a:off x="-1" y="481631"/>
            <a:ext cx="5349651" cy="4170372"/>
          </a:xfrm>
          <a:prstGeom prst="rect">
            <a:avLst/>
          </a:prstGeom>
          <a:noFill/>
        </p:spPr>
        <p:txBody>
          <a:bodyPr wrap="square" rtlCol="0">
            <a:spAutoFit/>
          </a:bodyPr>
          <a:lstStyle/>
          <a:p>
            <a:pPr>
              <a:spcBef>
                <a:spcPts val="0"/>
              </a:spcBef>
              <a:spcAft>
                <a:spcPts val="0"/>
              </a:spcAft>
              <a:buClr>
                <a:schemeClr val="bg1"/>
              </a:buClr>
            </a:pPr>
            <a:r>
              <a:rPr lang="en-US" dirty="0">
                <a:solidFill>
                  <a:schemeClr val="bg2">
                    <a:lumMod val="50000"/>
                    <a:lumOff val="50000"/>
                  </a:schemeClr>
                </a:solidFill>
                <a:latin typeface="Inter"/>
                <a:cs typeface="Arial" panose="020B0604020202020204" pitchFamily="34" charset="0"/>
              </a:rPr>
              <a:t>Ex : Variability in normal distribution </a:t>
            </a:r>
          </a:p>
          <a:p>
            <a:pPr>
              <a:spcBef>
                <a:spcPts val="0"/>
              </a:spcBef>
              <a:spcAft>
                <a:spcPts val="0"/>
              </a:spcAft>
              <a:buClr>
                <a:schemeClr val="bg1"/>
              </a:buClr>
            </a:pPr>
            <a:endParaRPr lang="en-US" dirty="0">
              <a:solidFill>
                <a:schemeClr val="bg2">
                  <a:lumMod val="50000"/>
                  <a:lumOff val="50000"/>
                </a:schemeClr>
              </a:solidFill>
              <a:latin typeface="Inter"/>
              <a:cs typeface="Arial" panose="020B0604020202020204" pitchFamily="34" charset="0"/>
            </a:endParaRPr>
          </a:p>
          <a:p>
            <a:pPr algn="l"/>
            <a:r>
              <a:rPr lang="en-US" dirty="0">
                <a:solidFill>
                  <a:schemeClr val="bg2">
                    <a:lumMod val="50000"/>
                    <a:lumOff val="50000"/>
                  </a:schemeClr>
                </a:solidFill>
                <a:latin typeface="Inter"/>
                <a:cs typeface="Arial" panose="020B0604020202020204" pitchFamily="34" charset="0"/>
              </a:rPr>
              <a:t>Using </a:t>
            </a:r>
            <a:r>
              <a:rPr lang="en-US" dirty="0">
                <a:solidFill>
                  <a:schemeClr val="bg2">
                    <a:lumMod val="50000"/>
                    <a:lumOff val="50000"/>
                  </a:schemeClr>
                </a:solidFill>
                <a:latin typeface="Inter"/>
                <a:cs typeface="Arial" panose="020B0604020202020204" pitchFamily="34" charset="0"/>
                <a:hlinkClick r:id="rId3">
                  <a:extLst>
                    <a:ext uri="{A12FA001-AC4F-418D-AE19-62706E023703}">
                      <ahyp:hlinkClr xmlns:ahyp="http://schemas.microsoft.com/office/drawing/2018/hyperlinkcolor" val="tx"/>
                    </a:ext>
                  </a:extLst>
                </a:hlinkClick>
              </a:rPr>
              <a:t>simple random samples</a:t>
            </a:r>
            <a:r>
              <a:rPr lang="en-US" dirty="0">
                <a:solidFill>
                  <a:schemeClr val="bg2">
                    <a:lumMod val="50000"/>
                    <a:lumOff val="50000"/>
                  </a:schemeClr>
                </a:solidFill>
                <a:latin typeface="Inter"/>
                <a:cs typeface="Arial" panose="020B0604020202020204" pitchFamily="34" charset="0"/>
              </a:rPr>
              <a:t>, you collect data from 3 groups:</a:t>
            </a:r>
          </a:p>
          <a:p>
            <a:pPr algn="l"/>
            <a:endParaRPr lang="en-US" dirty="0">
              <a:solidFill>
                <a:schemeClr val="bg2">
                  <a:lumMod val="50000"/>
                  <a:lumOff val="50000"/>
                </a:schemeClr>
              </a:solidFill>
              <a:latin typeface="Inter"/>
              <a:cs typeface="Arial" panose="020B0604020202020204" pitchFamily="34" charset="0"/>
            </a:endParaRPr>
          </a:p>
          <a:p>
            <a:pPr algn="l"/>
            <a:r>
              <a:rPr lang="en-US" dirty="0">
                <a:solidFill>
                  <a:schemeClr val="accent1"/>
                </a:solidFill>
                <a:latin typeface="Inter"/>
                <a:cs typeface="Arial" panose="020B0604020202020204" pitchFamily="34" charset="0"/>
              </a:rPr>
              <a:t>Sample A: </a:t>
            </a:r>
            <a:r>
              <a:rPr lang="en-US" dirty="0">
                <a:solidFill>
                  <a:schemeClr val="bg2">
                    <a:lumMod val="50000"/>
                    <a:lumOff val="50000"/>
                  </a:schemeClr>
                </a:solidFill>
                <a:latin typeface="Inter"/>
                <a:cs typeface="Arial" panose="020B0604020202020204" pitchFamily="34" charset="0"/>
              </a:rPr>
              <a:t>high school students,</a:t>
            </a:r>
          </a:p>
          <a:p>
            <a:pPr algn="l"/>
            <a:r>
              <a:rPr lang="en-US" dirty="0">
                <a:solidFill>
                  <a:schemeClr val="accent1"/>
                </a:solidFill>
                <a:latin typeface="Inter"/>
                <a:cs typeface="Arial" panose="020B0604020202020204" pitchFamily="34" charset="0"/>
              </a:rPr>
              <a:t>Sample B: </a:t>
            </a:r>
            <a:r>
              <a:rPr lang="en-US" dirty="0">
                <a:solidFill>
                  <a:schemeClr val="bg2">
                    <a:lumMod val="50000"/>
                    <a:lumOff val="50000"/>
                  </a:schemeClr>
                </a:solidFill>
                <a:latin typeface="Inter"/>
                <a:cs typeface="Arial" panose="020B0604020202020204" pitchFamily="34" charset="0"/>
              </a:rPr>
              <a:t>college students,</a:t>
            </a:r>
          </a:p>
          <a:p>
            <a:pPr algn="l"/>
            <a:r>
              <a:rPr lang="en-US" dirty="0">
                <a:solidFill>
                  <a:schemeClr val="accent1"/>
                </a:solidFill>
                <a:latin typeface="Inter"/>
                <a:cs typeface="Arial" panose="020B0604020202020204" pitchFamily="34" charset="0"/>
              </a:rPr>
              <a:t>Sample C: </a:t>
            </a:r>
            <a:r>
              <a:rPr lang="en-US" dirty="0">
                <a:solidFill>
                  <a:schemeClr val="bg2">
                    <a:lumMod val="50000"/>
                    <a:lumOff val="50000"/>
                  </a:schemeClr>
                </a:solidFill>
                <a:latin typeface="Inter"/>
                <a:cs typeface="Arial" panose="020B0604020202020204" pitchFamily="34" charset="0"/>
              </a:rPr>
              <a:t>adult full-time employees.</a:t>
            </a:r>
          </a:p>
          <a:p>
            <a:pPr algn="l">
              <a:buFont typeface="Arial" panose="020B0604020202020204" pitchFamily="34" charset="0"/>
              <a:buChar char="•"/>
            </a:pPr>
            <a:endParaRPr lang="en-US" dirty="0">
              <a:solidFill>
                <a:schemeClr val="bg2">
                  <a:lumMod val="50000"/>
                  <a:lumOff val="50000"/>
                </a:schemeClr>
              </a:solidFill>
              <a:latin typeface="Inter"/>
              <a:cs typeface="Arial" panose="020B0604020202020204" pitchFamily="34" charset="0"/>
            </a:endParaRPr>
          </a:p>
          <a:p>
            <a:pPr algn="l">
              <a:buFont typeface="Arial" panose="020B0604020202020204" pitchFamily="34" charset="0"/>
              <a:buChar char="•"/>
            </a:pPr>
            <a:endParaRPr lang="en-US" dirty="0">
              <a:solidFill>
                <a:schemeClr val="bg2">
                  <a:lumMod val="50000"/>
                  <a:lumOff val="50000"/>
                </a:schemeClr>
              </a:solidFill>
              <a:latin typeface="Inter"/>
              <a:cs typeface="Arial" panose="020B0604020202020204" pitchFamily="34" charset="0"/>
            </a:endParaRPr>
          </a:p>
          <a:p>
            <a:pPr algn="l">
              <a:buFont typeface="Arial" panose="020B0604020202020204" pitchFamily="34" charset="0"/>
              <a:buChar char="•"/>
            </a:pPr>
            <a:endParaRPr lang="en-US" sz="1100" b="0" i="0" dirty="0">
              <a:solidFill>
                <a:srgbClr val="0D405F"/>
              </a:solidFill>
              <a:effectLst/>
              <a:latin typeface="Inter"/>
            </a:endParaRPr>
          </a:p>
          <a:p>
            <a:pPr>
              <a:spcBef>
                <a:spcPts val="0"/>
              </a:spcBef>
              <a:spcAft>
                <a:spcPts val="0"/>
              </a:spcAft>
              <a:buClr>
                <a:schemeClr val="bg1"/>
              </a:buClr>
            </a:pPr>
            <a:endParaRPr lang="en-US" sz="1400" dirty="0" err="1">
              <a:solidFill>
                <a:schemeClr val="bg2"/>
              </a:solidFill>
              <a:latin typeface="+mn-lt"/>
            </a:endParaRPr>
          </a:p>
        </p:txBody>
      </p:sp>
      <p:sp>
        <p:nvSpPr>
          <p:cNvPr id="6" name="TextBox 5">
            <a:extLst>
              <a:ext uri="{FF2B5EF4-FFF2-40B4-BE49-F238E27FC236}">
                <a16:creationId xmlns:a16="http://schemas.microsoft.com/office/drawing/2014/main" id="{DA648542-B575-4307-A4F5-A40FCCDE0A16}"/>
              </a:ext>
            </a:extLst>
          </p:cNvPr>
          <p:cNvSpPr txBox="1"/>
          <p:nvPr/>
        </p:nvSpPr>
        <p:spPr>
          <a:xfrm>
            <a:off x="62821" y="3657600"/>
            <a:ext cx="8829894" cy="1384995"/>
          </a:xfrm>
          <a:prstGeom prst="rect">
            <a:avLst/>
          </a:prstGeom>
          <a:noFill/>
        </p:spPr>
        <p:txBody>
          <a:bodyPr wrap="square" rtlCol="0">
            <a:spAutoFit/>
          </a:bodyPr>
          <a:lstStyle/>
          <a:p>
            <a:pPr algn="l"/>
            <a:r>
              <a:rPr lang="en-US" sz="1400" dirty="0">
                <a:solidFill>
                  <a:schemeClr val="bg2">
                    <a:lumMod val="50000"/>
                    <a:lumOff val="50000"/>
                  </a:schemeClr>
                </a:solidFill>
                <a:latin typeface="Inter"/>
                <a:cs typeface="Arial" panose="020B0604020202020204" pitchFamily="34" charset="0"/>
              </a:rPr>
              <a:t>All three of your samples have the same average phone use, at 195 minutes or 3 hours and 15 minutes. This is the x-axis value where the peak of the curves are.</a:t>
            </a:r>
          </a:p>
          <a:p>
            <a:pPr algn="l"/>
            <a:endParaRPr lang="en-US" sz="1400" dirty="0">
              <a:solidFill>
                <a:schemeClr val="bg2">
                  <a:lumMod val="50000"/>
                  <a:lumOff val="50000"/>
                </a:schemeClr>
              </a:solidFill>
              <a:latin typeface="Inter"/>
              <a:cs typeface="Arial" panose="020B0604020202020204" pitchFamily="34" charset="0"/>
            </a:endParaRPr>
          </a:p>
          <a:p>
            <a:pPr algn="l"/>
            <a:r>
              <a:rPr lang="en-US" sz="1400" dirty="0">
                <a:solidFill>
                  <a:schemeClr val="bg2">
                    <a:lumMod val="50000"/>
                    <a:lumOff val="50000"/>
                  </a:schemeClr>
                </a:solidFill>
                <a:latin typeface="Inter"/>
                <a:cs typeface="Arial" panose="020B0604020202020204" pitchFamily="34" charset="0"/>
              </a:rPr>
              <a:t>Although the data follows a </a:t>
            </a:r>
            <a:r>
              <a:rPr lang="en-US" sz="1400" dirty="0">
                <a:solidFill>
                  <a:schemeClr val="bg2">
                    <a:lumMod val="50000"/>
                    <a:lumOff val="50000"/>
                  </a:schemeClr>
                </a:solidFill>
                <a:latin typeface="Inter"/>
                <a:cs typeface="Arial" panose="020B0604020202020204" pitchFamily="34" charset="0"/>
                <a:hlinkClick r:id="rId4">
                  <a:extLst>
                    <a:ext uri="{A12FA001-AC4F-418D-AE19-62706E023703}">
                      <ahyp:hlinkClr xmlns:ahyp="http://schemas.microsoft.com/office/drawing/2018/hyperlinkcolor" val="tx"/>
                    </a:ext>
                  </a:extLst>
                </a:hlinkClick>
              </a:rPr>
              <a:t>normal distribution</a:t>
            </a:r>
            <a:r>
              <a:rPr lang="en-US" sz="1400" dirty="0">
                <a:solidFill>
                  <a:schemeClr val="bg2">
                    <a:lumMod val="50000"/>
                    <a:lumOff val="50000"/>
                  </a:schemeClr>
                </a:solidFill>
                <a:latin typeface="Inter"/>
                <a:cs typeface="Arial" panose="020B0604020202020204" pitchFamily="34" charset="0"/>
              </a:rPr>
              <a:t>, each sample has different spreads. Sample A has the largest variability while Sample C has the smallest variability.</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1306192768"/>
      </p:ext>
    </p:extLst>
  </p:cSld>
  <p:clrMapOvr>
    <a:masterClrMapping/>
  </p:clrMapOvr>
  <p:transition spd="med">
    <p:wipe dir="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7BF18-BDD0-4811-8BF9-7AA8D82CBE88}"/>
              </a:ext>
            </a:extLst>
          </p:cNvPr>
          <p:cNvSpPr>
            <a:spLocks noGrp="1"/>
          </p:cNvSpPr>
          <p:nvPr>
            <p:ph type="title"/>
          </p:nvPr>
        </p:nvSpPr>
        <p:spPr>
          <a:xfrm>
            <a:off x="101213" y="77509"/>
            <a:ext cx="8229600" cy="637794"/>
          </a:xfrm>
        </p:spPr>
        <p:txBody>
          <a:bodyPr/>
          <a:lstStyle/>
          <a:p>
            <a:r>
              <a:rPr lang="en-US" dirty="0"/>
              <a:t>Range</a:t>
            </a:r>
          </a:p>
        </p:txBody>
      </p:sp>
      <p:sp>
        <p:nvSpPr>
          <p:cNvPr id="3" name="TextBox 2">
            <a:extLst>
              <a:ext uri="{FF2B5EF4-FFF2-40B4-BE49-F238E27FC236}">
                <a16:creationId xmlns:a16="http://schemas.microsoft.com/office/drawing/2014/main" id="{B75B9029-80C6-49D8-8997-614ABF93772C}"/>
              </a:ext>
            </a:extLst>
          </p:cNvPr>
          <p:cNvSpPr txBox="1"/>
          <p:nvPr/>
        </p:nvSpPr>
        <p:spPr>
          <a:xfrm>
            <a:off x="41881" y="663114"/>
            <a:ext cx="8885734" cy="2277547"/>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The range tells you the spread of your data from the lowest to the highest value in the distribution. It’s the easiest measure of variability to calculate.</a:t>
            </a:r>
          </a:p>
          <a:p>
            <a:pPr marL="342900" indent="-342900">
              <a:spcBef>
                <a:spcPts val="0"/>
              </a:spcBef>
              <a:spcAft>
                <a:spcPts val="0"/>
              </a:spcAft>
              <a:buClr>
                <a:schemeClr val="bg1"/>
              </a:buClr>
              <a:buFont typeface="Wingdings" panose="05000000000000000000" pitchFamily="2" charset="2"/>
              <a:buChar char="Ø"/>
            </a:pPr>
            <a:r>
              <a:rPr lang="en-US" sz="2000" dirty="0">
                <a:solidFill>
                  <a:schemeClr val="bg2">
                    <a:lumMod val="50000"/>
                    <a:lumOff val="50000"/>
                  </a:schemeClr>
                </a:solidFill>
                <a:latin typeface="Inter"/>
                <a:cs typeface="Arial" panose="020B0604020202020204" pitchFamily="34" charset="0"/>
              </a:rPr>
              <a:t>To </a:t>
            </a:r>
            <a:r>
              <a:rPr lang="en-US" sz="2000" b="1" i="1"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find the range</a:t>
            </a:r>
            <a:r>
              <a:rPr lang="en-US" sz="2000" dirty="0">
                <a:solidFill>
                  <a:schemeClr val="bg2">
                    <a:lumMod val="50000"/>
                    <a:lumOff val="50000"/>
                  </a:schemeClr>
                </a:solidFill>
                <a:latin typeface="Inter"/>
                <a:cs typeface="Arial" panose="020B0604020202020204" pitchFamily="34" charset="0"/>
              </a:rPr>
              <a:t>, simply subtract the lowest value from the highest value in the data set.</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Ex: you have 8 data points from Sample A</a:t>
            </a:r>
          </a:p>
          <a:p>
            <a:pPr>
              <a:spcBef>
                <a:spcPts val="0"/>
              </a:spcBef>
              <a:spcAft>
                <a:spcPts val="0"/>
              </a:spcAft>
              <a:buClr>
                <a:schemeClr val="bg1"/>
              </a:buClr>
            </a:pPr>
            <a:endParaRPr lang="en-US" sz="1100" dirty="0">
              <a:solidFill>
                <a:srgbClr val="0D405F"/>
              </a:solidFill>
              <a:latin typeface="Inter"/>
            </a:endParaRPr>
          </a:p>
          <a:p>
            <a:pPr>
              <a:spcBef>
                <a:spcPts val="0"/>
              </a:spcBef>
              <a:spcAft>
                <a:spcPts val="0"/>
              </a:spcAft>
              <a:buClr>
                <a:schemeClr val="bg1"/>
              </a:buClr>
            </a:pPr>
            <a:r>
              <a:rPr lang="en-US" sz="1100" b="1" dirty="0">
                <a:solidFill>
                  <a:schemeClr val="accent1"/>
                </a:solidFill>
                <a:latin typeface="Inter"/>
              </a:rPr>
              <a:t>Data (Minutes) 		72	110	134	190	238	287	305	324</a:t>
            </a:r>
            <a:endParaRPr lang="en-US" sz="1400" b="1" dirty="0">
              <a:solidFill>
                <a:schemeClr val="accent1"/>
              </a:solidFill>
              <a:latin typeface="+mn-lt"/>
            </a:endParaRPr>
          </a:p>
        </p:txBody>
      </p:sp>
    </p:spTree>
    <p:extLst>
      <p:ext uri="{BB962C8B-B14F-4D97-AF65-F5344CB8AC3E}">
        <p14:creationId xmlns:p14="http://schemas.microsoft.com/office/powerpoint/2010/main" val="3012658408"/>
      </p:ext>
    </p:extLst>
  </p:cSld>
  <p:clrMapOvr>
    <a:masterClrMapping/>
  </p:clrMapOvr>
  <p:transition spd="med">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9C1809-55AB-431A-963D-57F0E70BE161}"/>
              </a:ext>
            </a:extLst>
          </p:cNvPr>
          <p:cNvSpPr>
            <a:spLocks noGrp="1"/>
          </p:cNvSpPr>
          <p:nvPr>
            <p:ph type="title"/>
          </p:nvPr>
        </p:nvSpPr>
        <p:spPr>
          <a:xfrm>
            <a:off x="73902" y="52680"/>
            <a:ext cx="7955280" cy="640080"/>
          </a:xfrm>
        </p:spPr>
        <p:txBody>
          <a:bodyPr/>
          <a:lstStyle/>
          <a:p>
            <a:r>
              <a:rPr lang="en-US" dirty="0"/>
              <a:t>Terminology </a:t>
            </a:r>
            <a:r>
              <a:rPr lang="en-US" sz="1600" b="1" dirty="0">
                <a:solidFill>
                  <a:schemeClr val="bg2">
                    <a:lumMod val="50000"/>
                    <a:lumOff val="50000"/>
                  </a:schemeClr>
                </a:solidFill>
              </a:rPr>
              <a:t>commonly used terminology in the discipline of statistics</a:t>
            </a:r>
            <a:br>
              <a:rPr lang="en-US" dirty="0"/>
            </a:br>
            <a:endParaRPr lang="en-US" dirty="0"/>
          </a:p>
        </p:txBody>
      </p:sp>
      <p:sp>
        <p:nvSpPr>
          <p:cNvPr id="3" name="Content Placeholder 2">
            <a:extLst>
              <a:ext uri="{FF2B5EF4-FFF2-40B4-BE49-F238E27FC236}">
                <a16:creationId xmlns:a16="http://schemas.microsoft.com/office/drawing/2014/main" id="{3F6397B1-9B77-4F28-B578-85539A60E080}"/>
              </a:ext>
            </a:extLst>
          </p:cNvPr>
          <p:cNvSpPr>
            <a:spLocks noGrp="1"/>
          </p:cNvSpPr>
          <p:nvPr>
            <p:ph sz="half" idx="1"/>
          </p:nvPr>
        </p:nvSpPr>
        <p:spPr>
          <a:xfrm>
            <a:off x="73903" y="692760"/>
            <a:ext cx="7898914" cy="2351065"/>
          </a:xfrm>
        </p:spPr>
        <p:txBody>
          <a:bodyPr/>
          <a:lstStyle/>
          <a:p>
            <a:r>
              <a:rPr lang="en-US" b="1" dirty="0">
                <a:solidFill>
                  <a:schemeClr val="bg1"/>
                </a:solidFill>
              </a:rPr>
              <a:t>Variable : </a:t>
            </a:r>
            <a:r>
              <a:rPr lang="en-US" dirty="0">
                <a:solidFill>
                  <a:schemeClr val="bg2">
                    <a:lumMod val="50000"/>
                    <a:lumOff val="50000"/>
                  </a:schemeClr>
                </a:solidFill>
              </a:rPr>
              <a:t>A variable is defined as an attribute of an object of study. Choosing which variables to measure is central to good experimental design.</a:t>
            </a:r>
          </a:p>
          <a:p>
            <a:pPr marL="0" indent="0">
              <a:buNone/>
            </a:pPr>
            <a:endParaRPr lang="en-US" dirty="0">
              <a:solidFill>
                <a:schemeClr val="bg2">
                  <a:lumMod val="50000"/>
                  <a:lumOff val="50000"/>
                </a:schemeClr>
              </a:solidFill>
            </a:endParaRPr>
          </a:p>
          <a:p>
            <a:pPr lvl="1"/>
            <a:r>
              <a:rPr lang="en-US" dirty="0">
                <a:solidFill>
                  <a:schemeClr val="bg2">
                    <a:lumMod val="50000"/>
                    <a:lumOff val="50000"/>
                  </a:schemeClr>
                </a:solidFill>
              </a:rPr>
              <a:t>Ex : You are collecting data of weight of adults of male living in Australia, here our variable is weight</a:t>
            </a:r>
          </a:p>
          <a:p>
            <a:pPr lvl="1"/>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B4B84EB2-DAE0-4A07-91E6-E8997FB9F357}"/>
              </a:ext>
            </a:extLst>
          </p:cNvPr>
          <p:cNvPicPr>
            <a:picLocks noChangeAspect="1"/>
          </p:cNvPicPr>
          <p:nvPr/>
        </p:nvPicPr>
        <p:blipFill>
          <a:blip r:embed="rId2"/>
          <a:stretch>
            <a:fillRect/>
          </a:stretch>
        </p:blipFill>
        <p:spPr>
          <a:xfrm>
            <a:off x="73902" y="1730931"/>
            <a:ext cx="7427934" cy="702642"/>
          </a:xfrm>
          <a:prstGeom prst="rect">
            <a:avLst/>
          </a:prstGeom>
        </p:spPr>
      </p:pic>
      <p:sp>
        <p:nvSpPr>
          <p:cNvPr id="6" name="TextBox 5">
            <a:extLst>
              <a:ext uri="{FF2B5EF4-FFF2-40B4-BE49-F238E27FC236}">
                <a16:creationId xmlns:a16="http://schemas.microsoft.com/office/drawing/2014/main" id="{9D05D184-28F2-4052-BB33-D236DFC4C405}"/>
              </a:ext>
            </a:extLst>
          </p:cNvPr>
          <p:cNvSpPr txBox="1"/>
          <p:nvPr/>
        </p:nvSpPr>
        <p:spPr>
          <a:xfrm>
            <a:off x="73902" y="2863869"/>
            <a:ext cx="8575320" cy="1766446"/>
          </a:xfrm>
          <a:prstGeom prst="rect">
            <a:avLst/>
          </a:prstGeom>
          <a:noFill/>
        </p:spPr>
        <p:txBody>
          <a:bodyPr wrap="square" rtlCol="0">
            <a:spAutoFit/>
          </a:bodyPr>
          <a:lstStyle/>
          <a:p>
            <a:pPr marL="285750" marR="0" indent="-285750">
              <a:lnSpc>
                <a:spcPct val="107000"/>
              </a:lnSpc>
              <a:spcBef>
                <a:spcPts val="0"/>
              </a:spcBef>
              <a:spcAft>
                <a:spcPts val="800"/>
              </a:spcAft>
              <a:buFont typeface="Wingdings" panose="05000000000000000000" pitchFamily="2" charset="2"/>
              <a:buChar char="Ø"/>
            </a:pPr>
            <a:r>
              <a:rPr lang="en-US" sz="1400" dirty="0">
                <a:solidFill>
                  <a:schemeClr val="bg2">
                    <a:lumMod val="50000"/>
                    <a:lumOff val="50000"/>
                  </a:schemeClr>
                </a:solidFill>
                <a:latin typeface="Arial" panose="020B0604020202020204" pitchFamily="34" charset="0"/>
                <a:cs typeface="Arial" panose="020B0604020202020204" pitchFamily="34" charset="0"/>
              </a:rPr>
              <a:t>A </a:t>
            </a:r>
            <a:r>
              <a:rPr lang="en-US" sz="1400" dirty="0">
                <a:solidFill>
                  <a:schemeClr val="bg1"/>
                </a:solidFill>
                <a:latin typeface="Arial" panose="020B0604020202020204" pitchFamily="34" charset="0"/>
                <a:cs typeface="Arial" panose="020B0604020202020204" pitchFamily="34" charset="0"/>
              </a:rPr>
              <a:t>Variables</a:t>
            </a:r>
            <a:r>
              <a:rPr lang="en-US" sz="1400" dirty="0">
                <a:solidFill>
                  <a:schemeClr val="bg2">
                    <a:lumMod val="50000"/>
                    <a:lumOff val="50000"/>
                  </a:schemeClr>
                </a:solidFill>
                <a:latin typeface="Arial" panose="020B0604020202020204" pitchFamily="34" charset="0"/>
                <a:cs typeface="Arial" panose="020B0604020202020204" pitchFamily="34" charset="0"/>
              </a:rPr>
              <a:t> are things you measure, manipulate and control in statistics and research. </a:t>
            </a:r>
          </a:p>
          <a:p>
            <a:pPr marL="285750" marR="0" indent="-285750">
              <a:lnSpc>
                <a:spcPct val="107000"/>
              </a:lnSpc>
              <a:spcBef>
                <a:spcPts val="0"/>
              </a:spcBef>
              <a:spcAft>
                <a:spcPts val="800"/>
              </a:spcAft>
              <a:buFont typeface="Wingdings" panose="05000000000000000000" pitchFamily="2" charset="2"/>
              <a:buChar char="Ø"/>
            </a:pPr>
            <a:r>
              <a:rPr lang="en-US" sz="1400" dirty="0">
                <a:solidFill>
                  <a:schemeClr val="bg2">
                    <a:lumMod val="50000"/>
                    <a:lumOff val="50000"/>
                  </a:schemeClr>
                </a:solidFill>
                <a:latin typeface="Arial" panose="020B0604020202020204" pitchFamily="34" charset="0"/>
                <a:cs typeface="Arial" panose="020B0604020202020204" pitchFamily="34" charset="0"/>
              </a:rPr>
              <a:t>All studies analyze a variable, which can describe a person, place, thing or idea. A variable's value can change between groups or over time. </a:t>
            </a:r>
          </a:p>
          <a:p>
            <a:pPr marL="285750" marR="0" indent="-285750">
              <a:lnSpc>
                <a:spcPct val="107000"/>
              </a:lnSpc>
              <a:spcBef>
                <a:spcPts val="0"/>
              </a:spcBef>
              <a:spcAft>
                <a:spcPts val="800"/>
              </a:spcAft>
              <a:buFont typeface="Wingdings" panose="05000000000000000000" pitchFamily="2" charset="2"/>
              <a:buChar char="Ø"/>
            </a:pPr>
            <a:r>
              <a:rPr lang="en-US" sz="1400" dirty="0">
                <a:solidFill>
                  <a:schemeClr val="bg2">
                    <a:lumMod val="50000"/>
                    <a:lumOff val="50000"/>
                  </a:schemeClr>
                </a:solidFill>
                <a:latin typeface="Arial" panose="020B0604020202020204" pitchFamily="34" charset="0"/>
                <a:cs typeface="Arial" panose="020B0604020202020204" pitchFamily="34" charset="0"/>
              </a:rPr>
              <a:t>A variable can also be called as a data item</a:t>
            </a:r>
          </a:p>
          <a:p>
            <a:pPr marL="742950" lvl="1" indent="-285750">
              <a:lnSpc>
                <a:spcPct val="107000"/>
              </a:lnSpc>
              <a:spcBef>
                <a:spcPts val="0"/>
              </a:spcBef>
              <a:spcAft>
                <a:spcPts val="800"/>
              </a:spcAft>
              <a:buFont typeface="Arial" panose="020B0604020202020204" pitchFamily="34" charset="0"/>
              <a:buChar char="•"/>
            </a:pPr>
            <a:r>
              <a:rPr lang="en-US" sz="1400" i="1" dirty="0">
                <a:solidFill>
                  <a:schemeClr val="bg2">
                    <a:lumMod val="50000"/>
                    <a:lumOff val="50000"/>
                  </a:schemeClr>
                </a:solidFill>
                <a:latin typeface="Arial" panose="020B0604020202020204" pitchFamily="34" charset="0"/>
                <a:cs typeface="Arial" panose="020B0604020202020204" pitchFamily="34" charset="0"/>
              </a:rPr>
              <a:t>Another example :  if the variable in an experiment is a person's eye color, its value can change from brown to blue to green from person to person</a:t>
            </a:r>
            <a:r>
              <a:rPr lang="en-US" sz="1400" dirty="0">
                <a:solidFill>
                  <a:schemeClr val="bg2">
                    <a:lumMod val="50000"/>
                    <a:lumOff val="50000"/>
                  </a:schemeClr>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508532574"/>
      </p:ext>
    </p:extLst>
  </p:cSld>
  <p:clrMapOvr>
    <a:masterClrMapping/>
  </p:clrMapOvr>
  <p:transition spd="med">
    <p:wipe dir="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571A17D-7635-493B-AB43-E07EB5D146FF}"/>
              </a:ext>
            </a:extLst>
          </p:cNvPr>
          <p:cNvSpPr/>
          <p:nvPr/>
        </p:nvSpPr>
        <p:spPr>
          <a:xfrm>
            <a:off x="614252" y="2968157"/>
            <a:ext cx="7915493" cy="459098"/>
          </a:xfrm>
          <a:prstGeom prst="rect">
            <a:avLst/>
          </a:prstGeom>
          <a:noFill/>
          <a:ln w="12700" cmpd="sng">
            <a:solidFill>
              <a:schemeClr val="bg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2" name="Title 1">
            <a:extLst>
              <a:ext uri="{FF2B5EF4-FFF2-40B4-BE49-F238E27FC236}">
                <a16:creationId xmlns:a16="http://schemas.microsoft.com/office/drawing/2014/main" id="{1E17F21F-77D2-498D-ACC0-34D5250C6951}"/>
              </a:ext>
            </a:extLst>
          </p:cNvPr>
          <p:cNvSpPr>
            <a:spLocks noGrp="1"/>
          </p:cNvSpPr>
          <p:nvPr>
            <p:ph type="title"/>
          </p:nvPr>
        </p:nvSpPr>
        <p:spPr>
          <a:xfrm>
            <a:off x="66311" y="0"/>
            <a:ext cx="8229600" cy="637794"/>
          </a:xfrm>
        </p:spPr>
        <p:txBody>
          <a:bodyPr/>
          <a:lstStyle/>
          <a:p>
            <a:r>
              <a:rPr lang="en-US" dirty="0"/>
              <a:t>Range can be misleading</a:t>
            </a:r>
          </a:p>
        </p:txBody>
      </p:sp>
      <p:sp>
        <p:nvSpPr>
          <p:cNvPr id="3" name="TextBox 2">
            <a:extLst>
              <a:ext uri="{FF2B5EF4-FFF2-40B4-BE49-F238E27FC236}">
                <a16:creationId xmlns:a16="http://schemas.microsoft.com/office/drawing/2014/main" id="{82F50FE0-C1C2-4BB0-B826-A9131CC07860}"/>
              </a:ext>
            </a:extLst>
          </p:cNvPr>
          <p:cNvSpPr txBox="1"/>
          <p:nvPr/>
        </p:nvSpPr>
        <p:spPr>
          <a:xfrm>
            <a:off x="160544" y="704996"/>
            <a:ext cx="8592567" cy="1323439"/>
          </a:xfrm>
          <a:prstGeom prst="rect">
            <a:avLst/>
          </a:prstGeom>
          <a:noFill/>
        </p:spPr>
        <p:txBody>
          <a:bodyPr wrap="square" rtlCol="0">
            <a:spAutoFit/>
          </a:bodyPr>
          <a:lstStyle/>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Because only 2 numbers are used, the range is influenced by </a:t>
            </a:r>
            <a:r>
              <a:rPr lang="en-US" sz="2000"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outliers</a:t>
            </a:r>
            <a:r>
              <a:rPr lang="en-US" sz="2000" dirty="0">
                <a:solidFill>
                  <a:schemeClr val="bg2">
                    <a:lumMod val="50000"/>
                    <a:lumOff val="50000"/>
                  </a:schemeClr>
                </a:solidFill>
                <a:latin typeface="Inter"/>
                <a:cs typeface="Arial" panose="020B0604020202020204" pitchFamily="34" charset="0"/>
              </a:rPr>
              <a:t> and doesn’t give you any information about the distribution of values. </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It’s best used in combination with other measures.</a:t>
            </a:r>
          </a:p>
        </p:txBody>
      </p:sp>
      <p:sp>
        <p:nvSpPr>
          <p:cNvPr id="4" name="TextBox 3">
            <a:extLst>
              <a:ext uri="{FF2B5EF4-FFF2-40B4-BE49-F238E27FC236}">
                <a16:creationId xmlns:a16="http://schemas.microsoft.com/office/drawing/2014/main" id="{85E3C32C-D87E-4DEA-9465-5133B118800A}"/>
              </a:ext>
            </a:extLst>
          </p:cNvPr>
          <p:cNvSpPr txBox="1"/>
          <p:nvPr/>
        </p:nvSpPr>
        <p:spPr>
          <a:xfrm>
            <a:off x="614253" y="2968157"/>
            <a:ext cx="7915493" cy="400110"/>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So, we may be better off using </a:t>
            </a:r>
            <a:r>
              <a:rPr lang="en-US" sz="2000" b="1" dirty="0">
                <a:solidFill>
                  <a:schemeClr val="accent1"/>
                </a:solidFill>
                <a:latin typeface="Inter"/>
                <a:cs typeface="Arial" panose="020B0604020202020204" pitchFamily="34" charset="0"/>
              </a:rPr>
              <a:t>Interquartile Range </a:t>
            </a:r>
            <a:r>
              <a:rPr lang="en-US" sz="2000" dirty="0">
                <a:solidFill>
                  <a:schemeClr val="bg2">
                    <a:lumMod val="50000"/>
                    <a:lumOff val="50000"/>
                  </a:schemeClr>
                </a:solidFill>
                <a:latin typeface="Inter"/>
                <a:cs typeface="Arial" panose="020B0604020202020204" pitchFamily="34" charset="0"/>
              </a:rPr>
              <a:t>or </a:t>
            </a:r>
            <a:r>
              <a:rPr lang="en-US" sz="2000" b="1" dirty="0">
                <a:solidFill>
                  <a:schemeClr val="accent1"/>
                </a:solidFill>
                <a:latin typeface="Inter"/>
                <a:cs typeface="Arial" panose="020B0604020202020204" pitchFamily="34" charset="0"/>
              </a:rPr>
              <a:t>Standard Deviation</a:t>
            </a:r>
          </a:p>
        </p:txBody>
      </p:sp>
    </p:spTree>
    <p:extLst>
      <p:ext uri="{BB962C8B-B14F-4D97-AF65-F5344CB8AC3E}">
        <p14:creationId xmlns:p14="http://schemas.microsoft.com/office/powerpoint/2010/main" val="1368213410"/>
      </p:ext>
    </p:extLst>
  </p:cSld>
  <p:clrMapOvr>
    <a:masterClrMapping/>
  </p:clrMapOvr>
  <p:transition spd="med">
    <p:wipe dir="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3BF71-DFC5-427E-A65C-107910B8233F}"/>
              </a:ext>
            </a:extLst>
          </p:cNvPr>
          <p:cNvSpPr>
            <a:spLocks noGrp="1"/>
          </p:cNvSpPr>
          <p:nvPr>
            <p:ph type="title"/>
          </p:nvPr>
        </p:nvSpPr>
        <p:spPr>
          <a:xfrm>
            <a:off x="73291" y="98450"/>
            <a:ext cx="8229600" cy="637794"/>
          </a:xfrm>
        </p:spPr>
        <p:txBody>
          <a:bodyPr/>
          <a:lstStyle/>
          <a:p>
            <a:r>
              <a:rPr lang="en-US" dirty="0"/>
              <a:t>Quartiles</a:t>
            </a:r>
          </a:p>
        </p:txBody>
      </p:sp>
      <p:sp>
        <p:nvSpPr>
          <p:cNvPr id="3" name="TextBox 2">
            <a:extLst>
              <a:ext uri="{FF2B5EF4-FFF2-40B4-BE49-F238E27FC236}">
                <a16:creationId xmlns:a16="http://schemas.microsoft.com/office/drawing/2014/main" id="{BB64782E-BA76-46E6-BA36-C05EB80808B3}"/>
              </a:ext>
            </a:extLst>
          </p:cNvPr>
          <p:cNvSpPr txBox="1"/>
          <p:nvPr/>
        </p:nvSpPr>
        <p:spPr>
          <a:xfrm>
            <a:off x="125643" y="795736"/>
            <a:ext cx="8055096" cy="2246769"/>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Quartiles are the values that divide a list of numbers into quarters:</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Put the list of numbers in order</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Then cut the list into four equal parts</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The Quartiles are at the "cuts"</a:t>
            </a:r>
          </a:p>
        </p:txBody>
      </p:sp>
      <p:pic>
        <p:nvPicPr>
          <p:cNvPr id="5" name="Picture 4" descr="Icon&#10;&#10;Description automatically generated">
            <a:extLst>
              <a:ext uri="{FF2B5EF4-FFF2-40B4-BE49-F238E27FC236}">
                <a16:creationId xmlns:a16="http://schemas.microsoft.com/office/drawing/2014/main" id="{C0D2230B-C88E-42F0-8B61-73C227906A06}"/>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315823" y="1919120"/>
            <a:ext cx="3046400" cy="3046400"/>
          </a:xfrm>
          <a:prstGeom prst="rect">
            <a:avLst/>
          </a:prstGeom>
        </p:spPr>
      </p:pic>
    </p:spTree>
    <p:extLst>
      <p:ext uri="{BB962C8B-B14F-4D97-AF65-F5344CB8AC3E}">
        <p14:creationId xmlns:p14="http://schemas.microsoft.com/office/powerpoint/2010/main" val="3035897662"/>
      </p:ext>
    </p:extLst>
  </p:cSld>
  <p:clrMapOvr>
    <a:masterClrMapping/>
  </p:clrMapOvr>
  <p:transition spd="med">
    <p:wipe dir="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96CD2-A218-41FD-81FB-068327F9D7E8}"/>
              </a:ext>
            </a:extLst>
          </p:cNvPr>
          <p:cNvSpPr>
            <a:spLocks noGrp="1"/>
          </p:cNvSpPr>
          <p:nvPr>
            <p:ph type="title"/>
          </p:nvPr>
        </p:nvSpPr>
        <p:spPr>
          <a:xfrm>
            <a:off x="0" y="0"/>
            <a:ext cx="8229600" cy="637794"/>
          </a:xfrm>
        </p:spPr>
        <p:txBody>
          <a:bodyPr/>
          <a:lstStyle/>
          <a:p>
            <a:r>
              <a:rPr lang="en-US" dirty="0"/>
              <a:t>Quartile</a:t>
            </a:r>
          </a:p>
        </p:txBody>
      </p:sp>
      <p:sp>
        <p:nvSpPr>
          <p:cNvPr id="4" name="TextBox 3">
            <a:extLst>
              <a:ext uri="{FF2B5EF4-FFF2-40B4-BE49-F238E27FC236}">
                <a16:creationId xmlns:a16="http://schemas.microsoft.com/office/drawing/2014/main" id="{51564A6B-0B9B-4B53-869D-F275C99CECAC}"/>
              </a:ext>
            </a:extLst>
          </p:cNvPr>
          <p:cNvSpPr txBox="1"/>
          <p:nvPr/>
        </p:nvSpPr>
        <p:spPr>
          <a:xfrm>
            <a:off x="55841" y="540425"/>
            <a:ext cx="8173759" cy="2031325"/>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Ex : 5, 7, 4, 4, 6, 2, 8</a:t>
            </a:r>
          </a:p>
          <a:p>
            <a:pPr>
              <a:spcBef>
                <a:spcPts val="0"/>
              </a:spcBef>
              <a:spcAft>
                <a:spcPts val="0"/>
              </a:spcAft>
              <a:buClr>
                <a:schemeClr val="bg1"/>
              </a:buClr>
            </a:pPr>
            <a:endParaRPr lang="en-US" sz="1800" b="1"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Put them in order </a:t>
            </a:r>
            <a:r>
              <a:rPr lang="en-US" sz="1800" dirty="0">
                <a:solidFill>
                  <a:schemeClr val="bg2">
                    <a:lumMod val="50000"/>
                    <a:lumOff val="50000"/>
                  </a:schemeClr>
                </a:solidFill>
                <a:latin typeface="Inter"/>
                <a:cs typeface="Arial" panose="020B0604020202020204" pitchFamily="34" charset="0"/>
              </a:rPr>
              <a:t>: 2, 4, 4, 5, 6, 7, 8</a:t>
            </a:r>
          </a:p>
          <a:p>
            <a:pPr>
              <a:spcBef>
                <a:spcPts val="0"/>
              </a:spcBef>
              <a:spcAft>
                <a:spcPts val="0"/>
              </a:spcAft>
              <a:buClr>
                <a:schemeClr val="bg1"/>
              </a:buClr>
            </a:pPr>
            <a:endParaRPr lang="en-US" sz="1800" b="1"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Cut the List into Quarters : </a:t>
            </a:r>
          </a:p>
          <a:p>
            <a:pPr>
              <a:spcBef>
                <a:spcPts val="0"/>
              </a:spcBef>
              <a:spcAft>
                <a:spcPts val="0"/>
              </a:spcAft>
              <a:buClr>
                <a:schemeClr val="bg1"/>
              </a:buClr>
            </a:pPr>
            <a:endParaRPr lang="en-US" sz="1800" b="1"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endParaRPr lang="en-US" sz="1800" b="1" dirty="0">
              <a:solidFill>
                <a:schemeClr val="bg2"/>
              </a:solidFill>
              <a:latin typeface="+mn-lt"/>
            </a:endParaRPr>
          </a:p>
        </p:txBody>
      </p:sp>
      <p:pic>
        <p:nvPicPr>
          <p:cNvPr id="6" name="Picture 5">
            <a:extLst>
              <a:ext uri="{FF2B5EF4-FFF2-40B4-BE49-F238E27FC236}">
                <a16:creationId xmlns:a16="http://schemas.microsoft.com/office/drawing/2014/main" id="{1B565FA1-179B-418E-89CE-CB7A5FE56550}"/>
              </a:ext>
            </a:extLst>
          </p:cNvPr>
          <p:cNvPicPr>
            <a:picLocks noChangeAspect="1"/>
          </p:cNvPicPr>
          <p:nvPr/>
        </p:nvPicPr>
        <p:blipFill>
          <a:blip r:embed="rId2"/>
          <a:stretch>
            <a:fillRect/>
          </a:stretch>
        </p:blipFill>
        <p:spPr>
          <a:xfrm>
            <a:off x="2272803" y="2132338"/>
            <a:ext cx="3080974" cy="1440083"/>
          </a:xfrm>
          <a:prstGeom prst="rect">
            <a:avLst/>
          </a:prstGeom>
        </p:spPr>
      </p:pic>
    </p:spTree>
    <p:extLst>
      <p:ext uri="{BB962C8B-B14F-4D97-AF65-F5344CB8AC3E}">
        <p14:creationId xmlns:p14="http://schemas.microsoft.com/office/powerpoint/2010/main" val="610422850"/>
      </p:ext>
    </p:extLst>
  </p:cSld>
  <p:clrMapOvr>
    <a:masterClrMapping/>
  </p:clrMapOvr>
  <p:transition spd="med">
    <p:wipe dir="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8B1DF-923A-42F7-BB0D-328499793335}"/>
              </a:ext>
            </a:extLst>
          </p:cNvPr>
          <p:cNvSpPr>
            <a:spLocks noGrp="1"/>
          </p:cNvSpPr>
          <p:nvPr>
            <p:ph type="title"/>
          </p:nvPr>
        </p:nvSpPr>
        <p:spPr>
          <a:xfrm>
            <a:off x="0" y="56569"/>
            <a:ext cx="8229600" cy="637794"/>
          </a:xfrm>
        </p:spPr>
        <p:txBody>
          <a:bodyPr/>
          <a:lstStyle/>
          <a:p>
            <a:r>
              <a:rPr lang="en-US" dirty="0"/>
              <a:t>Quartile</a:t>
            </a:r>
          </a:p>
        </p:txBody>
      </p:sp>
      <p:sp>
        <p:nvSpPr>
          <p:cNvPr id="3" name="TextBox 2">
            <a:extLst>
              <a:ext uri="{FF2B5EF4-FFF2-40B4-BE49-F238E27FC236}">
                <a16:creationId xmlns:a16="http://schemas.microsoft.com/office/drawing/2014/main" id="{6D6F2D4B-88D4-4088-AF08-0BC82059D804}"/>
              </a:ext>
            </a:extLst>
          </p:cNvPr>
          <p:cNvSpPr txBox="1"/>
          <p:nvPr/>
        </p:nvSpPr>
        <p:spPr>
          <a:xfrm>
            <a:off x="0" y="459033"/>
            <a:ext cx="9018357" cy="4909036"/>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Sometimes a "cut" is between two numbers ... the Quartile is the average of the two numbers</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algn="l"/>
            <a:r>
              <a:rPr lang="en-US" sz="1800" b="1" dirty="0">
                <a:solidFill>
                  <a:schemeClr val="bg2">
                    <a:lumMod val="50000"/>
                    <a:lumOff val="50000"/>
                  </a:schemeClr>
                </a:solidFill>
                <a:latin typeface="Inter"/>
                <a:cs typeface="Arial" panose="020B0604020202020204" pitchFamily="34" charset="0"/>
              </a:rPr>
              <a:t>Example: 1, 3, 3, 4, 5, 6, 6, 7, 8, 8</a:t>
            </a:r>
          </a:p>
          <a:p>
            <a:pPr marL="285750" indent="-285750" algn="l">
              <a:buFont typeface="Wingdings" panose="05000000000000000000" pitchFamily="2" charset="2"/>
              <a:buChar char="Ø"/>
            </a:pPr>
            <a:r>
              <a:rPr lang="en-US" sz="1800" dirty="0">
                <a:solidFill>
                  <a:schemeClr val="bg2">
                    <a:lumMod val="50000"/>
                    <a:lumOff val="50000"/>
                  </a:schemeClr>
                </a:solidFill>
                <a:latin typeface="Inter"/>
                <a:cs typeface="Arial" panose="020B0604020202020204" pitchFamily="34" charset="0"/>
              </a:rPr>
              <a:t>The numbers are already in order</a:t>
            </a:r>
          </a:p>
          <a:p>
            <a:pPr marL="285750" indent="-285750" algn="l">
              <a:buFont typeface="Wingdings" panose="05000000000000000000" pitchFamily="2" charset="2"/>
              <a:buChar char="Ø"/>
            </a:pPr>
            <a:r>
              <a:rPr lang="en-US" sz="1800" dirty="0">
                <a:solidFill>
                  <a:schemeClr val="bg2">
                    <a:lumMod val="50000"/>
                    <a:lumOff val="50000"/>
                  </a:schemeClr>
                </a:solidFill>
                <a:latin typeface="Inter"/>
                <a:cs typeface="Arial" panose="020B0604020202020204" pitchFamily="34" charset="0"/>
              </a:rPr>
              <a:t>Cut the list into quarters:</a:t>
            </a:r>
          </a:p>
          <a:p>
            <a:pPr marL="285750" indent="-285750" algn="l">
              <a:buFont typeface="Wingdings" panose="05000000000000000000" pitchFamily="2" charset="2"/>
              <a:buChar char="Ø"/>
            </a:pPr>
            <a:endParaRPr lang="en-US" sz="1800" dirty="0">
              <a:solidFill>
                <a:schemeClr val="bg2">
                  <a:lumMod val="50000"/>
                  <a:lumOff val="50000"/>
                </a:schemeClr>
              </a:solidFill>
              <a:latin typeface="Inter"/>
              <a:cs typeface="Arial" panose="020B0604020202020204" pitchFamily="34" charset="0"/>
            </a:endParaRPr>
          </a:p>
          <a:p>
            <a:pPr algn="l"/>
            <a:endParaRPr lang="en-US" sz="1800" dirty="0">
              <a:solidFill>
                <a:schemeClr val="bg2">
                  <a:lumMod val="50000"/>
                  <a:lumOff val="50000"/>
                </a:schemeClr>
              </a:solidFill>
              <a:latin typeface="Inter"/>
              <a:cs typeface="Arial" panose="020B0604020202020204" pitchFamily="34" charset="0"/>
            </a:endParaRPr>
          </a:p>
          <a:p>
            <a:pPr algn="l"/>
            <a:r>
              <a:rPr lang="en-US" sz="2000" dirty="0">
                <a:solidFill>
                  <a:schemeClr val="bg2">
                    <a:lumMod val="50000"/>
                    <a:lumOff val="50000"/>
                  </a:schemeClr>
                </a:solidFill>
                <a:latin typeface="Inter"/>
                <a:cs typeface="Arial" panose="020B0604020202020204" pitchFamily="34" charset="0"/>
              </a:rPr>
              <a:t>In this case Quartile 2 is halfway between 5 and 6:</a:t>
            </a:r>
          </a:p>
          <a:p>
            <a:pPr algn="l"/>
            <a:r>
              <a:rPr lang="en-US" sz="2000" dirty="0">
                <a:solidFill>
                  <a:schemeClr val="bg2">
                    <a:lumMod val="50000"/>
                    <a:lumOff val="50000"/>
                  </a:schemeClr>
                </a:solidFill>
                <a:latin typeface="Inter"/>
                <a:cs typeface="Arial" panose="020B0604020202020204" pitchFamily="34" charset="0"/>
              </a:rPr>
              <a:t>		Q2 = (5+6)/2 = 5.5</a:t>
            </a:r>
          </a:p>
          <a:p>
            <a:pPr algn="l"/>
            <a:r>
              <a:rPr lang="en-US" sz="2000" b="1" i="1" dirty="0">
                <a:solidFill>
                  <a:schemeClr val="bg2">
                    <a:lumMod val="50000"/>
                    <a:lumOff val="50000"/>
                  </a:schemeClr>
                </a:solidFill>
                <a:latin typeface="Inter"/>
                <a:cs typeface="Arial" panose="020B0604020202020204" pitchFamily="34" charset="0"/>
              </a:rPr>
              <a:t>And the result is:</a:t>
            </a:r>
          </a:p>
          <a:p>
            <a:pPr algn="l"/>
            <a:r>
              <a:rPr lang="en-US" sz="2000" dirty="0">
                <a:solidFill>
                  <a:schemeClr val="bg2">
                    <a:lumMod val="50000"/>
                    <a:lumOff val="50000"/>
                  </a:schemeClr>
                </a:solidFill>
                <a:latin typeface="Inter"/>
                <a:cs typeface="Arial" panose="020B0604020202020204" pitchFamily="34" charset="0"/>
              </a:rPr>
              <a:t>Quartile 1 (Q1) = 3</a:t>
            </a:r>
          </a:p>
          <a:p>
            <a:pPr algn="l"/>
            <a:r>
              <a:rPr lang="en-US" sz="2000" dirty="0">
                <a:solidFill>
                  <a:schemeClr val="bg2">
                    <a:lumMod val="50000"/>
                    <a:lumOff val="50000"/>
                  </a:schemeClr>
                </a:solidFill>
                <a:latin typeface="Inter"/>
                <a:cs typeface="Arial" panose="020B0604020202020204" pitchFamily="34" charset="0"/>
              </a:rPr>
              <a:t>Quartile 2 (Q2) = 5.5</a:t>
            </a:r>
          </a:p>
          <a:p>
            <a:pPr algn="l"/>
            <a:r>
              <a:rPr lang="en-US" sz="2000" dirty="0">
                <a:solidFill>
                  <a:schemeClr val="bg2">
                    <a:lumMod val="50000"/>
                    <a:lumOff val="50000"/>
                  </a:schemeClr>
                </a:solidFill>
                <a:latin typeface="Inter"/>
                <a:cs typeface="Arial" panose="020B0604020202020204" pitchFamily="34" charset="0"/>
              </a:rPr>
              <a:t>Quartile 3 (Q3) = 7</a:t>
            </a:r>
          </a:p>
          <a:p>
            <a:pPr marL="285750" indent="-285750" algn="l">
              <a:buFont typeface="Wingdings" panose="05000000000000000000" pitchFamily="2" charset="2"/>
              <a:buChar char="Ø"/>
            </a:pPr>
            <a:endParaRPr lang="en-US" sz="18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400" dirty="0">
              <a:solidFill>
                <a:schemeClr val="bg2"/>
              </a:solidFill>
              <a:latin typeface="+mn-lt"/>
            </a:endParaRPr>
          </a:p>
        </p:txBody>
      </p:sp>
      <p:pic>
        <p:nvPicPr>
          <p:cNvPr id="5" name="Picture 4">
            <a:extLst>
              <a:ext uri="{FF2B5EF4-FFF2-40B4-BE49-F238E27FC236}">
                <a16:creationId xmlns:a16="http://schemas.microsoft.com/office/drawing/2014/main" id="{B8D3FA8A-E1F8-48C3-893C-09F0E75760C3}"/>
              </a:ext>
            </a:extLst>
          </p:cNvPr>
          <p:cNvPicPr>
            <a:picLocks noChangeAspect="1"/>
          </p:cNvPicPr>
          <p:nvPr/>
        </p:nvPicPr>
        <p:blipFill>
          <a:blip r:embed="rId2"/>
          <a:stretch>
            <a:fillRect/>
          </a:stretch>
        </p:blipFill>
        <p:spPr>
          <a:xfrm>
            <a:off x="4114800" y="1155395"/>
            <a:ext cx="4204561" cy="1515671"/>
          </a:xfrm>
          <a:prstGeom prst="rect">
            <a:avLst/>
          </a:prstGeom>
        </p:spPr>
      </p:pic>
    </p:spTree>
    <p:extLst>
      <p:ext uri="{BB962C8B-B14F-4D97-AF65-F5344CB8AC3E}">
        <p14:creationId xmlns:p14="http://schemas.microsoft.com/office/powerpoint/2010/main" val="480427111"/>
      </p:ext>
    </p:extLst>
  </p:cSld>
  <p:clrMapOvr>
    <a:masterClrMapping/>
  </p:clrMapOvr>
  <p:transition spd="med">
    <p:wipe dir="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19C6A-64C3-4584-B1ED-A04DC1EC1D56}"/>
              </a:ext>
            </a:extLst>
          </p:cNvPr>
          <p:cNvSpPr>
            <a:spLocks noGrp="1"/>
          </p:cNvSpPr>
          <p:nvPr>
            <p:ph type="title"/>
          </p:nvPr>
        </p:nvSpPr>
        <p:spPr>
          <a:xfrm>
            <a:off x="0" y="0"/>
            <a:ext cx="9144000" cy="637794"/>
          </a:xfrm>
        </p:spPr>
        <p:txBody>
          <a:bodyPr/>
          <a:lstStyle/>
          <a:p>
            <a:r>
              <a:rPr lang="en-US" dirty="0"/>
              <a:t>How to find Q1, Q2, Q3 ? lets do a small example to get the understanding</a:t>
            </a:r>
            <a:br>
              <a:rPr lang="en-US" sz="1800" dirty="0">
                <a:effectLst/>
                <a:latin typeface="Calibri" panose="020F0502020204030204" pitchFamily="34" charset="0"/>
                <a:ea typeface="DengXian" panose="02010600030101010101" pitchFamily="2" charset="-122"/>
                <a:cs typeface="Times New Roman" panose="02020603050405020304" pitchFamily="18" charset="0"/>
              </a:rPr>
            </a:br>
            <a:endParaRPr lang="en-US" dirty="0"/>
          </a:p>
        </p:txBody>
      </p:sp>
    </p:spTree>
    <p:extLst>
      <p:ext uri="{BB962C8B-B14F-4D97-AF65-F5344CB8AC3E}">
        <p14:creationId xmlns:p14="http://schemas.microsoft.com/office/powerpoint/2010/main" val="770549809"/>
      </p:ext>
    </p:extLst>
  </p:cSld>
  <p:clrMapOvr>
    <a:masterClrMapping/>
  </p:clrMapOvr>
  <p:transition spd="med">
    <p:wipe dir="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C3DDF7-9977-4F1F-89F2-D84EB59C0B30}"/>
              </a:ext>
            </a:extLst>
          </p:cNvPr>
          <p:cNvSpPr>
            <a:spLocks noGrp="1"/>
          </p:cNvSpPr>
          <p:nvPr>
            <p:ph type="title"/>
          </p:nvPr>
        </p:nvSpPr>
        <p:spPr>
          <a:xfrm>
            <a:off x="0" y="0"/>
            <a:ext cx="8229600" cy="637794"/>
          </a:xfrm>
        </p:spPr>
        <p:txBody>
          <a:bodyPr/>
          <a:lstStyle/>
          <a:p>
            <a:r>
              <a:rPr lang="en-US" dirty="0"/>
              <a:t>Interquartile Range</a:t>
            </a:r>
          </a:p>
        </p:txBody>
      </p:sp>
      <p:sp>
        <p:nvSpPr>
          <p:cNvPr id="3" name="TextBox 2">
            <a:extLst>
              <a:ext uri="{FF2B5EF4-FFF2-40B4-BE49-F238E27FC236}">
                <a16:creationId xmlns:a16="http://schemas.microsoft.com/office/drawing/2014/main" id="{EC723DC2-7B90-4304-AAC3-E683C7BC140B}"/>
              </a:ext>
            </a:extLst>
          </p:cNvPr>
          <p:cNvSpPr txBox="1"/>
          <p:nvPr/>
        </p:nvSpPr>
        <p:spPr>
          <a:xfrm>
            <a:off x="0" y="637794"/>
            <a:ext cx="9060238" cy="1846659"/>
          </a:xfrm>
          <a:prstGeom prst="rect">
            <a:avLst/>
          </a:prstGeom>
          <a:noFill/>
        </p:spPr>
        <p:txBody>
          <a:bodyPr wrap="square" rtlCol="0">
            <a:spAutoFit/>
          </a:bodyPr>
          <a:lstStyle/>
          <a:p>
            <a:pPr marL="342900" indent="-342900" algn="l">
              <a:buFont typeface="Wingdings" panose="05000000000000000000" pitchFamily="2" charset="2"/>
              <a:buChar char="Ø"/>
            </a:pPr>
            <a:r>
              <a:rPr lang="en-US" sz="2000" dirty="0">
                <a:solidFill>
                  <a:schemeClr val="bg2">
                    <a:lumMod val="50000"/>
                    <a:lumOff val="50000"/>
                  </a:schemeClr>
                </a:solidFill>
                <a:latin typeface="Inter"/>
                <a:cs typeface="Arial" panose="020B0604020202020204" pitchFamily="34" charset="0"/>
              </a:rPr>
              <a:t>The</a:t>
            </a:r>
            <a:r>
              <a:rPr lang="en-US" sz="2000"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 </a:t>
            </a:r>
            <a:r>
              <a:rPr lang="en-US" sz="2000" b="1"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interquartile range</a:t>
            </a:r>
            <a:r>
              <a:rPr lang="en-US" sz="2000" b="1" dirty="0">
                <a:solidFill>
                  <a:schemeClr val="bg2">
                    <a:lumMod val="50000"/>
                    <a:lumOff val="50000"/>
                  </a:schemeClr>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gives you the spread of the middle of your distribution.</a:t>
            </a:r>
          </a:p>
          <a:p>
            <a:pPr marL="342900" indent="-342900" algn="l">
              <a:buFont typeface="Wingdings" panose="05000000000000000000" pitchFamily="2" charset="2"/>
              <a:buChar char="Ø"/>
            </a:pPr>
            <a:endParaRPr lang="en-US" sz="2000" dirty="0">
              <a:solidFill>
                <a:schemeClr val="bg2">
                  <a:lumMod val="50000"/>
                  <a:lumOff val="50000"/>
                </a:schemeClr>
              </a:solidFill>
              <a:latin typeface="Inter"/>
              <a:cs typeface="Arial" panose="020B0604020202020204" pitchFamily="34" charset="0"/>
            </a:endParaRPr>
          </a:p>
          <a:p>
            <a:pPr marL="342900" indent="-342900" algn="l">
              <a:buFont typeface="Wingdings" panose="05000000000000000000" pitchFamily="2" charset="2"/>
              <a:buChar char="Ø"/>
            </a:pPr>
            <a:r>
              <a:rPr lang="en-US" sz="2000" dirty="0">
                <a:solidFill>
                  <a:schemeClr val="bg2">
                    <a:lumMod val="50000"/>
                    <a:lumOff val="50000"/>
                  </a:schemeClr>
                </a:solidFill>
                <a:latin typeface="Inter"/>
                <a:cs typeface="Arial" panose="020B0604020202020204" pitchFamily="34" charset="0"/>
              </a:rPr>
              <a:t>For any distribution that’s ordered from low to high, the interquartile range contains half of the values. While the first quartile (Q1) contains the first 25% of values, the fourth quartile (Q4) contains the last 25% of values.</a:t>
            </a: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D92FD61A-25F3-4C72-BB82-FCCE08F21D34}"/>
              </a:ext>
            </a:extLst>
          </p:cNvPr>
          <p:cNvPicPr>
            <a:picLocks noChangeAspect="1"/>
          </p:cNvPicPr>
          <p:nvPr/>
        </p:nvPicPr>
        <p:blipFill>
          <a:blip r:embed="rId3"/>
          <a:stretch>
            <a:fillRect/>
          </a:stretch>
        </p:blipFill>
        <p:spPr>
          <a:xfrm>
            <a:off x="2287928" y="2661167"/>
            <a:ext cx="4043392" cy="2032355"/>
          </a:xfrm>
          <a:prstGeom prst="rect">
            <a:avLst/>
          </a:prstGeom>
        </p:spPr>
      </p:pic>
    </p:spTree>
    <p:extLst>
      <p:ext uri="{BB962C8B-B14F-4D97-AF65-F5344CB8AC3E}">
        <p14:creationId xmlns:p14="http://schemas.microsoft.com/office/powerpoint/2010/main" val="1056268501"/>
      </p:ext>
    </p:extLst>
  </p:cSld>
  <p:clrMapOvr>
    <a:masterClrMapping/>
  </p:clrMapOvr>
  <p:transition spd="med">
    <p:wipe dir="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6D149-A19F-47BE-87C4-806F1BF7BC68}"/>
              </a:ext>
            </a:extLst>
          </p:cNvPr>
          <p:cNvSpPr>
            <a:spLocks noGrp="1"/>
          </p:cNvSpPr>
          <p:nvPr>
            <p:ph type="title"/>
          </p:nvPr>
        </p:nvSpPr>
        <p:spPr>
          <a:xfrm>
            <a:off x="0" y="0"/>
            <a:ext cx="8229600" cy="637794"/>
          </a:xfrm>
        </p:spPr>
        <p:txBody>
          <a:bodyPr/>
          <a:lstStyle/>
          <a:p>
            <a:r>
              <a:rPr lang="en-US" dirty="0"/>
              <a:t>Interquartile Range</a:t>
            </a:r>
          </a:p>
        </p:txBody>
      </p:sp>
      <p:sp>
        <p:nvSpPr>
          <p:cNvPr id="3" name="TextBox 2">
            <a:extLst>
              <a:ext uri="{FF2B5EF4-FFF2-40B4-BE49-F238E27FC236}">
                <a16:creationId xmlns:a16="http://schemas.microsoft.com/office/drawing/2014/main" id="{AC999203-3FC5-457B-83C4-A1677B14ED3D}"/>
              </a:ext>
            </a:extLst>
          </p:cNvPr>
          <p:cNvSpPr txBox="1"/>
          <p:nvPr/>
        </p:nvSpPr>
        <p:spPr>
          <a:xfrm>
            <a:off x="0" y="725937"/>
            <a:ext cx="9144000" cy="1169551"/>
          </a:xfrm>
          <a:prstGeom prst="rect">
            <a:avLst/>
          </a:prstGeom>
          <a:noFill/>
        </p:spPr>
        <p:txBody>
          <a:bodyPr wrap="square" rtlCol="0">
            <a:spAutoFit/>
          </a:bodyPr>
          <a:lstStyle/>
          <a:p>
            <a:pPr>
              <a:spcBef>
                <a:spcPts val="0"/>
              </a:spcBef>
              <a:spcAft>
                <a:spcPts val="0"/>
              </a:spcAft>
              <a:buClr>
                <a:schemeClr val="bg1"/>
              </a:buClr>
            </a:pPr>
            <a:r>
              <a:rPr lang="en-US" sz="2800" dirty="0">
                <a:solidFill>
                  <a:schemeClr val="bg2">
                    <a:lumMod val="50000"/>
                    <a:lumOff val="50000"/>
                  </a:schemeClr>
                </a:solidFill>
                <a:latin typeface="Inter"/>
                <a:cs typeface="Arial" panose="020B0604020202020204" pitchFamily="34" charset="0"/>
              </a:rPr>
              <a:t>Ex: you have 8 data points from Sample A</a:t>
            </a:r>
          </a:p>
          <a:p>
            <a:pPr>
              <a:spcBef>
                <a:spcPts val="0"/>
              </a:spcBef>
              <a:spcAft>
                <a:spcPts val="0"/>
              </a:spcAft>
              <a:buClr>
                <a:schemeClr val="bg1"/>
              </a:buClr>
            </a:pPr>
            <a:endParaRPr lang="en-US" sz="1400" dirty="0">
              <a:solidFill>
                <a:srgbClr val="0D405F"/>
              </a:solidFill>
              <a:latin typeface="Inter"/>
            </a:endParaRPr>
          </a:p>
          <a:p>
            <a:pPr>
              <a:spcBef>
                <a:spcPts val="0"/>
              </a:spcBef>
              <a:spcAft>
                <a:spcPts val="0"/>
              </a:spcAft>
              <a:buClr>
                <a:schemeClr val="bg1"/>
              </a:buClr>
            </a:pPr>
            <a:r>
              <a:rPr lang="en-US" sz="1400" b="1" dirty="0">
                <a:solidFill>
                  <a:schemeClr val="accent1"/>
                </a:solidFill>
                <a:latin typeface="Inter"/>
              </a:rPr>
              <a:t>Data (Minutes) 	72	110	134	190	238	287	305	324</a:t>
            </a:r>
            <a:endParaRPr lang="en-US" sz="1800" b="1" dirty="0">
              <a:solidFill>
                <a:schemeClr val="accent1"/>
              </a:solidFill>
              <a:latin typeface="+mn-lt"/>
            </a:endParaRP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1015857233"/>
      </p:ext>
    </p:extLst>
  </p:cSld>
  <p:clrMapOvr>
    <a:masterClrMapping/>
  </p:clrMapOvr>
  <p:transition spd="med">
    <p:wipe dir="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086A2A-E07A-42CE-BF96-41BC3D022BD0}"/>
              </a:ext>
            </a:extLst>
          </p:cNvPr>
          <p:cNvSpPr>
            <a:spLocks noGrp="1"/>
          </p:cNvSpPr>
          <p:nvPr>
            <p:ph type="title"/>
          </p:nvPr>
        </p:nvSpPr>
        <p:spPr>
          <a:xfrm>
            <a:off x="0" y="0"/>
            <a:ext cx="8229600" cy="637794"/>
          </a:xfrm>
        </p:spPr>
        <p:txBody>
          <a:bodyPr/>
          <a:lstStyle/>
          <a:p>
            <a:r>
              <a:rPr lang="en-US" dirty="0"/>
              <a:t>Interquartile Range</a:t>
            </a:r>
          </a:p>
        </p:txBody>
      </p:sp>
      <p:sp>
        <p:nvSpPr>
          <p:cNvPr id="3" name="TextBox 2">
            <a:extLst>
              <a:ext uri="{FF2B5EF4-FFF2-40B4-BE49-F238E27FC236}">
                <a16:creationId xmlns:a16="http://schemas.microsoft.com/office/drawing/2014/main" id="{AB8E5736-46E3-4A0C-8877-A0E746A30E1C}"/>
              </a:ext>
            </a:extLst>
          </p:cNvPr>
          <p:cNvSpPr txBox="1"/>
          <p:nvPr/>
        </p:nvSpPr>
        <p:spPr>
          <a:xfrm>
            <a:off x="56087" y="582111"/>
            <a:ext cx="8117426" cy="954107"/>
          </a:xfrm>
          <a:prstGeom prst="rect">
            <a:avLst/>
          </a:prstGeom>
          <a:noFill/>
        </p:spPr>
        <p:txBody>
          <a:bodyPr wrap="square" rtlCol="0">
            <a:spAutoFit/>
          </a:bodyPr>
          <a:lstStyle/>
          <a:p>
            <a:pPr>
              <a:spcBef>
                <a:spcPts val="0"/>
              </a:spcBef>
              <a:spcAft>
                <a:spcPts val="0"/>
              </a:spcAft>
              <a:buClr>
                <a:schemeClr val="bg1"/>
              </a:buClr>
            </a:pPr>
            <a:r>
              <a:rPr lang="en-US" sz="2800" dirty="0">
                <a:solidFill>
                  <a:schemeClr val="bg2">
                    <a:lumMod val="50000"/>
                    <a:lumOff val="50000"/>
                  </a:schemeClr>
                </a:solidFill>
                <a:latin typeface="Inter"/>
                <a:cs typeface="Arial" panose="020B0604020202020204" pitchFamily="34" charset="0"/>
              </a:rPr>
              <a:t>Ex : To calculate it just subtract Quartile 1 from Quartile 3, like this:</a:t>
            </a:r>
          </a:p>
        </p:txBody>
      </p:sp>
      <p:pic>
        <p:nvPicPr>
          <p:cNvPr id="5" name="Picture 4">
            <a:extLst>
              <a:ext uri="{FF2B5EF4-FFF2-40B4-BE49-F238E27FC236}">
                <a16:creationId xmlns:a16="http://schemas.microsoft.com/office/drawing/2014/main" id="{88C503D7-DF26-4859-ABAA-04EB3D0015F5}"/>
              </a:ext>
            </a:extLst>
          </p:cNvPr>
          <p:cNvPicPr>
            <a:picLocks noChangeAspect="1"/>
          </p:cNvPicPr>
          <p:nvPr/>
        </p:nvPicPr>
        <p:blipFill>
          <a:blip r:embed="rId2"/>
          <a:stretch>
            <a:fillRect/>
          </a:stretch>
        </p:blipFill>
        <p:spPr>
          <a:xfrm>
            <a:off x="1571517" y="1726261"/>
            <a:ext cx="4166170" cy="1881022"/>
          </a:xfrm>
          <a:prstGeom prst="rect">
            <a:avLst/>
          </a:prstGeom>
        </p:spPr>
      </p:pic>
      <p:sp>
        <p:nvSpPr>
          <p:cNvPr id="6" name="TextBox 5">
            <a:extLst>
              <a:ext uri="{FF2B5EF4-FFF2-40B4-BE49-F238E27FC236}">
                <a16:creationId xmlns:a16="http://schemas.microsoft.com/office/drawing/2014/main" id="{F8E18E6A-F867-4A4B-A86D-75A83FA49F2F}"/>
              </a:ext>
            </a:extLst>
          </p:cNvPr>
          <p:cNvSpPr txBox="1"/>
          <p:nvPr/>
        </p:nvSpPr>
        <p:spPr>
          <a:xfrm>
            <a:off x="237325" y="3869546"/>
            <a:ext cx="6707927" cy="646331"/>
          </a:xfrm>
          <a:prstGeom prst="rect">
            <a:avLst/>
          </a:prstGeom>
          <a:noFill/>
        </p:spPr>
        <p:txBody>
          <a:bodyPr wrap="square" rtlCol="0">
            <a:spAutoFit/>
          </a:bodyPr>
          <a:lstStyle/>
          <a:p>
            <a:pPr algn="l"/>
            <a:r>
              <a:rPr lang="en-US" sz="1100" b="0" i="0" dirty="0">
                <a:solidFill>
                  <a:schemeClr val="bg2">
                    <a:lumMod val="50000"/>
                    <a:lumOff val="50000"/>
                  </a:schemeClr>
                </a:solidFill>
                <a:effectLst/>
                <a:latin typeface="Verdana" panose="020B0604030504040204" pitchFamily="34" charset="0"/>
              </a:rPr>
              <a:t>The </a:t>
            </a:r>
            <a:r>
              <a:rPr lang="en-US" sz="1100" b="1" i="0" dirty="0">
                <a:solidFill>
                  <a:schemeClr val="bg2">
                    <a:lumMod val="50000"/>
                    <a:lumOff val="50000"/>
                  </a:schemeClr>
                </a:solidFill>
                <a:effectLst/>
                <a:latin typeface="Verdana" panose="020B0604030504040204" pitchFamily="34" charset="0"/>
              </a:rPr>
              <a:t>Interquartile Range</a:t>
            </a:r>
            <a:r>
              <a:rPr lang="en-US" sz="1100" b="0" i="0" dirty="0">
                <a:solidFill>
                  <a:schemeClr val="bg2">
                    <a:lumMod val="50000"/>
                    <a:lumOff val="50000"/>
                  </a:schemeClr>
                </a:solidFill>
                <a:effectLst/>
                <a:latin typeface="Verdana" panose="020B0604030504040204" pitchFamily="34" charset="0"/>
              </a:rPr>
              <a:t> is:</a:t>
            </a:r>
          </a:p>
          <a:p>
            <a:pPr algn="ctr"/>
            <a:r>
              <a:rPr lang="en-US" sz="1100" b="0" i="0" dirty="0">
                <a:solidFill>
                  <a:schemeClr val="bg2">
                    <a:lumMod val="50000"/>
                    <a:lumOff val="50000"/>
                  </a:schemeClr>
                </a:solidFill>
                <a:effectLst/>
                <a:latin typeface="Verdana" panose="020B0604030504040204" pitchFamily="34" charset="0"/>
              </a:rPr>
              <a:t>Q3 − Q1 = 7 − 4 = </a:t>
            </a:r>
            <a:r>
              <a:rPr lang="en-US" sz="1100" b="1" i="0" dirty="0">
                <a:solidFill>
                  <a:schemeClr val="bg2">
                    <a:lumMod val="50000"/>
                    <a:lumOff val="50000"/>
                  </a:schemeClr>
                </a:solidFill>
                <a:effectLst/>
                <a:latin typeface="Verdana" panose="020B0604030504040204" pitchFamily="34" charset="0"/>
              </a:rPr>
              <a:t>3</a:t>
            </a:r>
            <a:endParaRPr lang="en-US" sz="1100" b="0" i="0" dirty="0">
              <a:solidFill>
                <a:schemeClr val="bg2">
                  <a:lumMod val="50000"/>
                  <a:lumOff val="50000"/>
                </a:schemeClr>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1597251860"/>
      </p:ext>
    </p:extLst>
  </p:cSld>
  <p:clrMapOvr>
    <a:masterClrMapping/>
  </p:clrMapOvr>
  <p:transition spd="med">
    <p:wipe dir="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7706E-BE1F-4177-844F-8FEA64AD4A0C}"/>
              </a:ext>
            </a:extLst>
          </p:cNvPr>
          <p:cNvSpPr>
            <a:spLocks noGrp="1"/>
          </p:cNvSpPr>
          <p:nvPr>
            <p:ph type="title"/>
          </p:nvPr>
        </p:nvSpPr>
        <p:spPr>
          <a:xfrm>
            <a:off x="143093" y="105430"/>
            <a:ext cx="8229600" cy="637794"/>
          </a:xfrm>
        </p:spPr>
        <p:txBody>
          <a:bodyPr/>
          <a:lstStyle/>
          <a:p>
            <a:r>
              <a:rPr lang="en-US" dirty="0"/>
              <a:t>Worksheet</a:t>
            </a:r>
          </a:p>
        </p:txBody>
      </p:sp>
    </p:spTree>
    <p:extLst>
      <p:ext uri="{BB962C8B-B14F-4D97-AF65-F5344CB8AC3E}">
        <p14:creationId xmlns:p14="http://schemas.microsoft.com/office/powerpoint/2010/main" val="2405108307"/>
      </p:ext>
    </p:extLst>
  </p:cSld>
  <p:clrMapOvr>
    <a:masterClrMapping/>
  </p:clrMapOvr>
  <p:transition spd="med">
    <p:wipe dir="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302B98-D68B-4822-8A33-AA6F189B8061}"/>
              </a:ext>
            </a:extLst>
          </p:cNvPr>
          <p:cNvSpPr>
            <a:spLocks noGrp="1"/>
          </p:cNvSpPr>
          <p:nvPr>
            <p:ph type="title"/>
          </p:nvPr>
        </p:nvSpPr>
        <p:spPr>
          <a:xfrm>
            <a:off x="0" y="56569"/>
            <a:ext cx="8229600" cy="637794"/>
          </a:xfrm>
        </p:spPr>
        <p:txBody>
          <a:bodyPr/>
          <a:lstStyle/>
          <a:p>
            <a:r>
              <a:rPr lang="en-US" dirty="0"/>
              <a:t>Box and Whiskers Plot</a:t>
            </a:r>
          </a:p>
        </p:txBody>
      </p:sp>
      <p:sp>
        <p:nvSpPr>
          <p:cNvPr id="3" name="TextBox 2">
            <a:extLst>
              <a:ext uri="{FF2B5EF4-FFF2-40B4-BE49-F238E27FC236}">
                <a16:creationId xmlns:a16="http://schemas.microsoft.com/office/drawing/2014/main" id="{5CE3D9A2-4611-47A0-ADFC-F45B7CD82AC5}"/>
              </a:ext>
            </a:extLst>
          </p:cNvPr>
          <p:cNvSpPr txBox="1"/>
          <p:nvPr/>
        </p:nvSpPr>
        <p:spPr>
          <a:xfrm>
            <a:off x="181482" y="694363"/>
            <a:ext cx="7664209" cy="307777"/>
          </a:xfrm>
          <a:prstGeom prst="rect">
            <a:avLst/>
          </a:prstGeom>
          <a:noFill/>
        </p:spPr>
        <p:txBody>
          <a:bodyPr wrap="square" rtlCol="0">
            <a:spAutoFit/>
          </a:bodyPr>
          <a:lstStyle/>
          <a:p>
            <a:pPr>
              <a:spcBef>
                <a:spcPts val="0"/>
              </a:spcBef>
              <a:spcAft>
                <a:spcPts val="0"/>
              </a:spcAft>
              <a:buClr>
                <a:schemeClr val="bg1"/>
              </a:buClr>
            </a:pPr>
            <a:r>
              <a:rPr lang="en-US" sz="1400" b="0" i="0" dirty="0">
                <a:solidFill>
                  <a:schemeClr val="bg2">
                    <a:lumMod val="50000"/>
                    <a:lumOff val="50000"/>
                  </a:schemeClr>
                </a:solidFill>
                <a:effectLst/>
                <a:latin typeface="Verdana" panose="020B0604030504040204" pitchFamily="34" charset="0"/>
              </a:rPr>
              <a:t>We can show all the important values in a "Box and Whisker Plot", like this:</a:t>
            </a:r>
            <a:endParaRPr lang="en-US" sz="1800" dirty="0">
              <a:solidFill>
                <a:schemeClr val="bg2">
                  <a:lumMod val="50000"/>
                  <a:lumOff val="50000"/>
                </a:schemeClr>
              </a:solidFill>
              <a:latin typeface="+mn-lt"/>
            </a:endParaRPr>
          </a:p>
        </p:txBody>
      </p:sp>
      <p:pic>
        <p:nvPicPr>
          <p:cNvPr id="5" name="Picture 4">
            <a:extLst>
              <a:ext uri="{FF2B5EF4-FFF2-40B4-BE49-F238E27FC236}">
                <a16:creationId xmlns:a16="http://schemas.microsoft.com/office/drawing/2014/main" id="{ECFC2D9A-0771-4355-9746-A1CDB752DECD}"/>
              </a:ext>
            </a:extLst>
          </p:cNvPr>
          <p:cNvPicPr>
            <a:picLocks noChangeAspect="1"/>
          </p:cNvPicPr>
          <p:nvPr/>
        </p:nvPicPr>
        <p:blipFill>
          <a:blip r:embed="rId2"/>
          <a:stretch>
            <a:fillRect/>
          </a:stretch>
        </p:blipFill>
        <p:spPr>
          <a:xfrm>
            <a:off x="1771177" y="1639934"/>
            <a:ext cx="4280615" cy="1314520"/>
          </a:xfrm>
          <a:prstGeom prst="rect">
            <a:avLst/>
          </a:prstGeom>
        </p:spPr>
      </p:pic>
    </p:spTree>
    <p:extLst>
      <p:ext uri="{BB962C8B-B14F-4D97-AF65-F5344CB8AC3E}">
        <p14:creationId xmlns:p14="http://schemas.microsoft.com/office/powerpoint/2010/main" val="47765115"/>
      </p:ext>
    </p:extLst>
  </p:cSld>
  <p:clrMapOvr>
    <a:masterClrMapping/>
  </p:clrMapOvr>
  <p:transition spd="med">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5DF89-A4C5-4804-873A-9C2CF1B53371}"/>
              </a:ext>
            </a:extLst>
          </p:cNvPr>
          <p:cNvSpPr>
            <a:spLocks noGrp="1"/>
          </p:cNvSpPr>
          <p:nvPr>
            <p:ph type="title"/>
          </p:nvPr>
        </p:nvSpPr>
        <p:spPr>
          <a:xfrm>
            <a:off x="0" y="22860"/>
            <a:ext cx="7955280" cy="640080"/>
          </a:xfrm>
        </p:spPr>
        <p:txBody>
          <a:bodyPr/>
          <a:lstStyle/>
          <a:p>
            <a:r>
              <a:rPr lang="en-US" dirty="0"/>
              <a:t>Types of Variables</a:t>
            </a:r>
          </a:p>
        </p:txBody>
      </p:sp>
      <p:sp>
        <p:nvSpPr>
          <p:cNvPr id="4" name="Rectangle: Rounded Corners 3">
            <a:extLst>
              <a:ext uri="{FF2B5EF4-FFF2-40B4-BE49-F238E27FC236}">
                <a16:creationId xmlns:a16="http://schemas.microsoft.com/office/drawing/2014/main" id="{BECC6AA8-F4E3-4A94-9BD8-274D67D0E341}"/>
              </a:ext>
            </a:extLst>
          </p:cNvPr>
          <p:cNvSpPr/>
          <p:nvPr/>
        </p:nvSpPr>
        <p:spPr>
          <a:xfrm>
            <a:off x="3846931" y="544882"/>
            <a:ext cx="1484335"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Variable</a:t>
            </a:r>
          </a:p>
        </p:txBody>
      </p:sp>
      <p:sp>
        <p:nvSpPr>
          <p:cNvPr id="5" name="Rectangle: Rounded Corners 4">
            <a:extLst>
              <a:ext uri="{FF2B5EF4-FFF2-40B4-BE49-F238E27FC236}">
                <a16:creationId xmlns:a16="http://schemas.microsoft.com/office/drawing/2014/main" id="{B64A9950-C095-4508-A8D1-BCDB18FD97C6}"/>
              </a:ext>
            </a:extLst>
          </p:cNvPr>
          <p:cNvSpPr/>
          <p:nvPr/>
        </p:nvSpPr>
        <p:spPr>
          <a:xfrm>
            <a:off x="1025045" y="1436317"/>
            <a:ext cx="1728591"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Quantitative</a:t>
            </a:r>
          </a:p>
        </p:txBody>
      </p:sp>
      <p:sp>
        <p:nvSpPr>
          <p:cNvPr id="6" name="Rectangle: Rounded Corners 5">
            <a:extLst>
              <a:ext uri="{FF2B5EF4-FFF2-40B4-BE49-F238E27FC236}">
                <a16:creationId xmlns:a16="http://schemas.microsoft.com/office/drawing/2014/main" id="{EBE4729C-1083-4C4B-A47A-5656FE677822}"/>
              </a:ext>
            </a:extLst>
          </p:cNvPr>
          <p:cNvSpPr/>
          <p:nvPr/>
        </p:nvSpPr>
        <p:spPr>
          <a:xfrm>
            <a:off x="5697256" y="1436317"/>
            <a:ext cx="1728591"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Qualitative</a:t>
            </a:r>
          </a:p>
        </p:txBody>
      </p:sp>
      <p:sp>
        <p:nvSpPr>
          <p:cNvPr id="7" name="Rectangle: Rounded Corners 6">
            <a:extLst>
              <a:ext uri="{FF2B5EF4-FFF2-40B4-BE49-F238E27FC236}">
                <a16:creationId xmlns:a16="http://schemas.microsoft.com/office/drawing/2014/main" id="{61D08891-F878-4FDF-B9A0-8D80D90B40A7}"/>
              </a:ext>
            </a:extLst>
          </p:cNvPr>
          <p:cNvSpPr/>
          <p:nvPr/>
        </p:nvSpPr>
        <p:spPr>
          <a:xfrm>
            <a:off x="62629" y="2557137"/>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Discrete</a:t>
            </a:r>
          </a:p>
        </p:txBody>
      </p:sp>
      <p:sp>
        <p:nvSpPr>
          <p:cNvPr id="8" name="Rectangle: Rounded Corners 7">
            <a:extLst>
              <a:ext uri="{FF2B5EF4-FFF2-40B4-BE49-F238E27FC236}">
                <a16:creationId xmlns:a16="http://schemas.microsoft.com/office/drawing/2014/main" id="{F4AC69C5-E593-414D-A1C2-B3A0A0562FEC}"/>
              </a:ext>
            </a:extLst>
          </p:cNvPr>
          <p:cNvSpPr/>
          <p:nvPr/>
        </p:nvSpPr>
        <p:spPr>
          <a:xfrm>
            <a:off x="1889341" y="2557137"/>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Continuous</a:t>
            </a:r>
          </a:p>
        </p:txBody>
      </p:sp>
      <p:sp>
        <p:nvSpPr>
          <p:cNvPr id="9" name="Rectangle: Rounded Corners 8">
            <a:extLst>
              <a:ext uri="{FF2B5EF4-FFF2-40B4-BE49-F238E27FC236}">
                <a16:creationId xmlns:a16="http://schemas.microsoft.com/office/drawing/2014/main" id="{CEBE0F36-E7A6-4554-AC12-BB9D6401B2AD}"/>
              </a:ext>
            </a:extLst>
          </p:cNvPr>
          <p:cNvSpPr/>
          <p:nvPr/>
        </p:nvSpPr>
        <p:spPr>
          <a:xfrm>
            <a:off x="3907079" y="2571750"/>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Nominal</a:t>
            </a:r>
          </a:p>
        </p:txBody>
      </p:sp>
      <p:sp>
        <p:nvSpPr>
          <p:cNvPr id="10" name="Rectangle: Rounded Corners 9">
            <a:extLst>
              <a:ext uri="{FF2B5EF4-FFF2-40B4-BE49-F238E27FC236}">
                <a16:creationId xmlns:a16="http://schemas.microsoft.com/office/drawing/2014/main" id="{9BF4BCFE-0120-4B93-9D0A-C9340569D1E9}"/>
              </a:ext>
            </a:extLst>
          </p:cNvPr>
          <p:cNvSpPr/>
          <p:nvPr/>
        </p:nvSpPr>
        <p:spPr>
          <a:xfrm>
            <a:off x="5733791" y="2571750"/>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Ordinal</a:t>
            </a:r>
          </a:p>
        </p:txBody>
      </p:sp>
      <p:cxnSp>
        <p:nvCxnSpPr>
          <p:cNvPr id="12" name="Straight Arrow Connector 11">
            <a:extLst>
              <a:ext uri="{FF2B5EF4-FFF2-40B4-BE49-F238E27FC236}">
                <a16:creationId xmlns:a16="http://schemas.microsoft.com/office/drawing/2014/main" id="{323013C9-7B22-4459-8F28-57188F3D6C86}"/>
              </a:ext>
            </a:extLst>
          </p:cNvPr>
          <p:cNvCxnSpPr>
            <a:stCxn id="4" idx="2"/>
            <a:endCxn id="5" idx="0"/>
          </p:cNvCxnSpPr>
          <p:nvPr/>
        </p:nvCxnSpPr>
        <p:spPr>
          <a:xfrm flipH="1">
            <a:off x="1889341" y="926926"/>
            <a:ext cx="2699758" cy="509391"/>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E48DFC0C-56EA-44CD-A6EF-93B7072AA5E3}"/>
              </a:ext>
            </a:extLst>
          </p:cNvPr>
          <p:cNvCxnSpPr>
            <a:stCxn id="4" idx="2"/>
            <a:endCxn id="6" idx="0"/>
          </p:cNvCxnSpPr>
          <p:nvPr/>
        </p:nvCxnSpPr>
        <p:spPr>
          <a:xfrm>
            <a:off x="4589099" y="926926"/>
            <a:ext cx="1972453" cy="509391"/>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C2D531C1-8606-4599-84EB-2A76929B7660}"/>
              </a:ext>
            </a:extLst>
          </p:cNvPr>
          <p:cNvCxnSpPr>
            <a:stCxn id="5" idx="2"/>
            <a:endCxn id="7" idx="0"/>
          </p:cNvCxnSpPr>
          <p:nvPr/>
        </p:nvCxnSpPr>
        <p:spPr>
          <a:xfrm flipH="1">
            <a:off x="890391" y="1818361"/>
            <a:ext cx="998950" cy="738776"/>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109B3A31-CC3D-40E6-9F48-2572EFF66818}"/>
              </a:ext>
            </a:extLst>
          </p:cNvPr>
          <p:cNvCxnSpPr>
            <a:stCxn id="5" idx="2"/>
            <a:endCxn id="8" idx="0"/>
          </p:cNvCxnSpPr>
          <p:nvPr/>
        </p:nvCxnSpPr>
        <p:spPr>
          <a:xfrm>
            <a:off x="1889341" y="1818361"/>
            <a:ext cx="827762" cy="738776"/>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24F81249-C776-473E-A656-690BABC69384}"/>
              </a:ext>
            </a:extLst>
          </p:cNvPr>
          <p:cNvCxnSpPr>
            <a:stCxn id="6" idx="2"/>
            <a:endCxn id="9" idx="0"/>
          </p:cNvCxnSpPr>
          <p:nvPr/>
        </p:nvCxnSpPr>
        <p:spPr>
          <a:xfrm flipH="1">
            <a:off x="4734841" y="1818361"/>
            <a:ext cx="1826711" cy="75338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40A44C45-020F-4EC0-9ABC-F2019CABD76E}"/>
              </a:ext>
            </a:extLst>
          </p:cNvPr>
          <p:cNvCxnSpPr>
            <a:stCxn id="6" idx="2"/>
            <a:endCxn id="10" idx="0"/>
          </p:cNvCxnSpPr>
          <p:nvPr/>
        </p:nvCxnSpPr>
        <p:spPr>
          <a:xfrm>
            <a:off x="6561552" y="1818361"/>
            <a:ext cx="1" cy="75338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93415D3D-289F-475B-8CC7-72AF925B85AF}"/>
              </a:ext>
            </a:extLst>
          </p:cNvPr>
          <p:cNvSpPr txBox="1"/>
          <p:nvPr/>
        </p:nvSpPr>
        <p:spPr>
          <a:xfrm>
            <a:off x="104702" y="3329533"/>
            <a:ext cx="593313"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 </a:t>
            </a:r>
          </a:p>
        </p:txBody>
      </p:sp>
      <p:sp>
        <p:nvSpPr>
          <p:cNvPr id="36" name="Rectangle: Rounded Corners 35">
            <a:extLst>
              <a:ext uri="{FF2B5EF4-FFF2-40B4-BE49-F238E27FC236}">
                <a16:creationId xmlns:a16="http://schemas.microsoft.com/office/drawing/2014/main" id="{D1006B51-EEAC-497A-B4E7-A2CD7FFAAEF9}"/>
              </a:ext>
            </a:extLst>
          </p:cNvPr>
          <p:cNvSpPr/>
          <p:nvPr/>
        </p:nvSpPr>
        <p:spPr>
          <a:xfrm>
            <a:off x="7425848" y="2571750"/>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Binary</a:t>
            </a:r>
          </a:p>
        </p:txBody>
      </p:sp>
      <p:cxnSp>
        <p:nvCxnSpPr>
          <p:cNvPr id="40" name="Straight Arrow Connector 39">
            <a:extLst>
              <a:ext uri="{FF2B5EF4-FFF2-40B4-BE49-F238E27FC236}">
                <a16:creationId xmlns:a16="http://schemas.microsoft.com/office/drawing/2014/main" id="{7B8FE297-E963-4754-B22F-8F1EFC3DF06E}"/>
              </a:ext>
            </a:extLst>
          </p:cNvPr>
          <p:cNvCxnSpPr>
            <a:cxnSpLocks/>
            <a:stCxn id="6" idx="2"/>
            <a:endCxn id="36" idx="0"/>
          </p:cNvCxnSpPr>
          <p:nvPr/>
        </p:nvCxnSpPr>
        <p:spPr>
          <a:xfrm>
            <a:off x="6561552" y="1818361"/>
            <a:ext cx="1692058" cy="75338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89912247"/>
      </p:ext>
    </p:extLst>
  </p:cSld>
  <p:clrMapOvr>
    <a:masterClrMapping/>
  </p:clrMapOvr>
  <p:transition spd="med">
    <p:wipe dir="r"/>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F826E-42FE-413B-94F5-930FD1324A21}"/>
              </a:ext>
            </a:extLst>
          </p:cNvPr>
          <p:cNvSpPr>
            <a:spLocks noGrp="1"/>
          </p:cNvSpPr>
          <p:nvPr>
            <p:ph type="title"/>
          </p:nvPr>
        </p:nvSpPr>
        <p:spPr>
          <a:xfrm>
            <a:off x="0" y="0"/>
            <a:ext cx="9144000" cy="637794"/>
          </a:xfrm>
        </p:spPr>
        <p:txBody>
          <a:bodyPr/>
          <a:lstStyle/>
          <a:p>
            <a:r>
              <a:rPr lang="en-US" dirty="0"/>
              <a:t>Putting it all together – Quartiles &amp; Box and Whisker Plot</a:t>
            </a:r>
          </a:p>
        </p:txBody>
      </p:sp>
      <p:sp>
        <p:nvSpPr>
          <p:cNvPr id="3" name="TextBox 2">
            <a:extLst>
              <a:ext uri="{FF2B5EF4-FFF2-40B4-BE49-F238E27FC236}">
                <a16:creationId xmlns:a16="http://schemas.microsoft.com/office/drawing/2014/main" id="{732EC174-2DD3-4269-88F1-B18EC6E5775D}"/>
              </a:ext>
            </a:extLst>
          </p:cNvPr>
          <p:cNvSpPr txBox="1"/>
          <p:nvPr/>
        </p:nvSpPr>
        <p:spPr>
          <a:xfrm>
            <a:off x="69801" y="401925"/>
            <a:ext cx="8550687" cy="4508927"/>
          </a:xfrm>
          <a:prstGeom prst="rect">
            <a:avLst/>
          </a:prstGeom>
          <a:noFill/>
        </p:spPr>
        <p:txBody>
          <a:bodyPr wrap="square" rtlCol="0">
            <a:spAutoFit/>
          </a:bodyPr>
          <a:lstStyle/>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Example: </a:t>
            </a:r>
            <a:r>
              <a:rPr lang="en-US" sz="1100" b="1" i="0" dirty="0">
                <a:solidFill>
                  <a:schemeClr val="bg2">
                    <a:lumMod val="50000"/>
                    <a:lumOff val="50000"/>
                  </a:schemeClr>
                </a:solidFill>
                <a:effectLst/>
                <a:latin typeface="Verdana" panose="020B0604030504040204" pitchFamily="34" charset="0"/>
              </a:rPr>
              <a:t>Box and Whisker Plot and Interquartile Range</a:t>
            </a:r>
            <a:r>
              <a:rPr lang="en-US" sz="1100" b="0" i="0" dirty="0">
                <a:solidFill>
                  <a:schemeClr val="bg2">
                    <a:lumMod val="50000"/>
                    <a:lumOff val="50000"/>
                  </a:schemeClr>
                </a:solidFill>
                <a:effectLst/>
                <a:latin typeface="Verdana" panose="020B0604030504040204" pitchFamily="34" charset="0"/>
              </a:rPr>
              <a:t> for</a:t>
            </a:r>
          </a:p>
          <a:p>
            <a:pPr algn="l"/>
            <a:endParaRPr lang="en-US" sz="1100" dirty="0">
              <a:solidFill>
                <a:schemeClr val="bg2">
                  <a:lumMod val="50000"/>
                  <a:lumOff val="50000"/>
                </a:schemeClr>
              </a:solidFill>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4, 17, 7, 14, 18, 12, 3, 16, 10, 4, 4, 11</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1" i="0" dirty="0">
                <a:solidFill>
                  <a:schemeClr val="bg2">
                    <a:lumMod val="50000"/>
                    <a:lumOff val="50000"/>
                  </a:schemeClr>
                </a:solidFill>
                <a:effectLst/>
                <a:latin typeface="Verdana" panose="020B0604030504040204" pitchFamily="34" charset="0"/>
              </a:rPr>
              <a:t>Put them in order:   </a:t>
            </a:r>
            <a:r>
              <a:rPr lang="en-US" sz="1100" b="0" i="0" dirty="0">
                <a:solidFill>
                  <a:schemeClr val="bg2">
                    <a:lumMod val="50000"/>
                    <a:lumOff val="50000"/>
                  </a:schemeClr>
                </a:solidFill>
                <a:effectLst/>
                <a:latin typeface="Verdana" panose="020B0604030504040204" pitchFamily="34" charset="0"/>
              </a:rPr>
              <a:t>3, 4, 4, 4, 7, 10, 11, 12, 14, 16, 17, 18</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1" i="0" dirty="0">
                <a:solidFill>
                  <a:schemeClr val="bg2">
                    <a:lumMod val="50000"/>
                    <a:lumOff val="50000"/>
                  </a:schemeClr>
                </a:solidFill>
                <a:effectLst/>
                <a:latin typeface="Verdana" panose="020B0604030504040204" pitchFamily="34" charset="0"/>
              </a:rPr>
              <a:t>Cut it into quarters:  </a:t>
            </a:r>
            <a:r>
              <a:rPr lang="en-US" sz="1100" b="0" i="0" dirty="0">
                <a:solidFill>
                  <a:schemeClr val="bg2">
                    <a:lumMod val="50000"/>
                    <a:lumOff val="50000"/>
                  </a:schemeClr>
                </a:solidFill>
                <a:effectLst/>
                <a:latin typeface="Verdana" panose="020B0604030504040204" pitchFamily="34" charset="0"/>
              </a:rPr>
              <a:t>3, 4, 4 | 4, 7, 10 | 11, 12, 14 | 16, 17, 18</a:t>
            </a:r>
          </a:p>
          <a:p>
            <a:pPr algn="l"/>
            <a:endParaRPr lang="en-US" sz="1100" b="0" i="0" dirty="0">
              <a:solidFill>
                <a:schemeClr val="bg2">
                  <a:lumMod val="50000"/>
                  <a:lumOff val="50000"/>
                </a:schemeClr>
              </a:solidFill>
              <a:effectLst/>
              <a:latin typeface="Verdana" panose="020B0604030504040204" pitchFamily="34" charset="0"/>
            </a:endParaRP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In this case all the quartiles are between numbers:</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Quartile 1 (Q1) = (4+4)/2 = </a:t>
            </a:r>
            <a:r>
              <a:rPr lang="en-US" sz="1100" b="1" i="0" dirty="0">
                <a:solidFill>
                  <a:schemeClr val="bg2">
                    <a:lumMod val="50000"/>
                    <a:lumOff val="50000"/>
                  </a:schemeClr>
                </a:solidFill>
                <a:effectLst/>
                <a:latin typeface="Verdana" panose="020B0604030504040204" pitchFamily="34" charset="0"/>
              </a:rPr>
              <a:t>4</a:t>
            </a:r>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Quartile 2 (Q2) = (10+11)/2 = </a:t>
            </a:r>
            <a:r>
              <a:rPr lang="en-US" sz="1100" b="1" i="0" dirty="0">
                <a:solidFill>
                  <a:schemeClr val="bg2">
                    <a:lumMod val="50000"/>
                    <a:lumOff val="50000"/>
                  </a:schemeClr>
                </a:solidFill>
                <a:effectLst/>
                <a:latin typeface="Verdana" panose="020B0604030504040204" pitchFamily="34" charset="0"/>
              </a:rPr>
              <a:t>10.5</a:t>
            </a:r>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Quartile 3 (Q3) = (14+16)/2 = </a:t>
            </a:r>
            <a:r>
              <a:rPr lang="en-US" sz="1100" b="1" i="0" dirty="0">
                <a:solidFill>
                  <a:schemeClr val="bg2">
                    <a:lumMod val="50000"/>
                    <a:lumOff val="50000"/>
                  </a:schemeClr>
                </a:solidFill>
                <a:effectLst/>
                <a:latin typeface="Verdana" panose="020B0604030504040204" pitchFamily="34" charset="0"/>
              </a:rPr>
              <a:t>15</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Also:</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The Lowest Value is </a:t>
            </a:r>
            <a:r>
              <a:rPr lang="en-US" sz="1100" b="1" i="0" dirty="0">
                <a:solidFill>
                  <a:schemeClr val="bg2">
                    <a:lumMod val="50000"/>
                    <a:lumOff val="50000"/>
                  </a:schemeClr>
                </a:solidFill>
                <a:effectLst/>
                <a:latin typeface="Verdana" panose="020B0604030504040204" pitchFamily="34" charset="0"/>
              </a:rPr>
              <a:t>3</a:t>
            </a:r>
            <a:r>
              <a:rPr lang="en-US" sz="1100" b="0" i="0" dirty="0">
                <a:solidFill>
                  <a:schemeClr val="bg2">
                    <a:lumMod val="50000"/>
                    <a:lumOff val="50000"/>
                  </a:schemeClr>
                </a:solidFill>
                <a:effectLst/>
                <a:latin typeface="Verdana" panose="020B0604030504040204" pitchFamily="34" charset="0"/>
              </a:rPr>
              <a:t>,</a:t>
            </a:r>
          </a:p>
          <a:p>
            <a:pPr algn="l"/>
            <a:r>
              <a:rPr lang="en-US" sz="1100" b="0" i="0" dirty="0">
                <a:solidFill>
                  <a:schemeClr val="bg2">
                    <a:lumMod val="50000"/>
                    <a:lumOff val="50000"/>
                  </a:schemeClr>
                </a:solidFill>
                <a:effectLst/>
                <a:latin typeface="Verdana" panose="020B0604030504040204" pitchFamily="34" charset="0"/>
              </a:rPr>
              <a:t>The Highest Value is </a:t>
            </a:r>
            <a:r>
              <a:rPr lang="en-US" sz="1100" b="1" i="0" dirty="0">
                <a:solidFill>
                  <a:schemeClr val="bg2">
                    <a:lumMod val="50000"/>
                    <a:lumOff val="50000"/>
                  </a:schemeClr>
                </a:solidFill>
                <a:effectLst/>
                <a:latin typeface="Verdana" panose="020B0604030504040204" pitchFamily="34" charset="0"/>
              </a:rPr>
              <a:t>18</a:t>
            </a:r>
          </a:p>
          <a:p>
            <a:pPr algn="l"/>
            <a:endParaRPr lang="en-US" sz="1100" b="1" dirty="0">
              <a:solidFill>
                <a:schemeClr val="bg2">
                  <a:lumMod val="50000"/>
                  <a:lumOff val="50000"/>
                </a:schemeClr>
              </a:solidFill>
              <a:latin typeface="Verdana" panose="020B0604030504040204" pitchFamily="34" charset="0"/>
            </a:endParaRPr>
          </a:p>
          <a:p>
            <a:pPr algn="l"/>
            <a:endParaRPr lang="en-US" sz="1100" b="1" i="0" dirty="0">
              <a:solidFill>
                <a:schemeClr val="bg2">
                  <a:lumMod val="50000"/>
                  <a:lumOff val="50000"/>
                </a:schemeClr>
              </a:solidFill>
              <a:effectLst/>
              <a:latin typeface="Verdana" panose="020B0604030504040204" pitchFamily="34" charset="0"/>
            </a:endParaRPr>
          </a:p>
          <a:p>
            <a:pPr algn="l"/>
            <a:endParaRPr lang="en-US" sz="1000" b="0" i="0" dirty="0">
              <a:solidFill>
                <a:schemeClr val="bg2">
                  <a:lumMod val="50000"/>
                  <a:lumOff val="50000"/>
                </a:schemeClr>
              </a:solidFill>
              <a:effectLst/>
              <a:latin typeface="Verdana" panose="020B0604030504040204" pitchFamily="34" charset="0"/>
            </a:endParaRPr>
          </a:p>
          <a:p>
            <a:pPr algn="l"/>
            <a:r>
              <a:rPr lang="en-US" sz="1000" b="0" i="0" dirty="0">
                <a:solidFill>
                  <a:schemeClr val="bg2">
                    <a:lumMod val="50000"/>
                    <a:lumOff val="50000"/>
                  </a:schemeClr>
                </a:solidFill>
                <a:effectLst/>
                <a:latin typeface="Verdana" panose="020B0604030504040204" pitchFamily="34" charset="0"/>
              </a:rPr>
              <a:t>And the </a:t>
            </a:r>
            <a:r>
              <a:rPr lang="en-US" sz="1000" b="1" i="0" dirty="0">
                <a:solidFill>
                  <a:schemeClr val="bg2">
                    <a:lumMod val="50000"/>
                    <a:lumOff val="50000"/>
                  </a:schemeClr>
                </a:solidFill>
                <a:effectLst/>
                <a:latin typeface="Verdana" panose="020B0604030504040204" pitchFamily="34" charset="0"/>
              </a:rPr>
              <a:t>Interquartile Range</a:t>
            </a:r>
            <a:r>
              <a:rPr lang="en-US" sz="1000" b="0" i="0" dirty="0">
                <a:solidFill>
                  <a:schemeClr val="bg2">
                    <a:lumMod val="50000"/>
                    <a:lumOff val="50000"/>
                  </a:schemeClr>
                </a:solidFill>
                <a:effectLst/>
                <a:latin typeface="Verdana" panose="020B0604030504040204" pitchFamily="34" charset="0"/>
              </a:rPr>
              <a:t> is:  Q3 − Q1 = 15 − 4 = </a:t>
            </a:r>
            <a:r>
              <a:rPr lang="en-US" sz="1000" b="1" i="0" dirty="0">
                <a:solidFill>
                  <a:schemeClr val="bg2">
                    <a:lumMod val="50000"/>
                    <a:lumOff val="50000"/>
                  </a:schemeClr>
                </a:solidFill>
                <a:effectLst/>
                <a:latin typeface="Verdana" panose="020B0604030504040204" pitchFamily="34" charset="0"/>
              </a:rPr>
              <a:t>11</a:t>
            </a:r>
            <a:endParaRPr lang="en-US" sz="1000" b="0" i="0" dirty="0">
              <a:solidFill>
                <a:schemeClr val="bg2">
                  <a:lumMod val="50000"/>
                  <a:lumOff val="50000"/>
                </a:schemeClr>
              </a:solidFill>
              <a:effectLst/>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855912B2-43D3-466B-8818-DA5069B7543D}"/>
              </a:ext>
            </a:extLst>
          </p:cNvPr>
          <p:cNvPicPr>
            <a:picLocks noChangeAspect="1"/>
          </p:cNvPicPr>
          <p:nvPr/>
        </p:nvPicPr>
        <p:blipFill>
          <a:blip r:embed="rId2"/>
          <a:stretch>
            <a:fillRect/>
          </a:stretch>
        </p:blipFill>
        <p:spPr>
          <a:xfrm>
            <a:off x="2563059" y="3011718"/>
            <a:ext cx="6388986" cy="1080553"/>
          </a:xfrm>
          <a:prstGeom prst="rect">
            <a:avLst/>
          </a:prstGeom>
        </p:spPr>
      </p:pic>
      <p:sp>
        <p:nvSpPr>
          <p:cNvPr id="6" name="Rectangle 5">
            <a:extLst>
              <a:ext uri="{FF2B5EF4-FFF2-40B4-BE49-F238E27FC236}">
                <a16:creationId xmlns:a16="http://schemas.microsoft.com/office/drawing/2014/main" id="{78A0F166-87FB-4E04-AA2E-A971A56754AB}"/>
              </a:ext>
            </a:extLst>
          </p:cNvPr>
          <p:cNvSpPr/>
          <p:nvPr/>
        </p:nvSpPr>
        <p:spPr>
          <a:xfrm>
            <a:off x="69801" y="4174131"/>
            <a:ext cx="4020568" cy="432770"/>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Tree>
    <p:extLst>
      <p:ext uri="{BB962C8B-B14F-4D97-AF65-F5344CB8AC3E}">
        <p14:creationId xmlns:p14="http://schemas.microsoft.com/office/powerpoint/2010/main" val="1053432518"/>
      </p:ext>
    </p:extLst>
  </p:cSld>
  <p:clrMapOvr>
    <a:masterClrMapping/>
  </p:clrMapOvr>
  <p:transition spd="med">
    <p:wipe dir="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A7FB37-7364-4C6E-8104-4B3F120F068C}"/>
              </a:ext>
            </a:extLst>
          </p:cNvPr>
          <p:cNvSpPr>
            <a:spLocks noGrp="1"/>
          </p:cNvSpPr>
          <p:nvPr>
            <p:ph type="title"/>
          </p:nvPr>
        </p:nvSpPr>
        <p:spPr>
          <a:xfrm>
            <a:off x="0" y="0"/>
            <a:ext cx="8229600" cy="637794"/>
          </a:xfrm>
        </p:spPr>
        <p:txBody>
          <a:bodyPr/>
          <a:lstStyle/>
          <a:p>
            <a:r>
              <a:rPr lang="en-US" dirty="0"/>
              <a:t>Quartile – Five-number summary</a:t>
            </a:r>
          </a:p>
        </p:txBody>
      </p:sp>
      <p:sp>
        <p:nvSpPr>
          <p:cNvPr id="3" name="TextBox 2">
            <a:extLst>
              <a:ext uri="{FF2B5EF4-FFF2-40B4-BE49-F238E27FC236}">
                <a16:creationId xmlns:a16="http://schemas.microsoft.com/office/drawing/2014/main" id="{6AA95D92-9A44-4080-BA36-19FFE96B6405}"/>
              </a:ext>
            </a:extLst>
          </p:cNvPr>
          <p:cNvSpPr txBox="1"/>
          <p:nvPr/>
        </p:nvSpPr>
        <p:spPr>
          <a:xfrm>
            <a:off x="0" y="809698"/>
            <a:ext cx="8927615" cy="2862322"/>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Every distribution can be organized using a five-number summary:</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Lowest value</a:t>
            </a:r>
          </a:p>
          <a:p>
            <a:pPr>
              <a:spcBef>
                <a:spcPts val="0"/>
              </a:spcBef>
              <a:spcAft>
                <a:spcPts val="0"/>
              </a:spcAft>
              <a:buClr>
                <a:schemeClr val="bg1"/>
              </a:buClr>
            </a:pPr>
            <a:r>
              <a:rPr lang="en-US" sz="1800" dirty="0">
                <a:solidFill>
                  <a:schemeClr val="bg2">
                    <a:lumMod val="50000"/>
                    <a:lumOff val="50000"/>
                  </a:schemeClr>
                </a:solidFill>
                <a:latin typeface="+mn-lt"/>
              </a:rPr>
              <a:t>Q1: 25th percentile</a:t>
            </a:r>
          </a:p>
          <a:p>
            <a:pPr>
              <a:spcBef>
                <a:spcPts val="0"/>
              </a:spcBef>
              <a:spcAft>
                <a:spcPts val="0"/>
              </a:spcAft>
              <a:buClr>
                <a:schemeClr val="bg1"/>
              </a:buClr>
            </a:pPr>
            <a:r>
              <a:rPr lang="en-US" sz="1800" dirty="0">
                <a:solidFill>
                  <a:schemeClr val="bg2">
                    <a:lumMod val="50000"/>
                    <a:lumOff val="50000"/>
                  </a:schemeClr>
                </a:solidFill>
                <a:latin typeface="+mn-lt"/>
              </a:rPr>
              <a:t>Q2: the median</a:t>
            </a:r>
          </a:p>
          <a:p>
            <a:pPr>
              <a:spcBef>
                <a:spcPts val="0"/>
              </a:spcBef>
              <a:spcAft>
                <a:spcPts val="0"/>
              </a:spcAft>
              <a:buClr>
                <a:schemeClr val="bg1"/>
              </a:buClr>
            </a:pPr>
            <a:r>
              <a:rPr lang="en-US" sz="1800" dirty="0">
                <a:solidFill>
                  <a:schemeClr val="bg2">
                    <a:lumMod val="50000"/>
                    <a:lumOff val="50000"/>
                  </a:schemeClr>
                </a:solidFill>
                <a:latin typeface="+mn-lt"/>
              </a:rPr>
              <a:t>Q3: 75th percentile</a:t>
            </a:r>
          </a:p>
          <a:p>
            <a:pPr>
              <a:spcBef>
                <a:spcPts val="0"/>
              </a:spcBef>
              <a:spcAft>
                <a:spcPts val="0"/>
              </a:spcAft>
              <a:buClr>
                <a:schemeClr val="bg1"/>
              </a:buClr>
            </a:pPr>
            <a:r>
              <a:rPr lang="en-US" sz="1800" dirty="0">
                <a:solidFill>
                  <a:schemeClr val="bg2">
                    <a:lumMod val="50000"/>
                    <a:lumOff val="50000"/>
                  </a:schemeClr>
                </a:solidFill>
                <a:latin typeface="+mn-lt"/>
              </a:rPr>
              <a:t>Highest value (Q4)</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These five-number summaries can be easily visualized using box and whisker plots</a:t>
            </a:r>
          </a:p>
        </p:txBody>
      </p:sp>
    </p:spTree>
    <p:extLst>
      <p:ext uri="{BB962C8B-B14F-4D97-AF65-F5344CB8AC3E}">
        <p14:creationId xmlns:p14="http://schemas.microsoft.com/office/powerpoint/2010/main" val="1785345867"/>
      </p:ext>
    </p:extLst>
  </p:cSld>
  <p:clrMapOvr>
    <a:masterClrMapping/>
  </p:clrMapOvr>
  <p:transition spd="med">
    <p:wipe dir="r"/>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DBF01-355E-4D2A-A767-72CDC43D1AE0}"/>
              </a:ext>
            </a:extLst>
          </p:cNvPr>
          <p:cNvSpPr>
            <a:spLocks noGrp="1"/>
          </p:cNvSpPr>
          <p:nvPr>
            <p:ph type="title"/>
          </p:nvPr>
        </p:nvSpPr>
        <p:spPr>
          <a:xfrm>
            <a:off x="0" y="0"/>
            <a:ext cx="8229600" cy="637794"/>
          </a:xfrm>
        </p:spPr>
        <p:txBody>
          <a:bodyPr/>
          <a:lstStyle/>
          <a:p>
            <a:r>
              <a:rPr lang="en-US" dirty="0"/>
              <a:t>Mean Deviation</a:t>
            </a:r>
          </a:p>
        </p:txBody>
      </p:sp>
      <p:sp>
        <p:nvSpPr>
          <p:cNvPr id="3" name="TextBox 2">
            <a:extLst>
              <a:ext uri="{FF2B5EF4-FFF2-40B4-BE49-F238E27FC236}">
                <a16:creationId xmlns:a16="http://schemas.microsoft.com/office/drawing/2014/main" id="{43EE8FE4-39C7-4BD2-BE1E-E79137AD0F9D}"/>
              </a:ext>
            </a:extLst>
          </p:cNvPr>
          <p:cNvSpPr txBox="1"/>
          <p:nvPr/>
        </p:nvSpPr>
        <p:spPr>
          <a:xfrm>
            <a:off x="0" y="659770"/>
            <a:ext cx="8836873" cy="3416320"/>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How far, on average, all values are from the middle</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b="1" dirty="0">
                <a:solidFill>
                  <a:schemeClr val="bg2">
                    <a:lumMod val="50000"/>
                    <a:lumOff val="50000"/>
                  </a:schemeClr>
                </a:solidFill>
                <a:latin typeface="+mn-lt"/>
              </a:rPr>
              <a:t>Calculation Steps : </a:t>
            </a:r>
          </a:p>
          <a:p>
            <a:pPr>
              <a:spcBef>
                <a:spcPts val="0"/>
              </a:spcBef>
              <a:spcAft>
                <a:spcPts val="0"/>
              </a:spcAft>
              <a:buClr>
                <a:schemeClr val="bg1"/>
              </a:buClr>
            </a:pPr>
            <a:endParaRPr lang="en-US" sz="1800" dirty="0">
              <a:solidFill>
                <a:schemeClr val="bg2">
                  <a:lumMod val="50000"/>
                  <a:lumOff val="50000"/>
                </a:schemeClr>
              </a:solidFill>
              <a:latin typeface="+mn-lt"/>
            </a:endParaRPr>
          </a:p>
          <a:p>
            <a:pPr marL="342900" indent="-342900" algn="l">
              <a:buAutoNum type="arabicPeriod"/>
            </a:pPr>
            <a:r>
              <a:rPr lang="en-US" sz="1800" dirty="0">
                <a:solidFill>
                  <a:schemeClr val="bg2">
                    <a:lumMod val="50000"/>
                    <a:lumOff val="50000"/>
                  </a:schemeClr>
                </a:solidFill>
                <a:latin typeface="+mn-lt"/>
              </a:rPr>
              <a:t>Find the </a:t>
            </a:r>
            <a:r>
              <a:rPr lang="en-US" sz="1800" dirty="0">
                <a:solidFill>
                  <a:schemeClr val="bg2">
                    <a:lumMod val="50000"/>
                    <a:lumOff val="50000"/>
                  </a:schemeClr>
                </a:solidFill>
                <a:latin typeface="+mn-lt"/>
                <a:hlinkClick r:id="rId2">
                  <a:extLst>
                    <a:ext uri="{A12FA001-AC4F-418D-AE19-62706E023703}">
                      <ahyp:hlinkClr xmlns:ahyp="http://schemas.microsoft.com/office/drawing/2018/hyperlinkcolor" val="tx"/>
                    </a:ext>
                  </a:extLst>
                </a:hlinkClick>
              </a:rPr>
              <a:t>mean</a:t>
            </a:r>
            <a:r>
              <a:rPr lang="en-US" sz="1800" dirty="0">
                <a:solidFill>
                  <a:schemeClr val="bg2">
                    <a:lumMod val="50000"/>
                    <a:lumOff val="50000"/>
                  </a:schemeClr>
                </a:solidFill>
                <a:latin typeface="+mn-lt"/>
              </a:rPr>
              <a:t> of all values</a:t>
            </a:r>
          </a:p>
          <a:p>
            <a:pPr algn="l"/>
            <a:endParaRPr lang="en-US" sz="1800" dirty="0">
              <a:solidFill>
                <a:schemeClr val="bg2">
                  <a:lumMod val="50000"/>
                  <a:lumOff val="50000"/>
                </a:schemeClr>
              </a:solidFill>
              <a:latin typeface="+mn-lt"/>
            </a:endParaRPr>
          </a:p>
          <a:p>
            <a:pPr algn="l"/>
            <a:r>
              <a:rPr lang="en-US" sz="1800" dirty="0">
                <a:solidFill>
                  <a:schemeClr val="bg2">
                    <a:lumMod val="50000"/>
                    <a:lumOff val="50000"/>
                  </a:schemeClr>
                </a:solidFill>
                <a:latin typeface="+mn-lt"/>
              </a:rPr>
              <a:t>2. Find the distance of each value from that mean (subtract the mean from each value, ignore minus signs)</a:t>
            </a:r>
          </a:p>
          <a:p>
            <a:pPr algn="l"/>
            <a:endParaRPr lang="en-US" sz="1800" dirty="0">
              <a:solidFill>
                <a:schemeClr val="bg2">
                  <a:lumMod val="50000"/>
                  <a:lumOff val="50000"/>
                </a:schemeClr>
              </a:solidFill>
              <a:latin typeface="+mn-lt"/>
            </a:endParaRPr>
          </a:p>
          <a:p>
            <a:pPr algn="l"/>
            <a:r>
              <a:rPr lang="en-US" sz="1800" dirty="0">
                <a:solidFill>
                  <a:schemeClr val="bg2">
                    <a:lumMod val="50000"/>
                    <a:lumOff val="50000"/>
                  </a:schemeClr>
                </a:solidFill>
                <a:latin typeface="+mn-lt"/>
              </a:rPr>
              <a:t>3. Then find the mean of those distances</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400" dirty="0">
              <a:solidFill>
                <a:schemeClr val="bg2"/>
              </a:solidFill>
              <a:latin typeface="+mn-lt"/>
            </a:endParaRPr>
          </a:p>
        </p:txBody>
      </p:sp>
    </p:spTree>
    <p:extLst>
      <p:ext uri="{BB962C8B-B14F-4D97-AF65-F5344CB8AC3E}">
        <p14:creationId xmlns:p14="http://schemas.microsoft.com/office/powerpoint/2010/main" val="4175273265"/>
      </p:ext>
    </p:extLst>
  </p:cSld>
  <p:clrMapOvr>
    <a:masterClrMapping/>
  </p:clrMapOvr>
  <p:transition spd="med">
    <p:wipe dir="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ED8774-87C9-418D-9F90-90226D8612B0}"/>
              </a:ext>
            </a:extLst>
          </p:cNvPr>
          <p:cNvSpPr>
            <a:spLocks noGrp="1"/>
          </p:cNvSpPr>
          <p:nvPr>
            <p:ph type="title"/>
          </p:nvPr>
        </p:nvSpPr>
        <p:spPr>
          <a:xfrm>
            <a:off x="0" y="0"/>
            <a:ext cx="8229600" cy="637794"/>
          </a:xfrm>
        </p:spPr>
        <p:txBody>
          <a:bodyPr/>
          <a:lstStyle/>
          <a:p>
            <a:r>
              <a:rPr lang="en-US" dirty="0"/>
              <a:t>Mean Deviation</a:t>
            </a:r>
          </a:p>
        </p:txBody>
      </p:sp>
      <p:sp>
        <p:nvSpPr>
          <p:cNvPr id="3" name="TextBox 2">
            <a:extLst>
              <a:ext uri="{FF2B5EF4-FFF2-40B4-BE49-F238E27FC236}">
                <a16:creationId xmlns:a16="http://schemas.microsoft.com/office/drawing/2014/main" id="{C774A8E0-6B14-40F1-88E8-69C5C2BF46A0}"/>
              </a:ext>
            </a:extLst>
          </p:cNvPr>
          <p:cNvSpPr txBox="1"/>
          <p:nvPr/>
        </p:nvSpPr>
        <p:spPr>
          <a:xfrm>
            <a:off x="139603" y="637794"/>
            <a:ext cx="8229600" cy="2246769"/>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Example: the Mean Deviation of 3, 6, 6, 7, 8, 11, 15, 16</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Step 1 : Find the mean:</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Step 2 : Find the distance of each value from mean</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	</a:t>
            </a:r>
            <a:r>
              <a:rPr lang="en-US" sz="1800" b="1" i="1" dirty="0">
                <a:solidFill>
                  <a:schemeClr val="bg2">
                    <a:lumMod val="50000"/>
                    <a:lumOff val="50000"/>
                  </a:schemeClr>
                </a:solidFill>
                <a:latin typeface="+mn-lt"/>
              </a:rPr>
              <a:t>Which looks like :  </a:t>
            </a: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2C18772C-952A-41C0-AA17-DDB5486D696E}"/>
              </a:ext>
            </a:extLst>
          </p:cNvPr>
          <p:cNvPicPr>
            <a:picLocks noChangeAspect="1"/>
          </p:cNvPicPr>
          <p:nvPr/>
        </p:nvPicPr>
        <p:blipFill>
          <a:blip r:embed="rId2"/>
          <a:stretch>
            <a:fillRect/>
          </a:stretch>
        </p:blipFill>
        <p:spPr>
          <a:xfrm>
            <a:off x="7017017" y="719932"/>
            <a:ext cx="1676119" cy="2248427"/>
          </a:xfrm>
          <a:prstGeom prst="rect">
            <a:avLst/>
          </a:prstGeom>
        </p:spPr>
      </p:pic>
      <p:pic>
        <p:nvPicPr>
          <p:cNvPr id="8" name="Picture 7">
            <a:extLst>
              <a:ext uri="{FF2B5EF4-FFF2-40B4-BE49-F238E27FC236}">
                <a16:creationId xmlns:a16="http://schemas.microsoft.com/office/drawing/2014/main" id="{8B3BB222-15D4-4D90-87BE-DC4A27AF5518}"/>
              </a:ext>
            </a:extLst>
          </p:cNvPr>
          <p:cNvPicPr>
            <a:picLocks noChangeAspect="1"/>
          </p:cNvPicPr>
          <p:nvPr/>
        </p:nvPicPr>
        <p:blipFill>
          <a:blip r:embed="rId3"/>
          <a:stretch>
            <a:fillRect/>
          </a:stretch>
        </p:blipFill>
        <p:spPr>
          <a:xfrm>
            <a:off x="1146671" y="2733363"/>
            <a:ext cx="5658979" cy="1683827"/>
          </a:xfrm>
          <a:prstGeom prst="rect">
            <a:avLst/>
          </a:prstGeom>
        </p:spPr>
      </p:pic>
    </p:spTree>
    <p:extLst>
      <p:ext uri="{BB962C8B-B14F-4D97-AF65-F5344CB8AC3E}">
        <p14:creationId xmlns:p14="http://schemas.microsoft.com/office/powerpoint/2010/main" val="1775430889"/>
      </p:ext>
    </p:extLst>
  </p:cSld>
  <p:clrMapOvr>
    <a:masterClrMapping/>
  </p:clrMapOvr>
  <p:transition spd="med">
    <p:wipe dir="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623591-2BA9-4893-BBCB-23008C088B94}"/>
              </a:ext>
            </a:extLst>
          </p:cNvPr>
          <p:cNvSpPr>
            <a:spLocks noGrp="1"/>
          </p:cNvSpPr>
          <p:nvPr>
            <p:ph type="title"/>
          </p:nvPr>
        </p:nvSpPr>
        <p:spPr>
          <a:xfrm>
            <a:off x="0" y="0"/>
            <a:ext cx="8229600" cy="637794"/>
          </a:xfrm>
        </p:spPr>
        <p:txBody>
          <a:bodyPr/>
          <a:lstStyle/>
          <a:p>
            <a:r>
              <a:rPr lang="en-US" dirty="0"/>
              <a:t>Mean Deviation</a:t>
            </a:r>
          </a:p>
        </p:txBody>
      </p:sp>
      <p:sp>
        <p:nvSpPr>
          <p:cNvPr id="3" name="TextBox 2">
            <a:extLst>
              <a:ext uri="{FF2B5EF4-FFF2-40B4-BE49-F238E27FC236}">
                <a16:creationId xmlns:a16="http://schemas.microsoft.com/office/drawing/2014/main" id="{189569A4-57DB-4D58-AAEC-08366E824698}"/>
              </a:ext>
            </a:extLst>
          </p:cNvPr>
          <p:cNvSpPr txBox="1"/>
          <p:nvPr/>
        </p:nvSpPr>
        <p:spPr>
          <a:xfrm>
            <a:off x="97723" y="571202"/>
            <a:ext cx="8229600" cy="1785104"/>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Step 3 : Find the mean of those distances : </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400" b="1" i="0" dirty="0">
                <a:solidFill>
                  <a:schemeClr val="bg2">
                    <a:lumMod val="50000"/>
                    <a:lumOff val="50000"/>
                  </a:schemeClr>
                </a:solidFill>
                <a:effectLst/>
                <a:latin typeface="Verdana" panose="020B0604030504040204" pitchFamily="34" charset="0"/>
              </a:rPr>
              <a:t>Mean Deviation</a:t>
            </a:r>
            <a:r>
              <a:rPr lang="en-US" sz="1400" b="0" i="0" dirty="0">
                <a:solidFill>
                  <a:schemeClr val="bg2">
                    <a:lumMod val="50000"/>
                    <a:lumOff val="50000"/>
                  </a:schemeClr>
                </a:solidFill>
                <a:effectLst/>
                <a:latin typeface="Verdana" panose="020B0604030504040204" pitchFamily="34" charset="0"/>
              </a:rPr>
              <a:t> =  </a:t>
            </a:r>
            <a:r>
              <a:rPr lang="en-US" sz="1400" b="0" i="1" dirty="0">
                <a:solidFill>
                  <a:schemeClr val="bg2">
                    <a:lumMod val="50000"/>
                    <a:lumOff val="50000"/>
                  </a:schemeClr>
                </a:solidFill>
                <a:effectLst/>
                <a:latin typeface="Verdana" panose="020B0604030504040204" pitchFamily="34" charset="0"/>
              </a:rPr>
              <a:t>6 + 3 + 3 + </a:t>
            </a:r>
            <a:r>
              <a:rPr lang="en-US" sz="1400" i="1" dirty="0">
                <a:solidFill>
                  <a:schemeClr val="bg2">
                    <a:lumMod val="50000"/>
                    <a:lumOff val="50000"/>
                  </a:schemeClr>
                </a:solidFill>
                <a:effectLst/>
                <a:latin typeface="Verdana" panose="020B0604030504040204" pitchFamily="34" charset="0"/>
              </a:rPr>
              <a:t>2 + 1 + 2 + 6 + 7</a:t>
            </a:r>
            <a:r>
              <a:rPr lang="en-US" sz="1400" i="0" dirty="0">
                <a:solidFill>
                  <a:schemeClr val="bg2">
                    <a:lumMod val="50000"/>
                    <a:lumOff val="50000"/>
                  </a:schemeClr>
                </a:solidFill>
                <a:effectLst/>
                <a:latin typeface="Verdana" panose="020B0604030504040204" pitchFamily="34" charset="0"/>
              </a:rPr>
              <a:t>8  =  </a:t>
            </a:r>
            <a:r>
              <a:rPr lang="en-US" sz="1400" i="1" dirty="0">
                <a:solidFill>
                  <a:schemeClr val="bg2">
                    <a:lumMod val="50000"/>
                    <a:lumOff val="50000"/>
                  </a:schemeClr>
                </a:solidFill>
                <a:effectLst/>
                <a:latin typeface="Verdana" panose="020B0604030504040204" pitchFamily="34" charset="0"/>
              </a:rPr>
              <a:t>30</a:t>
            </a:r>
            <a:r>
              <a:rPr lang="en-US" sz="1400" i="0" dirty="0">
                <a:solidFill>
                  <a:schemeClr val="bg2">
                    <a:lumMod val="50000"/>
                    <a:lumOff val="50000"/>
                  </a:schemeClr>
                </a:solidFill>
                <a:effectLst/>
                <a:latin typeface="Verdana" panose="020B0604030504040204" pitchFamily="34" charset="0"/>
              </a:rPr>
              <a:t>8  = 3.75</a:t>
            </a:r>
          </a:p>
          <a:p>
            <a:pPr>
              <a:spcBef>
                <a:spcPts val="0"/>
              </a:spcBef>
              <a:spcAft>
                <a:spcPts val="0"/>
              </a:spcAft>
              <a:buClr>
                <a:schemeClr val="bg1"/>
              </a:buClr>
            </a:pPr>
            <a:endParaRPr lang="en-US" sz="1400" b="1"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400" b="1"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400" b="1" dirty="0">
                <a:solidFill>
                  <a:schemeClr val="bg2">
                    <a:lumMod val="50000"/>
                    <a:lumOff val="50000"/>
                  </a:schemeClr>
                </a:solidFill>
                <a:latin typeface="Verdana" panose="020B0604030504040204" pitchFamily="34" charset="0"/>
              </a:rPr>
              <a:t>So, the mean = 9, and the mean deviation = 3.75</a:t>
            </a:r>
            <a:endParaRPr lang="en-US" sz="1800" dirty="0">
              <a:solidFill>
                <a:schemeClr val="bg2">
                  <a:lumMod val="50000"/>
                  <a:lumOff val="50000"/>
                </a:schemeClr>
              </a:solidFill>
              <a:latin typeface="+mn-lt"/>
            </a:endParaRPr>
          </a:p>
        </p:txBody>
      </p:sp>
      <p:sp>
        <p:nvSpPr>
          <p:cNvPr id="4" name="TextBox 3">
            <a:extLst>
              <a:ext uri="{FF2B5EF4-FFF2-40B4-BE49-F238E27FC236}">
                <a16:creationId xmlns:a16="http://schemas.microsoft.com/office/drawing/2014/main" id="{7BA168E8-C891-4961-BA65-96DC95B11E16}"/>
              </a:ext>
            </a:extLst>
          </p:cNvPr>
          <p:cNvSpPr txBox="1"/>
          <p:nvPr/>
        </p:nvSpPr>
        <p:spPr>
          <a:xfrm>
            <a:off x="97723" y="2673399"/>
            <a:ext cx="7524604" cy="1846659"/>
          </a:xfrm>
          <a:prstGeom prst="rect">
            <a:avLst/>
          </a:prstGeom>
          <a:noFill/>
        </p:spPr>
        <p:txBody>
          <a:bodyPr wrap="square" rtlCol="0">
            <a:spAutoFit/>
          </a:bodyPr>
          <a:lstStyle/>
          <a:p>
            <a:pPr>
              <a:spcBef>
                <a:spcPts val="0"/>
              </a:spcBef>
              <a:spcAft>
                <a:spcPts val="0"/>
              </a:spcAft>
              <a:buClr>
                <a:schemeClr val="bg1"/>
              </a:buClr>
            </a:pPr>
            <a:r>
              <a:rPr lang="en-US" sz="2800" dirty="0">
                <a:solidFill>
                  <a:schemeClr val="bg1"/>
                </a:solidFill>
                <a:latin typeface="+mj-lt"/>
                <a:cs typeface="+mj-cs"/>
              </a:rPr>
              <a:t>What does Mean Deviation say ? </a:t>
            </a:r>
          </a:p>
          <a:p>
            <a:pPr>
              <a:spcBef>
                <a:spcPts val="0"/>
              </a:spcBef>
              <a:spcAft>
                <a:spcPts val="0"/>
              </a:spcAft>
              <a:buClr>
                <a:schemeClr val="bg1"/>
              </a:buClr>
            </a:pPr>
            <a:endParaRPr lang="en-US" sz="1800" dirty="0">
              <a:solidFill>
                <a:schemeClr val="bg2">
                  <a:lumMod val="50000"/>
                  <a:lumOff val="50000"/>
                </a:schemeClr>
              </a:solidFill>
              <a:latin typeface="+mn-lt"/>
            </a:endParaRPr>
          </a:p>
          <a:p>
            <a:pPr marL="285750" indent="-285750" algn="l">
              <a:buFont typeface="Wingdings" panose="05000000000000000000" pitchFamily="2" charset="2"/>
              <a:buChar char="q"/>
            </a:pPr>
            <a:r>
              <a:rPr lang="en-US" sz="1800" dirty="0">
                <a:solidFill>
                  <a:schemeClr val="bg2">
                    <a:lumMod val="50000"/>
                    <a:lumOff val="50000"/>
                  </a:schemeClr>
                </a:solidFill>
                <a:latin typeface="+mn-lt"/>
              </a:rPr>
              <a:t>It tells us how far, on average, all values are from the middle.</a:t>
            </a:r>
          </a:p>
          <a:p>
            <a:pPr marL="285750" indent="-285750" algn="l">
              <a:buFont typeface="Wingdings" panose="05000000000000000000" pitchFamily="2" charset="2"/>
              <a:buChar char="q"/>
            </a:pPr>
            <a:r>
              <a:rPr lang="en-US" sz="1800" dirty="0">
                <a:solidFill>
                  <a:schemeClr val="bg2">
                    <a:lumMod val="50000"/>
                    <a:lumOff val="50000"/>
                  </a:schemeClr>
                </a:solidFill>
                <a:latin typeface="+mn-lt"/>
              </a:rPr>
              <a:t>In that example the values are, on average, 3.75 away from the middle</a:t>
            </a:r>
          </a:p>
          <a:p>
            <a:pPr>
              <a:spcBef>
                <a:spcPts val="0"/>
              </a:spcBef>
              <a:spcAft>
                <a:spcPts val="0"/>
              </a:spcAft>
              <a:buClr>
                <a:schemeClr val="bg1"/>
              </a:buClr>
            </a:pPr>
            <a:endParaRPr lang="en-US" sz="1400" dirty="0" err="1">
              <a:solidFill>
                <a:schemeClr val="bg2"/>
              </a:solidFill>
              <a:latin typeface="+mn-lt"/>
            </a:endParaRPr>
          </a:p>
        </p:txBody>
      </p:sp>
      <p:sp>
        <p:nvSpPr>
          <p:cNvPr id="5" name="Rectangle 4">
            <a:extLst>
              <a:ext uri="{FF2B5EF4-FFF2-40B4-BE49-F238E27FC236}">
                <a16:creationId xmlns:a16="http://schemas.microsoft.com/office/drawing/2014/main" id="{5FC14057-7159-4E30-ABC8-355D937DF3A5}"/>
              </a:ext>
            </a:extLst>
          </p:cNvPr>
          <p:cNvSpPr/>
          <p:nvPr/>
        </p:nvSpPr>
        <p:spPr>
          <a:xfrm>
            <a:off x="97723" y="2673399"/>
            <a:ext cx="8948554" cy="1668256"/>
          </a:xfrm>
          <a:prstGeom prst="rect">
            <a:avLst/>
          </a:prstGeom>
          <a:noFill/>
          <a:ln w="28575"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Tree>
    <p:extLst>
      <p:ext uri="{BB962C8B-B14F-4D97-AF65-F5344CB8AC3E}">
        <p14:creationId xmlns:p14="http://schemas.microsoft.com/office/powerpoint/2010/main" val="206333337"/>
      </p:ext>
    </p:extLst>
  </p:cSld>
  <p:clrMapOvr>
    <a:masterClrMapping/>
  </p:clrMapOvr>
  <p:transition spd="med">
    <p:wipe dir="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65446A-7FBF-4270-B3F9-3C9E47FD1AB0}"/>
              </a:ext>
            </a:extLst>
          </p:cNvPr>
          <p:cNvSpPr>
            <a:spLocks noGrp="1"/>
          </p:cNvSpPr>
          <p:nvPr>
            <p:ph type="title"/>
          </p:nvPr>
        </p:nvSpPr>
        <p:spPr>
          <a:xfrm>
            <a:off x="0" y="0"/>
            <a:ext cx="8229600" cy="637794"/>
          </a:xfrm>
        </p:spPr>
        <p:txBody>
          <a:bodyPr/>
          <a:lstStyle/>
          <a:p>
            <a:r>
              <a:rPr lang="en-US" dirty="0"/>
              <a:t>Mean Deviation - Formula</a:t>
            </a:r>
          </a:p>
        </p:txBody>
      </p:sp>
      <p:sp>
        <p:nvSpPr>
          <p:cNvPr id="3" name="TextBox 2">
            <a:extLst>
              <a:ext uri="{FF2B5EF4-FFF2-40B4-BE49-F238E27FC236}">
                <a16:creationId xmlns:a16="http://schemas.microsoft.com/office/drawing/2014/main" id="{6D3F6156-DC35-41C3-BD79-96AB55011EF8}"/>
              </a:ext>
            </a:extLst>
          </p:cNvPr>
          <p:cNvSpPr txBox="1"/>
          <p:nvPr/>
        </p:nvSpPr>
        <p:spPr>
          <a:xfrm>
            <a:off x="160543" y="637794"/>
            <a:ext cx="8725191" cy="3077766"/>
          </a:xfrm>
          <a:prstGeom prst="rect">
            <a:avLst/>
          </a:prstGeom>
          <a:noFill/>
        </p:spPr>
        <p:txBody>
          <a:bodyPr wrap="square" rtlCol="0">
            <a:spAutoFit/>
          </a:bodyPr>
          <a:lstStyle/>
          <a:p>
            <a:pPr algn="l"/>
            <a:r>
              <a:rPr lang="en-US" sz="1800" dirty="0">
                <a:solidFill>
                  <a:schemeClr val="bg2">
                    <a:lumMod val="50000"/>
                    <a:lumOff val="50000"/>
                  </a:schemeClr>
                </a:solidFill>
                <a:latin typeface="+mn-lt"/>
              </a:rPr>
              <a:t>The formula is:</a:t>
            </a:r>
          </a:p>
          <a:p>
            <a:pPr algn="ctr"/>
            <a:endParaRPr lang="en-US" sz="1800" dirty="0">
              <a:solidFill>
                <a:schemeClr val="bg2">
                  <a:lumMod val="50000"/>
                  <a:lumOff val="50000"/>
                </a:schemeClr>
              </a:solidFill>
              <a:latin typeface="+mn-lt"/>
            </a:endParaRPr>
          </a:p>
          <a:p>
            <a:pPr algn="ctr"/>
            <a:endParaRPr lang="en-US" sz="1800" dirty="0">
              <a:solidFill>
                <a:schemeClr val="bg2">
                  <a:lumMod val="50000"/>
                  <a:lumOff val="50000"/>
                </a:schemeClr>
              </a:solidFill>
              <a:latin typeface="+mn-lt"/>
            </a:endParaRPr>
          </a:p>
          <a:p>
            <a:pPr algn="ctr"/>
            <a:endParaRPr lang="en-US" sz="1800" dirty="0">
              <a:solidFill>
                <a:schemeClr val="bg2">
                  <a:lumMod val="50000"/>
                  <a:lumOff val="50000"/>
                </a:schemeClr>
              </a:solidFill>
              <a:latin typeface="+mn-lt"/>
            </a:endParaRPr>
          </a:p>
          <a:p>
            <a:pPr algn="ctr"/>
            <a:endParaRPr lang="en-US" sz="1800" dirty="0">
              <a:solidFill>
                <a:schemeClr val="bg2">
                  <a:lumMod val="50000"/>
                  <a:lumOff val="50000"/>
                </a:schemeClr>
              </a:solidFill>
              <a:latin typeface="+mn-lt"/>
            </a:endParaRPr>
          </a:p>
          <a:p>
            <a:pPr marL="285750" indent="-285750" algn="l">
              <a:buFont typeface="Arial" panose="020B0604020202020204" pitchFamily="34" charset="0"/>
              <a:buChar char="•"/>
            </a:pPr>
            <a:r>
              <a:rPr lang="en-US" sz="1800" dirty="0">
                <a:solidFill>
                  <a:schemeClr val="bg2">
                    <a:lumMod val="50000"/>
                    <a:lumOff val="50000"/>
                  </a:schemeClr>
                </a:solidFill>
                <a:latin typeface="+mn-lt"/>
              </a:rPr>
              <a:t>Σ is </a:t>
            </a:r>
            <a:r>
              <a:rPr lang="en-US" sz="1800" dirty="0">
                <a:solidFill>
                  <a:schemeClr val="bg2">
                    <a:lumMod val="50000"/>
                    <a:lumOff val="50000"/>
                  </a:schemeClr>
                </a:solidFill>
                <a:latin typeface="+mn-lt"/>
                <a:hlinkClick r:id="rId2">
                  <a:extLst>
                    <a:ext uri="{A12FA001-AC4F-418D-AE19-62706E023703}">
                      <ahyp:hlinkClr xmlns:ahyp="http://schemas.microsoft.com/office/drawing/2018/hyperlinkcolor" val="tx"/>
                    </a:ext>
                  </a:extLst>
                </a:hlinkClick>
              </a:rPr>
              <a:t>Sigma</a:t>
            </a:r>
            <a:r>
              <a:rPr lang="en-US" sz="1800" dirty="0">
                <a:solidFill>
                  <a:schemeClr val="bg2">
                    <a:lumMod val="50000"/>
                    <a:lumOff val="50000"/>
                  </a:schemeClr>
                </a:solidFill>
                <a:latin typeface="+mn-lt"/>
              </a:rPr>
              <a:t>, which means to sum up</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 (the vertical bars) mean </a:t>
            </a:r>
            <a:r>
              <a:rPr lang="en-US" sz="1800" dirty="0">
                <a:solidFill>
                  <a:schemeClr val="bg2">
                    <a:lumMod val="50000"/>
                    <a:lumOff val="50000"/>
                  </a:schemeClr>
                </a:solidFill>
                <a:latin typeface="+mn-lt"/>
                <a:hlinkClick r:id="rId3">
                  <a:extLst>
                    <a:ext uri="{A12FA001-AC4F-418D-AE19-62706E023703}">
                      <ahyp:hlinkClr xmlns:ahyp="http://schemas.microsoft.com/office/drawing/2018/hyperlinkcolor" val="tx"/>
                    </a:ext>
                  </a:extLst>
                </a:hlinkClick>
              </a:rPr>
              <a:t>Absolute Value</a:t>
            </a:r>
            <a:r>
              <a:rPr lang="en-US" sz="1800" dirty="0">
                <a:solidFill>
                  <a:schemeClr val="bg2">
                    <a:lumMod val="50000"/>
                    <a:lumOff val="50000"/>
                  </a:schemeClr>
                </a:solidFill>
                <a:latin typeface="+mn-lt"/>
              </a:rPr>
              <a:t>, basically to ignore minus signs</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x is each value (such as 3 or 16)</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μ is the mean (in our example μ = 9)</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N is the number of values (in our example N = 8)</a:t>
            </a:r>
          </a:p>
          <a:p>
            <a:pPr>
              <a:spcBef>
                <a:spcPts val="0"/>
              </a:spcBef>
              <a:spcAft>
                <a:spcPts val="0"/>
              </a:spcAft>
              <a:buClr>
                <a:schemeClr val="bg1"/>
              </a:buClr>
            </a:pPr>
            <a:endParaRPr lang="en-US" sz="1400" dirty="0" err="1">
              <a:solidFill>
                <a:schemeClr val="bg2"/>
              </a:solidFill>
              <a:latin typeface="+mn-lt"/>
            </a:endParaRPr>
          </a:p>
        </p:txBody>
      </p:sp>
      <p:pic>
        <p:nvPicPr>
          <p:cNvPr id="6" name="Picture 5">
            <a:extLst>
              <a:ext uri="{FF2B5EF4-FFF2-40B4-BE49-F238E27FC236}">
                <a16:creationId xmlns:a16="http://schemas.microsoft.com/office/drawing/2014/main" id="{B12533B2-36D3-4DB7-AA9E-F31226F4C8E3}"/>
              </a:ext>
            </a:extLst>
          </p:cNvPr>
          <p:cNvPicPr>
            <a:picLocks noChangeAspect="1"/>
          </p:cNvPicPr>
          <p:nvPr/>
        </p:nvPicPr>
        <p:blipFill>
          <a:blip r:embed="rId4"/>
          <a:stretch>
            <a:fillRect/>
          </a:stretch>
        </p:blipFill>
        <p:spPr>
          <a:xfrm>
            <a:off x="2143271" y="1015177"/>
            <a:ext cx="2714915" cy="769032"/>
          </a:xfrm>
          <a:prstGeom prst="rect">
            <a:avLst/>
          </a:prstGeom>
        </p:spPr>
      </p:pic>
      <p:sp>
        <p:nvSpPr>
          <p:cNvPr id="7" name="TextBox 6">
            <a:extLst>
              <a:ext uri="{FF2B5EF4-FFF2-40B4-BE49-F238E27FC236}">
                <a16:creationId xmlns:a16="http://schemas.microsoft.com/office/drawing/2014/main" id="{72CE07EA-D6D8-4715-8606-26366D32D3E3}"/>
              </a:ext>
            </a:extLst>
          </p:cNvPr>
          <p:cNvSpPr txBox="1"/>
          <p:nvPr/>
        </p:nvSpPr>
        <p:spPr>
          <a:xfrm>
            <a:off x="160543" y="3797203"/>
            <a:ext cx="8069057" cy="523220"/>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lumMod val="50000"/>
                    <a:lumOff val="50000"/>
                  </a:schemeClr>
                </a:solidFill>
                <a:latin typeface="+mn-lt"/>
              </a:rPr>
              <a:t>**Note : </a:t>
            </a:r>
            <a:r>
              <a:rPr lang="en-US" sz="1400" i="1" dirty="0">
                <a:solidFill>
                  <a:schemeClr val="bg2">
                    <a:lumMod val="50000"/>
                    <a:lumOff val="50000"/>
                  </a:schemeClr>
                </a:solidFill>
                <a:latin typeface="+mn-lt"/>
              </a:rPr>
              <a:t>The “</a:t>
            </a:r>
            <a:r>
              <a:rPr lang="en-US" sz="1400" b="1" i="1" dirty="0">
                <a:solidFill>
                  <a:schemeClr val="bg2">
                    <a:lumMod val="50000"/>
                    <a:lumOff val="50000"/>
                  </a:schemeClr>
                </a:solidFill>
                <a:latin typeface="+mn-lt"/>
              </a:rPr>
              <a:t>Mean Deviation” </a:t>
            </a:r>
            <a:r>
              <a:rPr lang="en-US" sz="1400" i="1" dirty="0">
                <a:solidFill>
                  <a:schemeClr val="bg2">
                    <a:lumMod val="50000"/>
                    <a:lumOff val="50000"/>
                  </a:schemeClr>
                </a:solidFill>
                <a:latin typeface="+mn-lt"/>
              </a:rPr>
              <a:t>is sometimes called the </a:t>
            </a:r>
            <a:r>
              <a:rPr lang="en-US" sz="1400" b="1" i="1" dirty="0">
                <a:solidFill>
                  <a:schemeClr val="bg2">
                    <a:lumMod val="50000"/>
                    <a:lumOff val="50000"/>
                  </a:schemeClr>
                </a:solidFill>
                <a:latin typeface="+mn-lt"/>
              </a:rPr>
              <a:t>“Mean Absolute Deviation”</a:t>
            </a:r>
            <a:r>
              <a:rPr lang="en-US" sz="1400" i="1" dirty="0">
                <a:solidFill>
                  <a:schemeClr val="bg2">
                    <a:lumMod val="50000"/>
                    <a:lumOff val="50000"/>
                  </a:schemeClr>
                </a:solidFill>
                <a:latin typeface="+mn-lt"/>
              </a:rPr>
              <a:t> (MAD) because it is the mean of the absolute deviations</a:t>
            </a:r>
          </a:p>
        </p:txBody>
      </p:sp>
    </p:spTree>
    <p:extLst>
      <p:ext uri="{BB962C8B-B14F-4D97-AF65-F5344CB8AC3E}">
        <p14:creationId xmlns:p14="http://schemas.microsoft.com/office/powerpoint/2010/main" val="4202863261"/>
      </p:ext>
    </p:extLst>
  </p:cSld>
  <p:clrMapOvr>
    <a:masterClrMapping/>
  </p:clrMapOvr>
  <p:transition spd="med">
    <p:wipe dir="r"/>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63DDC-6903-4E07-98B9-95FDD97BD569}"/>
              </a:ext>
            </a:extLst>
          </p:cNvPr>
          <p:cNvSpPr>
            <a:spLocks noGrp="1"/>
          </p:cNvSpPr>
          <p:nvPr>
            <p:ph type="title"/>
          </p:nvPr>
        </p:nvSpPr>
        <p:spPr>
          <a:xfrm>
            <a:off x="0" y="0"/>
            <a:ext cx="8229600" cy="637794"/>
          </a:xfrm>
        </p:spPr>
        <p:txBody>
          <a:bodyPr/>
          <a:lstStyle/>
          <a:p>
            <a:r>
              <a:rPr lang="en-US" dirty="0"/>
              <a:t>Mean Deviation – Real life example </a:t>
            </a:r>
          </a:p>
        </p:txBody>
      </p:sp>
      <p:sp>
        <p:nvSpPr>
          <p:cNvPr id="3" name="TextBox 2">
            <a:extLst>
              <a:ext uri="{FF2B5EF4-FFF2-40B4-BE49-F238E27FC236}">
                <a16:creationId xmlns:a16="http://schemas.microsoft.com/office/drawing/2014/main" id="{64CEE453-977A-4B43-8454-41EFE9BF1B1F}"/>
              </a:ext>
            </a:extLst>
          </p:cNvPr>
          <p:cNvSpPr txBox="1"/>
          <p:nvPr/>
        </p:nvSpPr>
        <p:spPr>
          <a:xfrm>
            <a:off x="216385" y="579353"/>
            <a:ext cx="8159798" cy="289310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 : </a:t>
            </a:r>
            <a:r>
              <a:rPr lang="en-US" sz="1400" dirty="0">
                <a:solidFill>
                  <a:schemeClr val="bg2">
                    <a:lumMod val="50000"/>
                    <a:lumOff val="50000"/>
                  </a:schemeClr>
                </a:solidFill>
                <a:latin typeface="+mn-lt"/>
              </a:rPr>
              <a:t>A group of friends have just measured the heights of their dogs ( in millimeters) </a:t>
            </a:r>
          </a:p>
          <a:p>
            <a:pPr>
              <a:spcBef>
                <a:spcPts val="0"/>
              </a:spcBef>
              <a:spcAft>
                <a:spcPts val="0"/>
              </a:spcAft>
              <a:buClr>
                <a:schemeClr val="bg1"/>
              </a:buCl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lumMod val="50000"/>
                    <a:lumOff val="50000"/>
                  </a:schemeClr>
                </a:solidFill>
                <a:latin typeface="+mn-lt"/>
              </a:rPr>
              <a:t>The heights at shoulders are : 600mm, 470mm, 170mm, 430mm and 300mm</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b="1" dirty="0">
                <a:solidFill>
                  <a:schemeClr val="bg2">
                    <a:lumMod val="50000"/>
                    <a:lumOff val="50000"/>
                  </a:schemeClr>
                </a:solidFill>
                <a:latin typeface="+mn-lt"/>
              </a:rPr>
              <a:t>Step 1 : </a:t>
            </a:r>
            <a:r>
              <a:rPr lang="en-US" sz="1400" dirty="0">
                <a:solidFill>
                  <a:schemeClr val="bg2">
                    <a:lumMod val="50000"/>
                    <a:lumOff val="50000"/>
                  </a:schemeClr>
                </a:solidFill>
                <a:latin typeface="+mn-lt"/>
              </a:rPr>
              <a:t>Find </a:t>
            </a:r>
            <a:r>
              <a:rPr lang="en-US" sz="1400" b="1" dirty="0">
                <a:solidFill>
                  <a:schemeClr val="bg2">
                    <a:lumMod val="50000"/>
                    <a:lumOff val="50000"/>
                  </a:schemeClr>
                </a:solidFill>
                <a:latin typeface="+mn-lt"/>
              </a:rPr>
              <a:t>mean </a:t>
            </a: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b="1" dirty="0">
                <a:solidFill>
                  <a:schemeClr val="bg2">
                    <a:lumMod val="50000"/>
                    <a:lumOff val="50000"/>
                  </a:schemeClr>
                </a:solidFill>
                <a:latin typeface="+mn-lt"/>
              </a:rPr>
              <a:t>Step 2 : </a:t>
            </a:r>
            <a:r>
              <a:rPr lang="en-US" sz="1400" dirty="0">
                <a:solidFill>
                  <a:schemeClr val="bg2">
                    <a:lumMod val="50000"/>
                    <a:lumOff val="50000"/>
                  </a:schemeClr>
                </a:solidFill>
                <a:latin typeface="+mn-lt"/>
              </a:rPr>
              <a:t>Find the </a:t>
            </a:r>
            <a:r>
              <a:rPr lang="en-US" sz="1400" b="1" dirty="0">
                <a:solidFill>
                  <a:schemeClr val="bg2">
                    <a:lumMod val="50000"/>
                    <a:lumOff val="50000"/>
                  </a:schemeClr>
                </a:solidFill>
                <a:latin typeface="+mn-lt"/>
              </a:rPr>
              <a:t>absolute Deviations</a:t>
            </a: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p:txBody>
      </p:sp>
      <p:pic>
        <p:nvPicPr>
          <p:cNvPr id="5" name="Picture 4">
            <a:extLst>
              <a:ext uri="{FF2B5EF4-FFF2-40B4-BE49-F238E27FC236}">
                <a16:creationId xmlns:a16="http://schemas.microsoft.com/office/drawing/2014/main" id="{959516F1-D246-4E8C-A73E-475C71B1491B}"/>
              </a:ext>
            </a:extLst>
          </p:cNvPr>
          <p:cNvPicPr>
            <a:picLocks noChangeAspect="1"/>
          </p:cNvPicPr>
          <p:nvPr/>
        </p:nvPicPr>
        <p:blipFill>
          <a:blip r:embed="rId2"/>
          <a:stretch>
            <a:fillRect/>
          </a:stretch>
        </p:blipFill>
        <p:spPr>
          <a:xfrm>
            <a:off x="5916553" y="2812641"/>
            <a:ext cx="2230667" cy="1919030"/>
          </a:xfrm>
          <a:prstGeom prst="rect">
            <a:avLst/>
          </a:prstGeom>
        </p:spPr>
      </p:pic>
    </p:spTree>
    <p:extLst>
      <p:ext uri="{BB962C8B-B14F-4D97-AF65-F5344CB8AC3E}">
        <p14:creationId xmlns:p14="http://schemas.microsoft.com/office/powerpoint/2010/main" val="4012045956"/>
      </p:ext>
    </p:extLst>
  </p:cSld>
  <p:clrMapOvr>
    <a:masterClrMapping/>
  </p:clrMapOvr>
  <p:transition spd="med">
    <p:wipe dir="r"/>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A0F8C7-2815-423B-9CFE-F3DB4C4B33CF}"/>
              </a:ext>
            </a:extLst>
          </p:cNvPr>
          <p:cNvSpPr>
            <a:spLocks noGrp="1"/>
          </p:cNvSpPr>
          <p:nvPr>
            <p:ph type="title"/>
          </p:nvPr>
        </p:nvSpPr>
        <p:spPr>
          <a:xfrm>
            <a:off x="0" y="0"/>
            <a:ext cx="8229600" cy="637794"/>
          </a:xfrm>
        </p:spPr>
        <p:txBody>
          <a:bodyPr/>
          <a:lstStyle/>
          <a:p>
            <a:r>
              <a:rPr lang="en-US" dirty="0"/>
              <a:t>Mean Deviation – Ex continued</a:t>
            </a:r>
          </a:p>
        </p:txBody>
      </p:sp>
      <p:pic>
        <p:nvPicPr>
          <p:cNvPr id="4" name="Picture 3">
            <a:extLst>
              <a:ext uri="{FF2B5EF4-FFF2-40B4-BE49-F238E27FC236}">
                <a16:creationId xmlns:a16="http://schemas.microsoft.com/office/drawing/2014/main" id="{2684BAC9-2977-493F-A4C0-32B4E221651D}"/>
              </a:ext>
            </a:extLst>
          </p:cNvPr>
          <p:cNvPicPr>
            <a:picLocks noChangeAspect="1"/>
          </p:cNvPicPr>
          <p:nvPr/>
        </p:nvPicPr>
        <p:blipFill>
          <a:blip r:embed="rId2"/>
          <a:stretch>
            <a:fillRect/>
          </a:stretch>
        </p:blipFill>
        <p:spPr>
          <a:xfrm>
            <a:off x="1400866" y="461163"/>
            <a:ext cx="4748649" cy="1563833"/>
          </a:xfrm>
          <a:prstGeom prst="rect">
            <a:avLst/>
          </a:prstGeom>
        </p:spPr>
      </p:pic>
      <p:sp>
        <p:nvSpPr>
          <p:cNvPr id="5" name="TextBox 4">
            <a:extLst>
              <a:ext uri="{FF2B5EF4-FFF2-40B4-BE49-F238E27FC236}">
                <a16:creationId xmlns:a16="http://schemas.microsoft.com/office/drawing/2014/main" id="{4CE2C01F-5298-4DEC-97A3-7B7C756EFFAE}"/>
              </a:ext>
            </a:extLst>
          </p:cNvPr>
          <p:cNvSpPr txBox="1"/>
          <p:nvPr/>
        </p:nvSpPr>
        <p:spPr>
          <a:xfrm>
            <a:off x="439750" y="2324391"/>
            <a:ext cx="5709765" cy="738664"/>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Step 3 : </a:t>
            </a:r>
            <a:r>
              <a:rPr lang="en-US" sz="1400" dirty="0">
                <a:solidFill>
                  <a:schemeClr val="bg2">
                    <a:lumMod val="50000"/>
                    <a:lumOff val="50000"/>
                  </a:schemeClr>
                </a:solidFill>
                <a:latin typeface="+mn-lt"/>
              </a:rPr>
              <a:t>find the Mean Deviation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endParaRPr lang="en-US" sz="1400" dirty="0" err="1">
              <a:solidFill>
                <a:schemeClr val="bg2"/>
              </a:solidFill>
              <a:latin typeface="+mn-lt"/>
            </a:endParaRPr>
          </a:p>
        </p:txBody>
      </p:sp>
      <p:pic>
        <p:nvPicPr>
          <p:cNvPr id="7" name="Picture 6">
            <a:extLst>
              <a:ext uri="{FF2B5EF4-FFF2-40B4-BE49-F238E27FC236}">
                <a16:creationId xmlns:a16="http://schemas.microsoft.com/office/drawing/2014/main" id="{BED417EC-550A-4790-A918-98F4535E60BC}"/>
              </a:ext>
            </a:extLst>
          </p:cNvPr>
          <p:cNvPicPr>
            <a:picLocks noChangeAspect="1"/>
          </p:cNvPicPr>
          <p:nvPr/>
        </p:nvPicPr>
        <p:blipFill>
          <a:blip r:embed="rId3"/>
          <a:stretch>
            <a:fillRect/>
          </a:stretch>
        </p:blipFill>
        <p:spPr>
          <a:xfrm>
            <a:off x="1146745" y="2689879"/>
            <a:ext cx="6124575" cy="857250"/>
          </a:xfrm>
          <a:prstGeom prst="rect">
            <a:avLst/>
          </a:prstGeom>
        </p:spPr>
      </p:pic>
      <p:sp>
        <p:nvSpPr>
          <p:cNvPr id="8" name="TextBox 7">
            <a:extLst>
              <a:ext uri="{FF2B5EF4-FFF2-40B4-BE49-F238E27FC236}">
                <a16:creationId xmlns:a16="http://schemas.microsoft.com/office/drawing/2014/main" id="{3C987945-4DA9-48F4-89A9-BA2AEE0435B6}"/>
              </a:ext>
            </a:extLst>
          </p:cNvPr>
          <p:cNvSpPr txBox="1"/>
          <p:nvPr/>
        </p:nvSpPr>
        <p:spPr>
          <a:xfrm>
            <a:off x="349008" y="3776263"/>
            <a:ext cx="6707926" cy="261610"/>
          </a:xfrm>
          <a:prstGeom prst="rect">
            <a:avLst/>
          </a:prstGeom>
          <a:noFill/>
        </p:spPr>
        <p:txBody>
          <a:bodyPr wrap="square" rtlCol="0">
            <a:spAutoFit/>
          </a:bodyPr>
          <a:lstStyle/>
          <a:p>
            <a:pPr>
              <a:spcBef>
                <a:spcPts val="0"/>
              </a:spcBef>
              <a:spcAft>
                <a:spcPts val="0"/>
              </a:spcAft>
              <a:buClr>
                <a:schemeClr val="bg1"/>
              </a:buClr>
            </a:pPr>
            <a:r>
              <a:rPr lang="en-US" sz="1100" i="0" dirty="0">
                <a:solidFill>
                  <a:schemeClr val="bg2">
                    <a:lumMod val="50000"/>
                    <a:lumOff val="50000"/>
                  </a:schemeClr>
                </a:solidFill>
                <a:effectLst/>
                <a:latin typeface="Verdana" panose="020B0604030504040204" pitchFamily="34" charset="0"/>
              </a:rPr>
              <a:t>So, on average, the dogs' heights are </a:t>
            </a:r>
            <a:r>
              <a:rPr lang="en-US" sz="1100" b="1" i="0" dirty="0">
                <a:solidFill>
                  <a:schemeClr val="bg2">
                    <a:lumMod val="50000"/>
                    <a:lumOff val="50000"/>
                  </a:schemeClr>
                </a:solidFill>
                <a:effectLst/>
                <a:latin typeface="Verdana" panose="020B0604030504040204" pitchFamily="34" charset="0"/>
              </a:rPr>
              <a:t>127.2 mm from the mean</a:t>
            </a:r>
            <a:endParaRPr lang="en-US" sz="1400" dirty="0">
              <a:solidFill>
                <a:schemeClr val="bg2">
                  <a:lumMod val="50000"/>
                  <a:lumOff val="50000"/>
                </a:schemeClr>
              </a:solidFill>
              <a:latin typeface="+mn-lt"/>
            </a:endParaRPr>
          </a:p>
        </p:txBody>
      </p:sp>
    </p:spTree>
    <p:extLst>
      <p:ext uri="{BB962C8B-B14F-4D97-AF65-F5344CB8AC3E}">
        <p14:creationId xmlns:p14="http://schemas.microsoft.com/office/powerpoint/2010/main" val="399566643"/>
      </p:ext>
    </p:extLst>
  </p:cSld>
  <p:clrMapOvr>
    <a:masterClrMapping/>
  </p:clrMapOvr>
  <p:transition spd="med">
    <p:wipe dir="r"/>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489719-CCE8-4F09-B981-E32155DA1634}"/>
              </a:ext>
            </a:extLst>
          </p:cNvPr>
          <p:cNvSpPr>
            <a:spLocks noGrp="1"/>
          </p:cNvSpPr>
          <p:nvPr>
            <p:ph type="title"/>
          </p:nvPr>
        </p:nvSpPr>
        <p:spPr>
          <a:xfrm>
            <a:off x="0" y="0"/>
            <a:ext cx="8229600" cy="637794"/>
          </a:xfrm>
        </p:spPr>
        <p:txBody>
          <a:bodyPr/>
          <a:lstStyle/>
          <a:p>
            <a:r>
              <a:rPr lang="en-US" dirty="0"/>
              <a:t>Mean Deviation – A useful check</a:t>
            </a:r>
          </a:p>
        </p:txBody>
      </p:sp>
      <p:sp>
        <p:nvSpPr>
          <p:cNvPr id="3" name="TextBox 2">
            <a:extLst>
              <a:ext uri="{FF2B5EF4-FFF2-40B4-BE49-F238E27FC236}">
                <a16:creationId xmlns:a16="http://schemas.microsoft.com/office/drawing/2014/main" id="{41132D9F-766F-4798-993F-23A0FC08EC07}"/>
              </a:ext>
            </a:extLst>
          </p:cNvPr>
          <p:cNvSpPr txBox="1"/>
          <p:nvPr/>
        </p:nvSpPr>
        <p:spPr>
          <a:xfrm>
            <a:off x="195444" y="637794"/>
            <a:ext cx="7692129" cy="2400657"/>
          </a:xfrm>
          <a:prstGeom prst="rect">
            <a:avLst/>
          </a:prstGeom>
          <a:noFill/>
        </p:spPr>
        <p:txBody>
          <a:bodyPr wrap="square" rtlCol="0">
            <a:spAutoFit/>
          </a:bodyPr>
          <a:lstStyle/>
          <a:p>
            <a:pPr algn="l"/>
            <a:r>
              <a:rPr lang="en-US" sz="1600" b="0" i="0" dirty="0">
                <a:solidFill>
                  <a:schemeClr val="bg2">
                    <a:lumMod val="50000"/>
                    <a:lumOff val="50000"/>
                  </a:schemeClr>
                </a:solidFill>
                <a:effectLst/>
                <a:latin typeface="Verdana" panose="020B0604030504040204" pitchFamily="34" charset="0"/>
              </a:rPr>
              <a:t>The deviations on </a:t>
            </a:r>
            <a:r>
              <a:rPr lang="en-US" sz="1600" b="1" i="0" dirty="0">
                <a:solidFill>
                  <a:schemeClr val="bg2">
                    <a:lumMod val="50000"/>
                    <a:lumOff val="50000"/>
                  </a:schemeClr>
                </a:solidFill>
                <a:effectLst/>
                <a:latin typeface="Verdana" panose="020B0604030504040204" pitchFamily="34" charset="0"/>
              </a:rPr>
              <a:t>one side</a:t>
            </a:r>
            <a:r>
              <a:rPr lang="en-US" sz="1600" b="0" i="0" dirty="0">
                <a:solidFill>
                  <a:schemeClr val="bg2">
                    <a:lumMod val="50000"/>
                    <a:lumOff val="50000"/>
                  </a:schemeClr>
                </a:solidFill>
                <a:effectLst/>
                <a:latin typeface="Verdana" panose="020B0604030504040204" pitchFamily="34" charset="0"/>
              </a:rPr>
              <a:t> of the mean should equal the deviations on the </a:t>
            </a:r>
            <a:r>
              <a:rPr lang="en-US" sz="1600" b="1" i="0" dirty="0">
                <a:solidFill>
                  <a:schemeClr val="bg2">
                    <a:lumMod val="50000"/>
                    <a:lumOff val="50000"/>
                  </a:schemeClr>
                </a:solidFill>
                <a:effectLst/>
                <a:latin typeface="Verdana" panose="020B0604030504040204" pitchFamily="34" charset="0"/>
              </a:rPr>
              <a:t>other side</a:t>
            </a:r>
            <a:r>
              <a:rPr lang="en-US" sz="1600" b="0" i="0" dirty="0">
                <a:solidFill>
                  <a:schemeClr val="bg2">
                    <a:lumMod val="50000"/>
                    <a:lumOff val="50000"/>
                  </a:schemeClr>
                </a:solidFill>
                <a:effectLst/>
                <a:latin typeface="Verdana" panose="020B0604030504040204" pitchFamily="34" charset="0"/>
              </a:rPr>
              <a:t>.</a:t>
            </a:r>
          </a:p>
          <a:p>
            <a:pPr algn="l"/>
            <a:r>
              <a:rPr lang="en-US" sz="1600" b="0" i="0" dirty="0">
                <a:solidFill>
                  <a:schemeClr val="bg2">
                    <a:lumMod val="50000"/>
                    <a:lumOff val="50000"/>
                  </a:schemeClr>
                </a:solidFill>
                <a:effectLst/>
                <a:latin typeface="Verdana" panose="020B0604030504040204" pitchFamily="34" charset="0"/>
              </a:rPr>
              <a:t>From our first example:</a:t>
            </a:r>
          </a:p>
          <a:p>
            <a:pPr algn="l"/>
            <a:endParaRPr lang="en-US" sz="1600" dirty="0">
              <a:solidFill>
                <a:schemeClr val="bg2">
                  <a:lumMod val="50000"/>
                  <a:lumOff val="50000"/>
                </a:schemeClr>
              </a:solidFill>
              <a:latin typeface="Verdana" panose="020B0604030504040204" pitchFamily="34" charset="0"/>
            </a:endParaRPr>
          </a:p>
          <a:p>
            <a:r>
              <a:rPr lang="en-US" sz="1200" b="0" i="0" dirty="0">
                <a:solidFill>
                  <a:schemeClr val="bg2">
                    <a:lumMod val="50000"/>
                    <a:lumOff val="50000"/>
                  </a:schemeClr>
                </a:solidFill>
                <a:effectLst/>
                <a:latin typeface="Verdana" panose="020B0604030504040204" pitchFamily="34" charset="0"/>
              </a:rPr>
              <a:t>Example: 3, 6, 6, 7, 8, 11, 15, 16</a:t>
            </a:r>
          </a:p>
          <a:p>
            <a:pPr algn="l"/>
            <a:endParaRPr lang="en-US" sz="1600" b="0" i="0" dirty="0">
              <a:solidFill>
                <a:schemeClr val="bg2">
                  <a:lumMod val="50000"/>
                  <a:lumOff val="50000"/>
                </a:schemeClr>
              </a:solidFill>
              <a:effectLst/>
              <a:latin typeface="Verdana" panose="020B0604030504040204" pitchFamily="34" charset="0"/>
            </a:endParaRPr>
          </a:p>
          <a:p>
            <a:pPr algn="l"/>
            <a:r>
              <a:rPr lang="en-US" sz="1200" b="0" i="0" dirty="0">
                <a:solidFill>
                  <a:schemeClr val="bg2">
                    <a:lumMod val="50000"/>
                    <a:lumOff val="50000"/>
                  </a:schemeClr>
                </a:solidFill>
                <a:effectLst/>
                <a:latin typeface="Verdana" panose="020B0604030504040204" pitchFamily="34" charset="0"/>
              </a:rPr>
              <a:t>The deviations are:</a:t>
            </a:r>
            <a:endParaRPr lang="en-US" sz="1600" dirty="0">
              <a:solidFill>
                <a:schemeClr val="bg2">
                  <a:lumMod val="50000"/>
                  <a:lumOff val="50000"/>
                </a:schemeClr>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lgn="l"/>
            <a:endParaRPr lang="en-US" sz="1100" dirty="0">
              <a:solidFill>
                <a:srgbClr val="333333"/>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369B5A84-C0D5-47C8-A231-D0A8C134B5C9}"/>
              </a:ext>
            </a:extLst>
          </p:cNvPr>
          <p:cNvPicPr>
            <a:picLocks noChangeAspect="1"/>
          </p:cNvPicPr>
          <p:nvPr/>
        </p:nvPicPr>
        <p:blipFill>
          <a:blip r:embed="rId2"/>
          <a:stretch>
            <a:fillRect/>
          </a:stretch>
        </p:blipFill>
        <p:spPr>
          <a:xfrm>
            <a:off x="691507" y="2448298"/>
            <a:ext cx="6846585" cy="1960685"/>
          </a:xfrm>
          <a:prstGeom prst="rect">
            <a:avLst/>
          </a:prstGeom>
        </p:spPr>
      </p:pic>
    </p:spTree>
    <p:extLst>
      <p:ext uri="{BB962C8B-B14F-4D97-AF65-F5344CB8AC3E}">
        <p14:creationId xmlns:p14="http://schemas.microsoft.com/office/powerpoint/2010/main" val="2909785245"/>
      </p:ext>
    </p:extLst>
  </p:cSld>
  <p:clrMapOvr>
    <a:masterClrMapping/>
  </p:clrMapOvr>
  <p:transition spd="med">
    <p:wipe dir="r"/>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7166426-5C59-4886-8DCD-BEF36302222C}"/>
              </a:ext>
            </a:extLst>
          </p:cNvPr>
          <p:cNvSpPr>
            <a:spLocks noGrp="1"/>
          </p:cNvSpPr>
          <p:nvPr>
            <p:ph type="title"/>
          </p:nvPr>
        </p:nvSpPr>
        <p:spPr>
          <a:xfrm>
            <a:off x="0" y="0"/>
            <a:ext cx="8229600" cy="637794"/>
          </a:xfrm>
        </p:spPr>
        <p:txBody>
          <a:bodyPr/>
          <a:lstStyle/>
          <a:p>
            <a:r>
              <a:rPr lang="en-US" dirty="0"/>
              <a:t>Mean Deviation – A useful check</a:t>
            </a:r>
          </a:p>
        </p:txBody>
      </p:sp>
      <p:sp>
        <p:nvSpPr>
          <p:cNvPr id="4" name="TextBox 3">
            <a:extLst>
              <a:ext uri="{FF2B5EF4-FFF2-40B4-BE49-F238E27FC236}">
                <a16:creationId xmlns:a16="http://schemas.microsoft.com/office/drawing/2014/main" id="{013FE25D-0A7C-4193-959C-38B6A985FB32}"/>
              </a:ext>
            </a:extLst>
          </p:cNvPr>
          <p:cNvSpPr txBox="1"/>
          <p:nvPr/>
        </p:nvSpPr>
        <p:spPr>
          <a:xfrm>
            <a:off x="219875" y="725937"/>
            <a:ext cx="7789850" cy="1846659"/>
          </a:xfrm>
          <a:prstGeom prst="rect">
            <a:avLst/>
          </a:prstGeom>
          <a:noFill/>
        </p:spPr>
        <p:txBody>
          <a:bodyPr wrap="square" rtlCol="0">
            <a:spAutoFit/>
          </a:bodyPr>
          <a:lstStyle/>
          <a:p>
            <a:pPr algn="l"/>
            <a:r>
              <a:rPr lang="en-US" sz="2000" b="0" i="0" dirty="0">
                <a:solidFill>
                  <a:schemeClr val="bg2">
                    <a:lumMod val="50000"/>
                    <a:lumOff val="50000"/>
                  </a:schemeClr>
                </a:solidFill>
                <a:effectLst/>
                <a:latin typeface="Verdana" panose="020B0604030504040204" pitchFamily="34" charset="0"/>
              </a:rPr>
              <a:t>Example: Dogs</a:t>
            </a:r>
          </a:p>
          <a:p>
            <a:pPr algn="l"/>
            <a:endParaRPr lang="en-US" sz="2000" b="0" i="0" dirty="0">
              <a:solidFill>
                <a:schemeClr val="bg2">
                  <a:lumMod val="50000"/>
                  <a:lumOff val="50000"/>
                </a:schemeClr>
              </a:solidFill>
              <a:effectLst/>
              <a:latin typeface="Verdana" panose="020B0604030504040204" pitchFamily="34" charset="0"/>
            </a:endParaRPr>
          </a:p>
          <a:p>
            <a:pPr algn="l"/>
            <a:r>
              <a:rPr lang="en-US" sz="2000" b="0" i="0" dirty="0">
                <a:solidFill>
                  <a:schemeClr val="bg2">
                    <a:lumMod val="50000"/>
                    <a:lumOff val="50000"/>
                  </a:schemeClr>
                </a:solidFill>
                <a:effectLst/>
                <a:latin typeface="Verdana" panose="020B0604030504040204" pitchFamily="34" charset="0"/>
              </a:rPr>
              <a:t>Deviations left of mean: 224 + 94 = </a:t>
            </a:r>
            <a:r>
              <a:rPr lang="en-US" sz="2000" b="1" i="0" dirty="0">
                <a:solidFill>
                  <a:schemeClr val="bg2">
                    <a:lumMod val="50000"/>
                    <a:lumOff val="50000"/>
                  </a:schemeClr>
                </a:solidFill>
                <a:effectLst/>
                <a:latin typeface="Verdana" panose="020B0604030504040204" pitchFamily="34" charset="0"/>
              </a:rPr>
              <a:t>318</a:t>
            </a:r>
          </a:p>
          <a:p>
            <a:pPr algn="l"/>
            <a:endParaRPr lang="en-US" sz="2000" b="0" i="0" dirty="0">
              <a:solidFill>
                <a:schemeClr val="bg2">
                  <a:lumMod val="50000"/>
                  <a:lumOff val="50000"/>
                </a:schemeClr>
              </a:solidFill>
              <a:effectLst/>
              <a:latin typeface="Verdana" panose="020B0604030504040204" pitchFamily="34" charset="0"/>
            </a:endParaRPr>
          </a:p>
          <a:p>
            <a:pPr algn="l"/>
            <a:r>
              <a:rPr lang="en-US" sz="2000" b="0" i="0" dirty="0">
                <a:solidFill>
                  <a:schemeClr val="bg2">
                    <a:lumMod val="50000"/>
                    <a:lumOff val="50000"/>
                  </a:schemeClr>
                </a:solidFill>
                <a:effectLst/>
                <a:latin typeface="Verdana" panose="020B0604030504040204" pitchFamily="34" charset="0"/>
              </a:rPr>
              <a:t>Deviations right of mean: 206 + 76 + 36 = </a:t>
            </a:r>
            <a:r>
              <a:rPr lang="en-US" sz="2000" b="1" i="0" dirty="0">
                <a:solidFill>
                  <a:schemeClr val="bg2">
                    <a:lumMod val="50000"/>
                    <a:lumOff val="50000"/>
                  </a:schemeClr>
                </a:solidFill>
                <a:effectLst/>
                <a:latin typeface="Verdana" panose="020B0604030504040204" pitchFamily="34" charset="0"/>
              </a:rPr>
              <a:t>318</a:t>
            </a:r>
            <a:endParaRPr lang="en-US" sz="2000" b="0" i="0" dirty="0">
              <a:solidFill>
                <a:schemeClr val="bg2">
                  <a:lumMod val="50000"/>
                  <a:lumOff val="50000"/>
                </a:schemeClr>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56F994EE-7A03-4F69-85C5-BCFF19B3B248}"/>
              </a:ext>
            </a:extLst>
          </p:cNvPr>
          <p:cNvPicPr>
            <a:picLocks noChangeAspect="1"/>
          </p:cNvPicPr>
          <p:nvPr/>
        </p:nvPicPr>
        <p:blipFill>
          <a:blip r:embed="rId2"/>
          <a:stretch>
            <a:fillRect/>
          </a:stretch>
        </p:blipFill>
        <p:spPr>
          <a:xfrm>
            <a:off x="402704" y="2660739"/>
            <a:ext cx="4748649" cy="1563833"/>
          </a:xfrm>
          <a:prstGeom prst="rect">
            <a:avLst/>
          </a:prstGeom>
        </p:spPr>
      </p:pic>
      <p:sp>
        <p:nvSpPr>
          <p:cNvPr id="6" name="TextBox 5">
            <a:extLst>
              <a:ext uri="{FF2B5EF4-FFF2-40B4-BE49-F238E27FC236}">
                <a16:creationId xmlns:a16="http://schemas.microsoft.com/office/drawing/2014/main" id="{E9DACB1E-93D8-4B68-B0FE-167B63C7A201}"/>
              </a:ext>
            </a:extLst>
          </p:cNvPr>
          <p:cNvSpPr txBox="1"/>
          <p:nvPr/>
        </p:nvSpPr>
        <p:spPr>
          <a:xfrm>
            <a:off x="5681844" y="2987505"/>
            <a:ext cx="3141069" cy="1569660"/>
          </a:xfrm>
          <a:prstGeom prst="rect">
            <a:avLst/>
          </a:prstGeom>
          <a:noFill/>
        </p:spPr>
        <p:txBody>
          <a:bodyPr wrap="square" rtlCol="0">
            <a:spAutoFit/>
          </a:bodyPr>
          <a:lstStyle/>
          <a:p>
            <a:pPr>
              <a:spcBef>
                <a:spcPts val="0"/>
              </a:spcBef>
              <a:spcAft>
                <a:spcPts val="0"/>
              </a:spcAft>
              <a:buClr>
                <a:schemeClr val="bg1"/>
              </a:buClr>
            </a:pPr>
            <a:r>
              <a:rPr lang="en-US" b="0" i="0" dirty="0">
                <a:solidFill>
                  <a:schemeClr val="bg2">
                    <a:lumMod val="50000"/>
                    <a:lumOff val="50000"/>
                  </a:schemeClr>
                </a:solidFill>
                <a:effectLst/>
                <a:latin typeface="Verdana" panose="020B0604030504040204" pitchFamily="34" charset="0"/>
              </a:rPr>
              <a:t>If they are not equal ... you may have made a mistake!</a:t>
            </a:r>
            <a:endParaRPr lang="en-US" sz="3200" dirty="0">
              <a:solidFill>
                <a:schemeClr val="bg2">
                  <a:lumMod val="50000"/>
                  <a:lumOff val="50000"/>
                </a:schemeClr>
              </a:solidFill>
              <a:latin typeface="+mn-lt"/>
            </a:endParaRPr>
          </a:p>
        </p:txBody>
      </p:sp>
    </p:spTree>
    <p:extLst>
      <p:ext uri="{BB962C8B-B14F-4D97-AF65-F5344CB8AC3E}">
        <p14:creationId xmlns:p14="http://schemas.microsoft.com/office/powerpoint/2010/main" val="2913282969"/>
      </p:ext>
    </p:extLst>
  </p:cSld>
  <p:clrMapOvr>
    <a:masterClrMapping/>
  </p:clrMapOvr>
  <p:transition spd="med">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8846AE-501D-4355-A8E1-28F43339BBB6}"/>
              </a:ext>
            </a:extLst>
          </p:cNvPr>
          <p:cNvSpPr>
            <a:spLocks noGrp="1"/>
          </p:cNvSpPr>
          <p:nvPr>
            <p:ph type="title"/>
          </p:nvPr>
        </p:nvSpPr>
        <p:spPr/>
        <p:txBody>
          <a:bodyPr/>
          <a:lstStyle/>
          <a:p>
            <a:r>
              <a:rPr lang="en-US" dirty="0"/>
              <a:t>Quick exercise – Identify type of Data</a:t>
            </a:r>
          </a:p>
        </p:txBody>
      </p:sp>
      <p:pic>
        <p:nvPicPr>
          <p:cNvPr id="5" name="Picture 4">
            <a:extLst>
              <a:ext uri="{FF2B5EF4-FFF2-40B4-BE49-F238E27FC236}">
                <a16:creationId xmlns:a16="http://schemas.microsoft.com/office/drawing/2014/main" id="{28799CAD-4172-4A37-BF57-65BC88923644}"/>
              </a:ext>
            </a:extLst>
          </p:cNvPr>
          <p:cNvPicPr>
            <a:picLocks noChangeAspect="1"/>
          </p:cNvPicPr>
          <p:nvPr/>
        </p:nvPicPr>
        <p:blipFill>
          <a:blip r:embed="rId2"/>
          <a:stretch>
            <a:fillRect/>
          </a:stretch>
        </p:blipFill>
        <p:spPr>
          <a:xfrm>
            <a:off x="274319" y="1002708"/>
            <a:ext cx="8141239" cy="756290"/>
          </a:xfrm>
          <a:prstGeom prst="rect">
            <a:avLst/>
          </a:prstGeom>
        </p:spPr>
      </p:pic>
    </p:spTree>
    <p:extLst>
      <p:ext uri="{BB962C8B-B14F-4D97-AF65-F5344CB8AC3E}">
        <p14:creationId xmlns:p14="http://schemas.microsoft.com/office/powerpoint/2010/main" val="347885641"/>
      </p:ext>
    </p:extLst>
  </p:cSld>
  <p:clrMapOvr>
    <a:masterClrMapping/>
  </p:clrMapOvr>
  <p:transition spd="med">
    <p:wipe dir="r"/>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4A5D55-9AAA-45E4-8915-A63077E621F6}"/>
              </a:ext>
            </a:extLst>
          </p:cNvPr>
          <p:cNvSpPr>
            <a:spLocks noGrp="1"/>
          </p:cNvSpPr>
          <p:nvPr>
            <p:ph type="title"/>
          </p:nvPr>
        </p:nvSpPr>
        <p:spPr>
          <a:xfrm>
            <a:off x="0" y="0"/>
            <a:ext cx="8229600" cy="637794"/>
          </a:xfrm>
        </p:spPr>
        <p:txBody>
          <a:bodyPr/>
          <a:lstStyle/>
          <a:p>
            <a:r>
              <a:rPr lang="en-US" dirty="0"/>
              <a:t>Standard Deviation</a:t>
            </a:r>
          </a:p>
        </p:txBody>
      </p:sp>
      <p:sp>
        <p:nvSpPr>
          <p:cNvPr id="3" name="TextBox 2">
            <a:extLst>
              <a:ext uri="{FF2B5EF4-FFF2-40B4-BE49-F238E27FC236}">
                <a16:creationId xmlns:a16="http://schemas.microsoft.com/office/drawing/2014/main" id="{8CB960C2-872D-4418-91E5-6829B760044F}"/>
              </a:ext>
            </a:extLst>
          </p:cNvPr>
          <p:cNvSpPr txBox="1"/>
          <p:nvPr/>
        </p:nvSpPr>
        <p:spPr>
          <a:xfrm>
            <a:off x="62820" y="572373"/>
            <a:ext cx="7629307" cy="1692771"/>
          </a:xfrm>
          <a:prstGeom prst="rect">
            <a:avLst/>
          </a:prstGeom>
          <a:noFill/>
        </p:spPr>
        <p:txBody>
          <a:bodyPr wrap="square" rtlCol="0">
            <a:spAutoFit/>
          </a:bodyPr>
          <a:lstStyle/>
          <a:p>
            <a:pPr marL="285750" indent="-285750" algn="l">
              <a:buFont typeface="Arial" panose="020B0604020202020204" pitchFamily="34" charset="0"/>
              <a:buChar char="•"/>
            </a:pPr>
            <a:r>
              <a:rPr lang="en-US" sz="1800" b="0" i="0" dirty="0">
                <a:solidFill>
                  <a:schemeClr val="bg2">
                    <a:lumMod val="50000"/>
                    <a:lumOff val="50000"/>
                  </a:schemeClr>
                </a:solidFill>
                <a:effectLst/>
                <a:latin typeface="Verdana" panose="020B0604030504040204" pitchFamily="34" charset="0"/>
              </a:rPr>
              <a:t>The Standard Deviation is a measure of how spread-out numbers are.</a:t>
            </a:r>
          </a:p>
          <a:p>
            <a:pPr marL="285750" indent="-285750" algn="l">
              <a:buFont typeface="Arial" panose="020B0604020202020204" pitchFamily="34" charset="0"/>
              <a:buChar char="•"/>
            </a:pPr>
            <a:r>
              <a:rPr lang="en-US" sz="1800" b="0" i="0" dirty="0">
                <a:solidFill>
                  <a:schemeClr val="bg2">
                    <a:lumMod val="50000"/>
                    <a:lumOff val="50000"/>
                  </a:schemeClr>
                </a:solidFill>
                <a:effectLst/>
                <a:latin typeface="Verdana" panose="020B0604030504040204" pitchFamily="34" charset="0"/>
              </a:rPr>
              <a:t>Its symbol is </a:t>
            </a:r>
            <a:r>
              <a:rPr lang="en-US" sz="1800" b="1" i="0" dirty="0">
                <a:solidFill>
                  <a:schemeClr val="bg2">
                    <a:lumMod val="50000"/>
                    <a:lumOff val="50000"/>
                  </a:schemeClr>
                </a:solidFill>
                <a:effectLst/>
                <a:latin typeface="Verdana" panose="020B0604030504040204" pitchFamily="34" charset="0"/>
              </a:rPr>
              <a:t>σ</a:t>
            </a:r>
            <a:r>
              <a:rPr lang="en-US" sz="1800" b="0" i="0" dirty="0">
                <a:solidFill>
                  <a:schemeClr val="bg2">
                    <a:lumMod val="50000"/>
                    <a:lumOff val="50000"/>
                  </a:schemeClr>
                </a:solidFill>
                <a:effectLst/>
                <a:latin typeface="Verdana" panose="020B0604030504040204" pitchFamily="34" charset="0"/>
              </a:rPr>
              <a:t> (the </a:t>
            </a:r>
            <a:r>
              <a:rPr lang="en-US" sz="1800" b="0" i="0" dirty="0" err="1">
                <a:solidFill>
                  <a:schemeClr val="bg2">
                    <a:lumMod val="50000"/>
                    <a:lumOff val="50000"/>
                  </a:schemeClr>
                </a:solidFill>
                <a:effectLst/>
                <a:latin typeface="Verdana" panose="020B0604030504040204" pitchFamily="34" charset="0"/>
              </a:rPr>
              <a:t>greek</a:t>
            </a:r>
            <a:r>
              <a:rPr lang="en-US" sz="1800" b="0" i="0" dirty="0">
                <a:solidFill>
                  <a:schemeClr val="bg2">
                    <a:lumMod val="50000"/>
                    <a:lumOff val="50000"/>
                  </a:schemeClr>
                </a:solidFill>
                <a:effectLst/>
                <a:latin typeface="Verdana" panose="020B0604030504040204" pitchFamily="34" charset="0"/>
              </a:rPr>
              <a:t> letter sigma)</a:t>
            </a:r>
          </a:p>
          <a:p>
            <a:pPr marL="285750" indent="-285750" algn="l">
              <a:buFont typeface="Arial" panose="020B0604020202020204" pitchFamily="34" charset="0"/>
              <a:buChar char="•"/>
            </a:pPr>
            <a:r>
              <a:rPr lang="en-US" sz="1800" b="0" i="0" dirty="0">
                <a:solidFill>
                  <a:schemeClr val="bg2">
                    <a:lumMod val="50000"/>
                    <a:lumOff val="50000"/>
                  </a:schemeClr>
                </a:solidFill>
                <a:effectLst/>
                <a:latin typeface="Verdana" panose="020B0604030504040204" pitchFamily="34" charset="0"/>
              </a:rPr>
              <a:t>The formula is easy: it is the</a:t>
            </a:r>
            <a:r>
              <a:rPr lang="en-US" sz="1800" b="1" i="0" dirty="0">
                <a:solidFill>
                  <a:schemeClr val="bg2">
                    <a:lumMod val="50000"/>
                    <a:lumOff val="50000"/>
                  </a:schemeClr>
                </a:solidFill>
                <a:effectLst/>
                <a:latin typeface="Verdana" panose="020B0604030504040204" pitchFamily="34" charset="0"/>
              </a:rPr>
              <a:t> square root</a:t>
            </a:r>
            <a:r>
              <a:rPr lang="en-US" sz="1800" b="0" i="0" dirty="0">
                <a:solidFill>
                  <a:schemeClr val="bg2">
                    <a:lumMod val="50000"/>
                    <a:lumOff val="50000"/>
                  </a:schemeClr>
                </a:solidFill>
                <a:effectLst/>
                <a:latin typeface="Verdana" panose="020B0604030504040204" pitchFamily="34" charset="0"/>
              </a:rPr>
              <a:t> of the </a:t>
            </a:r>
            <a:r>
              <a:rPr lang="en-US" sz="1800" b="1" i="0" dirty="0">
                <a:solidFill>
                  <a:schemeClr val="bg2">
                    <a:lumMod val="50000"/>
                    <a:lumOff val="50000"/>
                  </a:schemeClr>
                </a:solidFill>
                <a:effectLst/>
                <a:latin typeface="Verdana" panose="020B0604030504040204" pitchFamily="34" charset="0"/>
              </a:rPr>
              <a:t>Variance.</a:t>
            </a:r>
            <a:r>
              <a:rPr lang="en-US" sz="1800" b="0" i="0" dirty="0">
                <a:solidFill>
                  <a:schemeClr val="bg2">
                    <a:lumMod val="50000"/>
                    <a:lumOff val="50000"/>
                  </a:schemeClr>
                </a:solidFill>
                <a:effectLst/>
                <a:latin typeface="Verdana" panose="020B0604030504040204" pitchFamily="34" charset="0"/>
              </a:rPr>
              <a:t> So now you ask, "What is the Variance?"</a:t>
            </a:r>
          </a:p>
          <a:p>
            <a:pPr>
              <a:spcBef>
                <a:spcPts val="0"/>
              </a:spcBef>
              <a:spcAft>
                <a:spcPts val="0"/>
              </a:spcAft>
              <a:buClr>
                <a:schemeClr val="bg1"/>
              </a:buClr>
            </a:pPr>
            <a:endParaRPr lang="en-US" sz="1400" dirty="0" err="1">
              <a:solidFill>
                <a:schemeClr val="bg2"/>
              </a:solidFill>
              <a:latin typeface="+mn-lt"/>
            </a:endParaRPr>
          </a:p>
        </p:txBody>
      </p:sp>
      <p:sp>
        <p:nvSpPr>
          <p:cNvPr id="4" name="Title 1">
            <a:extLst>
              <a:ext uri="{FF2B5EF4-FFF2-40B4-BE49-F238E27FC236}">
                <a16:creationId xmlns:a16="http://schemas.microsoft.com/office/drawing/2014/main" id="{F1DDCECB-FE11-4385-B2D3-479150F5E6FA}"/>
              </a:ext>
            </a:extLst>
          </p:cNvPr>
          <p:cNvSpPr txBox="1">
            <a:spLocks/>
          </p:cNvSpPr>
          <p:nvPr/>
        </p:nvSpPr>
        <p:spPr>
          <a:xfrm>
            <a:off x="62820" y="2106694"/>
            <a:ext cx="8229600" cy="637794"/>
          </a:xfrm>
          <a:prstGeom prst="rect">
            <a:avLst/>
          </a:prstGeom>
        </p:spPr>
        <p:txBody>
          <a:bodyPr/>
          <a:lst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kern="0" dirty="0"/>
              <a:t>Variance</a:t>
            </a:r>
          </a:p>
        </p:txBody>
      </p:sp>
      <p:sp>
        <p:nvSpPr>
          <p:cNvPr id="6" name="TextBox 5">
            <a:extLst>
              <a:ext uri="{FF2B5EF4-FFF2-40B4-BE49-F238E27FC236}">
                <a16:creationId xmlns:a16="http://schemas.microsoft.com/office/drawing/2014/main" id="{2F44518A-41CB-4383-A7A5-39A317FE295D}"/>
              </a:ext>
            </a:extLst>
          </p:cNvPr>
          <p:cNvSpPr txBox="1"/>
          <p:nvPr/>
        </p:nvSpPr>
        <p:spPr>
          <a:xfrm>
            <a:off x="62820" y="2564606"/>
            <a:ext cx="9081180" cy="1138773"/>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Verdana" panose="020B0604030504040204" pitchFamily="34" charset="0"/>
              </a:rPr>
              <a:t>The Variance is defined as: The average of the squared differences from the Mean.</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sp>
        <p:nvSpPr>
          <p:cNvPr id="11" name="Rectangle 4">
            <a:extLst>
              <a:ext uri="{FF2B5EF4-FFF2-40B4-BE49-F238E27FC236}">
                <a16:creationId xmlns:a16="http://schemas.microsoft.com/office/drawing/2014/main" id="{AB2D2E9B-99A2-44F3-B1E4-1D521B26FC9C}"/>
              </a:ext>
            </a:extLst>
          </p:cNvPr>
          <p:cNvSpPr>
            <a:spLocks noChangeArrowheads="1"/>
          </p:cNvSpPr>
          <p:nvPr/>
        </p:nvSpPr>
        <p:spPr bwMode="auto">
          <a:xfrm>
            <a:off x="693544" y="3202622"/>
            <a:ext cx="8229600"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To calculate the variance, follow these steps:</a:t>
            </a:r>
          </a:p>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Work out the </a:t>
            </a:r>
            <a:r>
              <a:rPr lang="en-US" altLang="en-US" sz="1600" dirty="0">
                <a:solidFill>
                  <a:schemeClr val="accent1"/>
                </a:solidFill>
                <a:latin typeface="Verdana" panose="020B0604030504040204" pitchFamily="34" charset="0"/>
                <a:hlinkClick r:id="rId2">
                  <a:extLst>
                    <a:ext uri="{A12FA001-AC4F-418D-AE19-62706E023703}">
                      <ahyp:hlinkClr xmlns:ahyp="http://schemas.microsoft.com/office/drawing/2018/hyperlinkcolor" val="tx"/>
                    </a:ext>
                  </a:extLst>
                </a:hlinkClick>
              </a:rPr>
              <a:t>Mean</a:t>
            </a:r>
            <a:r>
              <a:rPr lang="en-US" altLang="en-US" sz="1600" dirty="0">
                <a:solidFill>
                  <a:schemeClr val="accent1"/>
                </a:solidFill>
                <a:latin typeface="Verdana" panose="020B0604030504040204" pitchFamily="34" charset="0"/>
              </a:rPr>
              <a:t> (the simple average of the numbers)</a:t>
            </a:r>
          </a:p>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Then for each number: subtract the Mean and square the result (the squared difference).</a:t>
            </a:r>
          </a:p>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Then work out the average of those squared differences. (</a:t>
            </a:r>
            <a:r>
              <a:rPr lang="en-US" altLang="en-US" sz="1600" dirty="0">
                <a:solidFill>
                  <a:schemeClr val="accent1"/>
                </a:solidFill>
                <a:latin typeface="Verdana" panose="020B0604030504040204" pitchFamily="34" charset="0"/>
                <a:hlinkClick r:id="rId3">
                  <a:extLst>
                    <a:ext uri="{A12FA001-AC4F-418D-AE19-62706E023703}">
                      <ahyp:hlinkClr xmlns:ahyp="http://schemas.microsoft.com/office/drawing/2018/hyperlinkcolor" val="tx"/>
                    </a:ext>
                  </a:extLst>
                </a:hlinkClick>
              </a:rPr>
              <a:t>Why Square?</a:t>
            </a:r>
            <a:r>
              <a:rPr lang="en-US" altLang="en-US" sz="1600" dirty="0">
                <a:solidFill>
                  <a:schemeClr val="accent1"/>
                </a:solidFill>
                <a:latin typeface="Verdana" panose="020B0604030504040204" pitchFamily="34" charset="0"/>
              </a:rPr>
              <a: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288610285"/>
      </p:ext>
    </p:extLst>
  </p:cSld>
  <p:clrMapOvr>
    <a:masterClrMapping/>
  </p:clrMapOvr>
  <p:transition spd="med">
    <p:wipe dir="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AF2294-467A-462C-83C7-3043808D6D56}"/>
              </a:ext>
            </a:extLst>
          </p:cNvPr>
          <p:cNvSpPr>
            <a:spLocks noGrp="1"/>
          </p:cNvSpPr>
          <p:nvPr>
            <p:ph type="title"/>
          </p:nvPr>
        </p:nvSpPr>
        <p:spPr>
          <a:xfrm>
            <a:off x="0" y="0"/>
            <a:ext cx="8229600" cy="637794"/>
          </a:xfrm>
        </p:spPr>
        <p:txBody>
          <a:bodyPr/>
          <a:lstStyle/>
          <a:p>
            <a:r>
              <a:rPr lang="en-US" dirty="0"/>
              <a:t>Variance - Ex</a:t>
            </a:r>
          </a:p>
        </p:txBody>
      </p:sp>
      <p:pic>
        <p:nvPicPr>
          <p:cNvPr id="4" name="Picture 3">
            <a:extLst>
              <a:ext uri="{FF2B5EF4-FFF2-40B4-BE49-F238E27FC236}">
                <a16:creationId xmlns:a16="http://schemas.microsoft.com/office/drawing/2014/main" id="{1D437307-14BE-4815-A5C1-396AAFF9B2EB}"/>
              </a:ext>
            </a:extLst>
          </p:cNvPr>
          <p:cNvPicPr>
            <a:picLocks noChangeAspect="1"/>
          </p:cNvPicPr>
          <p:nvPr/>
        </p:nvPicPr>
        <p:blipFill>
          <a:blip r:embed="rId2"/>
          <a:stretch>
            <a:fillRect/>
          </a:stretch>
        </p:blipFill>
        <p:spPr>
          <a:xfrm>
            <a:off x="716247" y="862066"/>
            <a:ext cx="5796235" cy="1573442"/>
          </a:xfrm>
          <a:prstGeom prst="rect">
            <a:avLst/>
          </a:prstGeom>
        </p:spPr>
      </p:pic>
      <p:sp>
        <p:nvSpPr>
          <p:cNvPr id="5" name="TextBox 4">
            <a:extLst>
              <a:ext uri="{FF2B5EF4-FFF2-40B4-BE49-F238E27FC236}">
                <a16:creationId xmlns:a16="http://schemas.microsoft.com/office/drawing/2014/main" id="{A32434E3-AF65-400B-AE8B-C5EBA451E0F8}"/>
              </a:ext>
            </a:extLst>
          </p:cNvPr>
          <p:cNvSpPr txBox="1"/>
          <p:nvPr/>
        </p:nvSpPr>
        <p:spPr>
          <a:xfrm>
            <a:off x="230344" y="523511"/>
            <a:ext cx="6519463" cy="338554"/>
          </a:xfrm>
          <a:prstGeom prst="rect">
            <a:avLst/>
          </a:prstGeom>
          <a:noFill/>
        </p:spPr>
        <p:txBody>
          <a:bodyPr wrap="square" rtlCol="0">
            <a:spAutoFit/>
          </a:bodyPr>
          <a:lstStyle/>
          <a:p>
            <a:pPr>
              <a:spcBef>
                <a:spcPts val="0"/>
              </a:spcBef>
              <a:spcAft>
                <a:spcPts val="0"/>
              </a:spcAft>
              <a:buClr>
                <a:schemeClr val="bg1"/>
              </a:buClr>
            </a:pPr>
            <a:r>
              <a:rPr lang="en-US" sz="1600" b="0" i="0" dirty="0">
                <a:solidFill>
                  <a:schemeClr val="bg2">
                    <a:lumMod val="50000"/>
                    <a:lumOff val="50000"/>
                  </a:schemeClr>
                </a:solidFill>
                <a:effectLst/>
                <a:latin typeface="Verdana" panose="020B0604030504040204" pitchFamily="34" charset="0"/>
              </a:rPr>
              <a:t>Now we calculate each dog's difference from the Mean:</a:t>
            </a:r>
            <a:endParaRPr lang="en-US" sz="2000" dirty="0">
              <a:solidFill>
                <a:schemeClr val="bg2">
                  <a:lumMod val="50000"/>
                  <a:lumOff val="50000"/>
                </a:schemeClr>
              </a:solidFill>
              <a:latin typeface="+mn-lt"/>
            </a:endParaRPr>
          </a:p>
        </p:txBody>
      </p:sp>
      <p:sp>
        <p:nvSpPr>
          <p:cNvPr id="6" name="TextBox 5">
            <a:extLst>
              <a:ext uri="{FF2B5EF4-FFF2-40B4-BE49-F238E27FC236}">
                <a16:creationId xmlns:a16="http://schemas.microsoft.com/office/drawing/2014/main" id="{0CD470DC-9FC8-468B-BA20-CF437AFC230F}"/>
              </a:ext>
            </a:extLst>
          </p:cNvPr>
          <p:cNvSpPr txBox="1"/>
          <p:nvPr/>
        </p:nvSpPr>
        <p:spPr>
          <a:xfrm>
            <a:off x="90740" y="2571750"/>
            <a:ext cx="8794993" cy="584775"/>
          </a:xfrm>
          <a:prstGeom prst="rect">
            <a:avLst/>
          </a:prstGeom>
          <a:noFill/>
        </p:spPr>
        <p:txBody>
          <a:bodyPr wrap="square" rtlCol="0">
            <a:spAutoFit/>
          </a:bodyPr>
          <a:lstStyle/>
          <a:p>
            <a:pPr>
              <a:spcBef>
                <a:spcPts val="0"/>
              </a:spcBef>
              <a:spcAft>
                <a:spcPts val="0"/>
              </a:spcAft>
              <a:buClr>
                <a:schemeClr val="bg1"/>
              </a:buClr>
            </a:pPr>
            <a:r>
              <a:rPr lang="en-US" sz="1600" dirty="0">
                <a:solidFill>
                  <a:schemeClr val="bg2">
                    <a:lumMod val="50000"/>
                    <a:lumOff val="50000"/>
                  </a:schemeClr>
                </a:solidFill>
                <a:latin typeface="Verdana" panose="020B0604030504040204" pitchFamily="34" charset="0"/>
              </a:rPr>
              <a:t>To calculate the Variance, take each difference, square it, and then average the result:</a:t>
            </a:r>
          </a:p>
        </p:txBody>
      </p:sp>
    </p:spTree>
    <p:extLst>
      <p:ext uri="{BB962C8B-B14F-4D97-AF65-F5344CB8AC3E}">
        <p14:creationId xmlns:p14="http://schemas.microsoft.com/office/powerpoint/2010/main" val="4213750322"/>
      </p:ext>
    </p:extLst>
  </p:cSld>
  <p:clrMapOvr>
    <a:masterClrMapping/>
  </p:clrMapOvr>
  <p:transition spd="med">
    <p:wipe dir="r"/>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26779-CD6A-4E57-AE1B-EF50594A725F}"/>
              </a:ext>
            </a:extLst>
          </p:cNvPr>
          <p:cNvSpPr>
            <a:spLocks noGrp="1"/>
          </p:cNvSpPr>
          <p:nvPr>
            <p:ph type="title"/>
          </p:nvPr>
        </p:nvSpPr>
        <p:spPr>
          <a:xfrm>
            <a:off x="0" y="0"/>
            <a:ext cx="8229600" cy="637794"/>
          </a:xfrm>
        </p:spPr>
        <p:txBody>
          <a:bodyPr/>
          <a:lstStyle/>
          <a:p>
            <a:r>
              <a:rPr lang="en-US" dirty="0"/>
              <a:t>Variance – Ex continued</a:t>
            </a:r>
          </a:p>
        </p:txBody>
      </p:sp>
      <p:pic>
        <p:nvPicPr>
          <p:cNvPr id="4" name="Picture 3">
            <a:extLst>
              <a:ext uri="{FF2B5EF4-FFF2-40B4-BE49-F238E27FC236}">
                <a16:creationId xmlns:a16="http://schemas.microsoft.com/office/drawing/2014/main" id="{1A86875E-99D1-4F9C-A42B-BF8A9B27E777}"/>
              </a:ext>
            </a:extLst>
          </p:cNvPr>
          <p:cNvPicPr>
            <a:picLocks noChangeAspect="1"/>
          </p:cNvPicPr>
          <p:nvPr/>
        </p:nvPicPr>
        <p:blipFill>
          <a:blip r:embed="rId2"/>
          <a:stretch>
            <a:fillRect/>
          </a:stretch>
        </p:blipFill>
        <p:spPr>
          <a:xfrm>
            <a:off x="1409627" y="1022430"/>
            <a:ext cx="4809689" cy="2271632"/>
          </a:xfrm>
          <a:prstGeom prst="rect">
            <a:avLst/>
          </a:prstGeom>
        </p:spPr>
      </p:pic>
      <p:sp>
        <p:nvSpPr>
          <p:cNvPr id="5" name="TextBox 4">
            <a:extLst>
              <a:ext uri="{FF2B5EF4-FFF2-40B4-BE49-F238E27FC236}">
                <a16:creationId xmlns:a16="http://schemas.microsoft.com/office/drawing/2014/main" id="{E8670F94-D7F9-4415-86ED-4018DED05897}"/>
              </a:ext>
            </a:extLst>
          </p:cNvPr>
          <p:cNvSpPr txBox="1"/>
          <p:nvPr/>
        </p:nvSpPr>
        <p:spPr>
          <a:xfrm>
            <a:off x="551432" y="3769282"/>
            <a:ext cx="4690663"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chemeClr val="bg2">
                    <a:lumMod val="50000"/>
                    <a:lumOff val="50000"/>
                  </a:schemeClr>
                </a:solidFill>
                <a:effectLst/>
                <a:latin typeface="Verdana" panose="020B0604030504040204" pitchFamily="34" charset="0"/>
              </a:rPr>
              <a:t>So, the Variance is </a:t>
            </a:r>
            <a:r>
              <a:rPr lang="en-US" sz="1100" b="1" i="0" dirty="0">
                <a:solidFill>
                  <a:schemeClr val="bg2">
                    <a:lumMod val="50000"/>
                    <a:lumOff val="50000"/>
                  </a:schemeClr>
                </a:solidFill>
                <a:effectLst/>
                <a:latin typeface="Verdana" panose="020B0604030504040204" pitchFamily="34" charset="0"/>
              </a:rPr>
              <a:t>21,704</a:t>
            </a:r>
            <a:endParaRPr lang="en-US" sz="1400" dirty="0">
              <a:solidFill>
                <a:schemeClr val="bg2">
                  <a:lumMod val="50000"/>
                  <a:lumOff val="50000"/>
                </a:schemeClr>
              </a:solidFill>
              <a:latin typeface="+mn-lt"/>
            </a:endParaRPr>
          </a:p>
        </p:txBody>
      </p:sp>
    </p:spTree>
    <p:extLst>
      <p:ext uri="{BB962C8B-B14F-4D97-AF65-F5344CB8AC3E}">
        <p14:creationId xmlns:p14="http://schemas.microsoft.com/office/powerpoint/2010/main" val="799166285"/>
      </p:ext>
    </p:extLst>
  </p:cSld>
  <p:clrMapOvr>
    <a:masterClrMapping/>
  </p:clrMapOvr>
  <p:transition spd="med">
    <p:wipe dir="r"/>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3F620B-98F5-4335-AD5A-53E05E2B254D}"/>
              </a:ext>
            </a:extLst>
          </p:cNvPr>
          <p:cNvSpPr>
            <a:spLocks noGrp="1"/>
          </p:cNvSpPr>
          <p:nvPr>
            <p:ph type="title"/>
          </p:nvPr>
        </p:nvSpPr>
        <p:spPr>
          <a:xfrm>
            <a:off x="0" y="0"/>
            <a:ext cx="8229600" cy="637794"/>
          </a:xfrm>
        </p:spPr>
        <p:txBody>
          <a:bodyPr/>
          <a:lstStyle/>
          <a:p>
            <a:r>
              <a:rPr lang="en-US" dirty="0"/>
              <a:t>Standard Deviation </a:t>
            </a:r>
          </a:p>
        </p:txBody>
      </p:sp>
      <p:sp>
        <p:nvSpPr>
          <p:cNvPr id="3" name="TextBox 2">
            <a:extLst>
              <a:ext uri="{FF2B5EF4-FFF2-40B4-BE49-F238E27FC236}">
                <a16:creationId xmlns:a16="http://schemas.microsoft.com/office/drawing/2014/main" id="{AE4C90B8-F407-49EC-A54D-E9774AA2C94F}"/>
              </a:ext>
            </a:extLst>
          </p:cNvPr>
          <p:cNvSpPr txBox="1"/>
          <p:nvPr/>
        </p:nvSpPr>
        <p:spPr>
          <a:xfrm>
            <a:off x="0" y="579353"/>
            <a:ext cx="7489704" cy="307777"/>
          </a:xfrm>
          <a:prstGeom prst="rect">
            <a:avLst/>
          </a:prstGeom>
          <a:noFill/>
        </p:spPr>
        <p:txBody>
          <a:bodyPr wrap="square" rtlCol="0">
            <a:spAutoFit/>
          </a:bodyPr>
          <a:lstStyle/>
          <a:p>
            <a:pPr>
              <a:spcBef>
                <a:spcPts val="0"/>
              </a:spcBef>
              <a:spcAft>
                <a:spcPts val="0"/>
              </a:spcAft>
              <a:buClr>
                <a:schemeClr val="bg1"/>
              </a:buClr>
            </a:pPr>
            <a:r>
              <a:rPr lang="en-US" sz="1400" b="0" i="0" dirty="0">
                <a:solidFill>
                  <a:schemeClr val="bg2">
                    <a:lumMod val="50000"/>
                    <a:lumOff val="50000"/>
                  </a:schemeClr>
                </a:solidFill>
                <a:effectLst/>
                <a:latin typeface="Verdana" panose="020B0604030504040204" pitchFamily="34" charset="0"/>
              </a:rPr>
              <a:t>And the Standard Deviation is just the square root of Variance, so:</a:t>
            </a:r>
            <a:endParaRPr lang="en-US" sz="1800" dirty="0">
              <a:solidFill>
                <a:schemeClr val="bg2">
                  <a:lumMod val="50000"/>
                  <a:lumOff val="50000"/>
                </a:schemeClr>
              </a:solidFill>
              <a:latin typeface="+mn-lt"/>
            </a:endParaRPr>
          </a:p>
        </p:txBody>
      </p:sp>
      <p:pic>
        <p:nvPicPr>
          <p:cNvPr id="5" name="Picture 4">
            <a:extLst>
              <a:ext uri="{FF2B5EF4-FFF2-40B4-BE49-F238E27FC236}">
                <a16:creationId xmlns:a16="http://schemas.microsoft.com/office/drawing/2014/main" id="{E5BC06AD-C58E-4108-9D27-4A78A855F4A5}"/>
              </a:ext>
            </a:extLst>
          </p:cNvPr>
          <p:cNvPicPr>
            <a:picLocks noChangeAspect="1"/>
          </p:cNvPicPr>
          <p:nvPr/>
        </p:nvPicPr>
        <p:blipFill>
          <a:blip r:embed="rId2"/>
          <a:stretch>
            <a:fillRect/>
          </a:stretch>
        </p:blipFill>
        <p:spPr>
          <a:xfrm>
            <a:off x="1986179" y="887130"/>
            <a:ext cx="2983690" cy="1263533"/>
          </a:xfrm>
          <a:prstGeom prst="rect">
            <a:avLst/>
          </a:prstGeom>
        </p:spPr>
      </p:pic>
      <p:pic>
        <p:nvPicPr>
          <p:cNvPr id="7" name="Picture 6">
            <a:extLst>
              <a:ext uri="{FF2B5EF4-FFF2-40B4-BE49-F238E27FC236}">
                <a16:creationId xmlns:a16="http://schemas.microsoft.com/office/drawing/2014/main" id="{931D458C-A0C9-4716-86D8-0E33FCB322A4}"/>
              </a:ext>
            </a:extLst>
          </p:cNvPr>
          <p:cNvPicPr>
            <a:picLocks noChangeAspect="1"/>
          </p:cNvPicPr>
          <p:nvPr/>
        </p:nvPicPr>
        <p:blipFill>
          <a:blip r:embed="rId3"/>
          <a:stretch>
            <a:fillRect/>
          </a:stretch>
        </p:blipFill>
        <p:spPr>
          <a:xfrm>
            <a:off x="211949" y="2966341"/>
            <a:ext cx="4904502" cy="1648486"/>
          </a:xfrm>
          <a:prstGeom prst="rect">
            <a:avLst/>
          </a:prstGeom>
        </p:spPr>
      </p:pic>
      <p:sp>
        <p:nvSpPr>
          <p:cNvPr id="8" name="TextBox 7">
            <a:extLst>
              <a:ext uri="{FF2B5EF4-FFF2-40B4-BE49-F238E27FC236}">
                <a16:creationId xmlns:a16="http://schemas.microsoft.com/office/drawing/2014/main" id="{E92EE6A2-F38C-4E19-BEA8-F4669A0C412E}"/>
              </a:ext>
            </a:extLst>
          </p:cNvPr>
          <p:cNvSpPr txBox="1"/>
          <p:nvPr/>
        </p:nvSpPr>
        <p:spPr>
          <a:xfrm>
            <a:off x="0" y="2387248"/>
            <a:ext cx="6324018" cy="430887"/>
          </a:xfrm>
          <a:prstGeom prst="rect">
            <a:avLst/>
          </a:prstGeom>
          <a:noFill/>
        </p:spPr>
        <p:txBody>
          <a:bodyPr wrap="square" rtlCol="0">
            <a:spAutoFit/>
          </a:bodyPr>
          <a:lstStyle/>
          <a:p>
            <a:pPr>
              <a:spcBef>
                <a:spcPts val="0"/>
              </a:spcBef>
              <a:spcAft>
                <a:spcPts val="0"/>
              </a:spcAft>
              <a:buClr>
                <a:schemeClr val="bg1"/>
              </a:buClr>
            </a:pPr>
            <a:r>
              <a:rPr lang="en-US" sz="1100" b="0" i="0" dirty="0">
                <a:solidFill>
                  <a:schemeClr val="bg2">
                    <a:lumMod val="50000"/>
                    <a:lumOff val="50000"/>
                  </a:schemeClr>
                </a:solidFill>
                <a:effectLst/>
                <a:latin typeface="Verdana" panose="020B0604030504040204" pitchFamily="34" charset="0"/>
              </a:rPr>
              <a:t>And the good thing about the Standard Deviation is that it is useful. Now we can show which heights are within one Standard Deviation (147mm) of the Mean:</a:t>
            </a:r>
            <a:endParaRPr lang="en-US" sz="1400" dirty="0">
              <a:solidFill>
                <a:schemeClr val="bg2">
                  <a:lumMod val="50000"/>
                  <a:lumOff val="50000"/>
                </a:schemeClr>
              </a:solidFill>
              <a:latin typeface="+mn-lt"/>
            </a:endParaRPr>
          </a:p>
        </p:txBody>
      </p:sp>
      <p:sp>
        <p:nvSpPr>
          <p:cNvPr id="10" name="TextBox 9">
            <a:extLst>
              <a:ext uri="{FF2B5EF4-FFF2-40B4-BE49-F238E27FC236}">
                <a16:creationId xmlns:a16="http://schemas.microsoft.com/office/drawing/2014/main" id="{98B8F9D4-2C7B-451C-A083-7F06BA7A3569}"/>
              </a:ext>
            </a:extLst>
          </p:cNvPr>
          <p:cNvSpPr txBox="1"/>
          <p:nvPr/>
        </p:nvSpPr>
        <p:spPr>
          <a:xfrm>
            <a:off x="5263035" y="3462156"/>
            <a:ext cx="3880965" cy="738664"/>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accent1"/>
                </a:solidFill>
                <a:latin typeface="+mn-lt"/>
              </a:rPr>
              <a:t>So, using the Standard Deviation we have a "standard" way of knowing what is normal, and what is extra large or extra small.</a:t>
            </a:r>
          </a:p>
        </p:txBody>
      </p:sp>
    </p:spTree>
    <p:extLst>
      <p:ext uri="{BB962C8B-B14F-4D97-AF65-F5344CB8AC3E}">
        <p14:creationId xmlns:p14="http://schemas.microsoft.com/office/powerpoint/2010/main" val="2062386995"/>
      </p:ext>
    </p:extLst>
  </p:cSld>
  <p:clrMapOvr>
    <a:masterClrMapping/>
  </p:clrMapOvr>
  <p:transition spd="med">
    <p:wipe dir="r"/>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FDA2E5-19BC-41C1-9716-CDA111BFDC1E}"/>
              </a:ext>
            </a:extLst>
          </p:cNvPr>
          <p:cNvSpPr>
            <a:spLocks noGrp="1"/>
          </p:cNvSpPr>
          <p:nvPr>
            <p:ph type="title"/>
          </p:nvPr>
        </p:nvSpPr>
        <p:spPr>
          <a:xfrm>
            <a:off x="171014" y="126370"/>
            <a:ext cx="8229600" cy="637794"/>
          </a:xfrm>
        </p:spPr>
        <p:txBody>
          <a:bodyPr/>
          <a:lstStyle/>
          <a:p>
            <a:r>
              <a:rPr lang="en-US" dirty="0"/>
              <a:t>Another Example – Standard Deviation </a:t>
            </a:r>
          </a:p>
        </p:txBody>
      </p:sp>
    </p:spTree>
    <p:extLst>
      <p:ext uri="{BB962C8B-B14F-4D97-AF65-F5344CB8AC3E}">
        <p14:creationId xmlns:p14="http://schemas.microsoft.com/office/powerpoint/2010/main" val="1577341905"/>
      </p:ext>
    </p:extLst>
  </p:cSld>
  <p:clrMapOvr>
    <a:masterClrMapping/>
  </p:clrMapOvr>
  <p:transition spd="med">
    <p:wipe dir="r"/>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C7E8FC-E53A-4E79-8F5A-821A8B64772A}"/>
              </a:ext>
            </a:extLst>
          </p:cNvPr>
          <p:cNvSpPr>
            <a:spLocks noGrp="1"/>
          </p:cNvSpPr>
          <p:nvPr>
            <p:ph type="title"/>
          </p:nvPr>
        </p:nvSpPr>
        <p:spPr>
          <a:xfrm>
            <a:off x="0" y="0"/>
            <a:ext cx="8229600" cy="637794"/>
          </a:xfrm>
        </p:spPr>
        <p:txBody>
          <a:bodyPr/>
          <a:lstStyle/>
          <a:p>
            <a:r>
              <a:rPr lang="en-US" dirty="0"/>
              <a:t>Standard Deviation – Population &amp; Sample</a:t>
            </a:r>
          </a:p>
        </p:txBody>
      </p:sp>
      <p:sp>
        <p:nvSpPr>
          <p:cNvPr id="3" name="TextBox 2">
            <a:extLst>
              <a:ext uri="{FF2B5EF4-FFF2-40B4-BE49-F238E27FC236}">
                <a16:creationId xmlns:a16="http://schemas.microsoft.com/office/drawing/2014/main" id="{FD0A08EA-D57C-4F83-A00F-9136C8E975A8}"/>
              </a:ext>
            </a:extLst>
          </p:cNvPr>
          <p:cNvSpPr txBox="1"/>
          <p:nvPr/>
        </p:nvSpPr>
        <p:spPr>
          <a:xfrm>
            <a:off x="97723" y="903040"/>
            <a:ext cx="8418064" cy="3077766"/>
          </a:xfrm>
          <a:prstGeom prst="rect">
            <a:avLst/>
          </a:prstGeom>
          <a:noFill/>
        </p:spPr>
        <p:txBody>
          <a:bodyPr wrap="square" rtlCol="0">
            <a:spAutoFit/>
          </a:bodyPr>
          <a:lstStyle/>
          <a:p>
            <a:pPr marL="457200" indent="-457200" algn="l">
              <a:buFont typeface="Wingdings" panose="05000000000000000000" pitchFamily="2" charset="2"/>
              <a:buChar char="q"/>
            </a:pPr>
            <a:r>
              <a:rPr lang="en-US" sz="2000" b="0" i="0" dirty="0">
                <a:solidFill>
                  <a:schemeClr val="bg2">
                    <a:lumMod val="50000"/>
                    <a:lumOff val="50000"/>
                  </a:schemeClr>
                </a:solidFill>
                <a:effectLst/>
                <a:latin typeface="Verdana" panose="020B0604030504040204" pitchFamily="34" charset="0"/>
              </a:rPr>
              <a:t>Example: if our 5 dogs are just a </a:t>
            </a:r>
            <a:r>
              <a:rPr lang="en-US" sz="2000" b="1" i="0" dirty="0">
                <a:solidFill>
                  <a:schemeClr val="bg2">
                    <a:lumMod val="50000"/>
                    <a:lumOff val="50000"/>
                  </a:schemeClr>
                </a:solidFill>
                <a:effectLst/>
                <a:latin typeface="Verdana" panose="020B0604030504040204" pitchFamily="34" charset="0"/>
              </a:rPr>
              <a:t>sample</a:t>
            </a:r>
            <a:r>
              <a:rPr lang="en-US" sz="2000" b="0" i="0" dirty="0">
                <a:solidFill>
                  <a:schemeClr val="bg2">
                    <a:lumMod val="50000"/>
                    <a:lumOff val="50000"/>
                  </a:schemeClr>
                </a:solidFill>
                <a:effectLst/>
                <a:latin typeface="Verdana" panose="020B0604030504040204" pitchFamily="34" charset="0"/>
              </a:rPr>
              <a:t> of a bigger population of dogs, we divide by </a:t>
            </a:r>
            <a:r>
              <a:rPr lang="en-US" sz="2000" b="1" i="0" dirty="0">
                <a:solidFill>
                  <a:schemeClr val="bg2">
                    <a:lumMod val="50000"/>
                    <a:lumOff val="50000"/>
                  </a:schemeClr>
                </a:solidFill>
                <a:effectLst/>
                <a:latin typeface="Verdana" panose="020B0604030504040204" pitchFamily="34" charset="0"/>
              </a:rPr>
              <a:t>4 instead of 5</a:t>
            </a:r>
            <a:r>
              <a:rPr lang="en-US" sz="2000" b="0" i="0" dirty="0">
                <a:solidFill>
                  <a:schemeClr val="bg2">
                    <a:lumMod val="50000"/>
                    <a:lumOff val="50000"/>
                  </a:schemeClr>
                </a:solidFill>
                <a:effectLst/>
                <a:latin typeface="Verdana" panose="020B0604030504040204" pitchFamily="34" charset="0"/>
              </a:rPr>
              <a:t> like this:</a:t>
            </a:r>
          </a:p>
          <a:p>
            <a:pPr algn="l"/>
            <a:endParaRPr lang="en-US" sz="2000" b="0" i="0" dirty="0">
              <a:solidFill>
                <a:schemeClr val="bg2">
                  <a:lumMod val="50000"/>
                  <a:lumOff val="50000"/>
                </a:schemeClr>
              </a:solidFill>
              <a:effectLst/>
              <a:latin typeface="Verdana" panose="020B0604030504040204" pitchFamily="34" charset="0"/>
            </a:endParaRPr>
          </a:p>
          <a:p>
            <a:pPr marL="457200" indent="-457200" algn="l">
              <a:buFont typeface="Wingdings" panose="05000000000000000000" pitchFamily="2" charset="2"/>
              <a:buChar char="q"/>
            </a:pPr>
            <a:r>
              <a:rPr lang="en-US" sz="2000" b="0" i="0" dirty="0">
                <a:solidFill>
                  <a:schemeClr val="bg2">
                    <a:lumMod val="50000"/>
                    <a:lumOff val="50000"/>
                  </a:schemeClr>
                </a:solidFill>
                <a:effectLst/>
                <a:latin typeface="Verdana" panose="020B0604030504040204" pitchFamily="34" charset="0"/>
              </a:rPr>
              <a:t>Sample Variance = 108,520 / </a:t>
            </a:r>
            <a:r>
              <a:rPr lang="en-US" sz="2000" b="1" i="0" dirty="0">
                <a:solidFill>
                  <a:schemeClr val="bg2">
                    <a:lumMod val="50000"/>
                    <a:lumOff val="50000"/>
                  </a:schemeClr>
                </a:solidFill>
                <a:effectLst/>
                <a:latin typeface="Verdana" panose="020B0604030504040204" pitchFamily="34" charset="0"/>
              </a:rPr>
              <a:t>4</a:t>
            </a:r>
            <a:r>
              <a:rPr lang="en-US" sz="2000" b="0" i="0" dirty="0">
                <a:solidFill>
                  <a:schemeClr val="bg2">
                    <a:lumMod val="50000"/>
                    <a:lumOff val="50000"/>
                  </a:schemeClr>
                </a:solidFill>
                <a:effectLst/>
                <a:latin typeface="Verdana" panose="020B0604030504040204" pitchFamily="34" charset="0"/>
              </a:rPr>
              <a:t> = </a:t>
            </a:r>
            <a:r>
              <a:rPr lang="en-US" sz="2000" b="1" i="0" dirty="0">
                <a:solidFill>
                  <a:schemeClr val="bg2">
                    <a:lumMod val="50000"/>
                    <a:lumOff val="50000"/>
                  </a:schemeClr>
                </a:solidFill>
                <a:effectLst/>
                <a:latin typeface="Verdana" panose="020B0604030504040204" pitchFamily="34" charset="0"/>
              </a:rPr>
              <a:t>27,130</a:t>
            </a:r>
          </a:p>
          <a:p>
            <a:pPr algn="l"/>
            <a:endParaRPr lang="en-US" sz="2000" b="0" i="0" dirty="0">
              <a:solidFill>
                <a:schemeClr val="bg2">
                  <a:lumMod val="50000"/>
                  <a:lumOff val="50000"/>
                </a:schemeClr>
              </a:solidFill>
              <a:effectLst/>
              <a:latin typeface="Verdana" panose="020B0604030504040204" pitchFamily="34" charset="0"/>
            </a:endParaRPr>
          </a:p>
          <a:p>
            <a:pPr marL="457200" indent="-457200" algn="l">
              <a:buFont typeface="Wingdings" panose="05000000000000000000" pitchFamily="2" charset="2"/>
              <a:buChar char="q"/>
            </a:pPr>
            <a:r>
              <a:rPr lang="en-US" sz="2000" b="0" i="0" dirty="0">
                <a:solidFill>
                  <a:schemeClr val="bg2">
                    <a:lumMod val="50000"/>
                    <a:lumOff val="50000"/>
                  </a:schemeClr>
                </a:solidFill>
                <a:effectLst/>
                <a:latin typeface="Verdana" panose="020B0604030504040204" pitchFamily="34" charset="0"/>
              </a:rPr>
              <a:t>Sample Standard Deviation = √27,130 = </a:t>
            </a:r>
            <a:r>
              <a:rPr lang="en-US" sz="2000" b="1" i="0" dirty="0">
                <a:solidFill>
                  <a:schemeClr val="bg2">
                    <a:lumMod val="50000"/>
                    <a:lumOff val="50000"/>
                  </a:schemeClr>
                </a:solidFill>
                <a:effectLst/>
                <a:latin typeface="Verdana" panose="020B0604030504040204" pitchFamily="34" charset="0"/>
              </a:rPr>
              <a:t>165</a:t>
            </a:r>
            <a:r>
              <a:rPr lang="en-US" sz="2000" b="0" i="0" dirty="0">
                <a:solidFill>
                  <a:schemeClr val="bg2">
                    <a:lumMod val="50000"/>
                    <a:lumOff val="50000"/>
                  </a:schemeClr>
                </a:solidFill>
                <a:effectLst/>
                <a:latin typeface="Verdana" panose="020B0604030504040204" pitchFamily="34" charset="0"/>
              </a:rPr>
              <a:t> (to the nearest mm)</a:t>
            </a:r>
          </a:p>
          <a:p>
            <a:pPr algn="l"/>
            <a:endParaRPr lang="en-US" sz="2000" b="0" i="0" dirty="0">
              <a:solidFill>
                <a:schemeClr val="bg2">
                  <a:lumMod val="50000"/>
                  <a:lumOff val="50000"/>
                </a:schemeClr>
              </a:solidFill>
              <a:effectLst/>
              <a:latin typeface="Verdana" panose="020B0604030504040204" pitchFamily="34" charset="0"/>
            </a:endParaRPr>
          </a:p>
          <a:p>
            <a:pPr marL="342900" indent="-342900" algn="l">
              <a:buFont typeface="Wingdings" panose="05000000000000000000" pitchFamily="2" charset="2"/>
              <a:buChar char="q"/>
            </a:pPr>
            <a:r>
              <a:rPr lang="en-US" sz="2000" b="0" i="0" dirty="0">
                <a:solidFill>
                  <a:schemeClr val="bg2">
                    <a:lumMod val="50000"/>
                    <a:lumOff val="50000"/>
                  </a:schemeClr>
                </a:solidFill>
                <a:effectLst/>
                <a:latin typeface="Verdana" panose="020B0604030504040204" pitchFamily="34" charset="0"/>
              </a:rPr>
              <a:t>Think of it as a "correction" when your data is only a sample.</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1892214900"/>
      </p:ext>
    </p:extLst>
  </p:cSld>
  <p:clrMapOvr>
    <a:masterClrMapping/>
  </p:clrMapOvr>
  <p:transition spd="med">
    <p:wipe dir="r"/>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18C4E3-6B94-4D41-9DB2-4A1A4413DA08}"/>
              </a:ext>
            </a:extLst>
          </p:cNvPr>
          <p:cNvSpPr>
            <a:spLocks noGrp="1"/>
          </p:cNvSpPr>
          <p:nvPr>
            <p:ph type="title"/>
          </p:nvPr>
        </p:nvSpPr>
        <p:spPr>
          <a:xfrm>
            <a:off x="114300" y="112410"/>
            <a:ext cx="8229600" cy="637794"/>
          </a:xfrm>
        </p:spPr>
        <p:txBody>
          <a:bodyPr/>
          <a:lstStyle/>
          <a:p>
            <a:r>
              <a:rPr lang="en-US" dirty="0"/>
              <a:t>Standard Deviation - Formula</a:t>
            </a:r>
          </a:p>
        </p:txBody>
      </p:sp>
      <p:sp>
        <p:nvSpPr>
          <p:cNvPr id="10" name="TextBox 9">
            <a:extLst>
              <a:ext uri="{FF2B5EF4-FFF2-40B4-BE49-F238E27FC236}">
                <a16:creationId xmlns:a16="http://schemas.microsoft.com/office/drawing/2014/main" id="{933A42C8-B9B8-4D5C-B787-BC7681B6E0FD}"/>
              </a:ext>
            </a:extLst>
          </p:cNvPr>
          <p:cNvSpPr txBox="1"/>
          <p:nvPr/>
        </p:nvSpPr>
        <p:spPr>
          <a:xfrm>
            <a:off x="5309278" y="2087065"/>
            <a:ext cx="3720422" cy="1323439"/>
          </a:xfrm>
          <a:prstGeom prst="rect">
            <a:avLst/>
          </a:prstGeom>
          <a:noFill/>
        </p:spPr>
        <p:txBody>
          <a:bodyPr wrap="square" rtlCol="0">
            <a:spAutoFit/>
          </a:bodyPr>
          <a:lstStyle/>
          <a:p>
            <a:pPr>
              <a:spcBef>
                <a:spcPts val="0"/>
              </a:spcBef>
              <a:spcAft>
                <a:spcPts val="0"/>
              </a:spcAft>
              <a:buClr>
                <a:schemeClr val="bg1"/>
              </a:buClr>
            </a:pPr>
            <a:r>
              <a:rPr lang="en-US" sz="1600" b="0" i="0" dirty="0">
                <a:solidFill>
                  <a:schemeClr val="bg2">
                    <a:lumMod val="50000"/>
                    <a:lumOff val="50000"/>
                  </a:schemeClr>
                </a:solidFill>
                <a:effectLst/>
                <a:latin typeface="Verdana" panose="020B0604030504040204" pitchFamily="34" charset="0"/>
              </a:rPr>
              <a:t>Looks complicated, but the important change is to divide by </a:t>
            </a:r>
            <a:r>
              <a:rPr lang="en-US" sz="1600" b="1" i="0" dirty="0">
                <a:solidFill>
                  <a:schemeClr val="bg2">
                    <a:lumMod val="50000"/>
                    <a:lumOff val="50000"/>
                  </a:schemeClr>
                </a:solidFill>
                <a:effectLst/>
                <a:latin typeface="Verdana" panose="020B0604030504040204" pitchFamily="34" charset="0"/>
              </a:rPr>
              <a:t>N-1</a:t>
            </a:r>
            <a:r>
              <a:rPr lang="en-US" sz="1600" b="0" i="0" dirty="0">
                <a:solidFill>
                  <a:schemeClr val="bg2">
                    <a:lumMod val="50000"/>
                    <a:lumOff val="50000"/>
                  </a:schemeClr>
                </a:solidFill>
                <a:effectLst/>
                <a:latin typeface="Verdana" panose="020B0604030504040204" pitchFamily="34" charset="0"/>
              </a:rPr>
              <a:t> (instead of </a:t>
            </a:r>
            <a:r>
              <a:rPr lang="en-US" sz="1600" b="1" i="0" dirty="0">
                <a:solidFill>
                  <a:schemeClr val="bg2">
                    <a:lumMod val="50000"/>
                    <a:lumOff val="50000"/>
                  </a:schemeClr>
                </a:solidFill>
                <a:effectLst/>
                <a:latin typeface="Verdana" panose="020B0604030504040204" pitchFamily="34" charset="0"/>
              </a:rPr>
              <a:t>N</a:t>
            </a:r>
            <a:r>
              <a:rPr lang="en-US" sz="1600" b="0" i="0" dirty="0">
                <a:solidFill>
                  <a:schemeClr val="bg2">
                    <a:lumMod val="50000"/>
                    <a:lumOff val="50000"/>
                  </a:schemeClr>
                </a:solidFill>
                <a:effectLst/>
                <a:latin typeface="Verdana" panose="020B0604030504040204" pitchFamily="34" charset="0"/>
              </a:rPr>
              <a:t>) when calculating a Sample Standard Deviation</a:t>
            </a:r>
            <a:endParaRPr lang="en-US" sz="2000" dirty="0">
              <a:solidFill>
                <a:schemeClr val="bg2">
                  <a:lumMod val="50000"/>
                  <a:lumOff val="50000"/>
                </a:schemeClr>
              </a:solidFill>
              <a:latin typeface="+mn-lt"/>
            </a:endParaRPr>
          </a:p>
        </p:txBody>
      </p:sp>
      <p:pic>
        <p:nvPicPr>
          <p:cNvPr id="12" name="Picture 11">
            <a:extLst>
              <a:ext uri="{FF2B5EF4-FFF2-40B4-BE49-F238E27FC236}">
                <a16:creationId xmlns:a16="http://schemas.microsoft.com/office/drawing/2014/main" id="{653F05E3-1A06-4930-9772-3415C65D5046}"/>
              </a:ext>
            </a:extLst>
          </p:cNvPr>
          <p:cNvPicPr>
            <a:picLocks noChangeAspect="1"/>
          </p:cNvPicPr>
          <p:nvPr/>
        </p:nvPicPr>
        <p:blipFill>
          <a:blip r:embed="rId2"/>
          <a:stretch>
            <a:fillRect/>
          </a:stretch>
        </p:blipFill>
        <p:spPr>
          <a:xfrm>
            <a:off x="114300" y="851297"/>
            <a:ext cx="4724655" cy="1808141"/>
          </a:xfrm>
          <a:prstGeom prst="rect">
            <a:avLst/>
          </a:prstGeom>
        </p:spPr>
      </p:pic>
      <p:pic>
        <p:nvPicPr>
          <p:cNvPr id="14" name="Picture 13">
            <a:extLst>
              <a:ext uri="{FF2B5EF4-FFF2-40B4-BE49-F238E27FC236}">
                <a16:creationId xmlns:a16="http://schemas.microsoft.com/office/drawing/2014/main" id="{B435FB2B-9487-497B-8EF8-99AA21450932}"/>
              </a:ext>
            </a:extLst>
          </p:cNvPr>
          <p:cNvPicPr>
            <a:picLocks noChangeAspect="1"/>
          </p:cNvPicPr>
          <p:nvPr/>
        </p:nvPicPr>
        <p:blipFill>
          <a:blip r:embed="rId3"/>
          <a:stretch>
            <a:fillRect/>
          </a:stretch>
        </p:blipFill>
        <p:spPr>
          <a:xfrm>
            <a:off x="114300" y="2892968"/>
            <a:ext cx="4724655" cy="1672051"/>
          </a:xfrm>
          <a:prstGeom prst="rect">
            <a:avLst/>
          </a:prstGeom>
        </p:spPr>
      </p:pic>
    </p:spTree>
    <p:extLst>
      <p:ext uri="{BB962C8B-B14F-4D97-AF65-F5344CB8AC3E}">
        <p14:creationId xmlns:p14="http://schemas.microsoft.com/office/powerpoint/2010/main" val="3884285239"/>
      </p:ext>
    </p:extLst>
  </p:cSld>
  <p:clrMapOvr>
    <a:masterClrMapping/>
  </p:clrMapOvr>
  <p:transition spd="med">
    <p:wipe dir="r"/>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5F3A06-D0A1-4D54-8804-1862AD402AE2}"/>
              </a:ext>
            </a:extLst>
          </p:cNvPr>
          <p:cNvSpPr>
            <a:spLocks noGrp="1"/>
          </p:cNvSpPr>
          <p:nvPr>
            <p:ph type="title"/>
          </p:nvPr>
        </p:nvSpPr>
        <p:spPr>
          <a:xfrm>
            <a:off x="0" y="0"/>
            <a:ext cx="8229600" cy="637794"/>
          </a:xfrm>
        </p:spPr>
        <p:txBody>
          <a:bodyPr/>
          <a:lstStyle/>
          <a:p>
            <a:r>
              <a:rPr lang="en-US" dirty="0"/>
              <a:t>Why Square the difference ? </a:t>
            </a:r>
          </a:p>
        </p:txBody>
      </p:sp>
      <p:sp>
        <p:nvSpPr>
          <p:cNvPr id="3" name="TextBox 2">
            <a:extLst>
              <a:ext uri="{FF2B5EF4-FFF2-40B4-BE49-F238E27FC236}">
                <a16:creationId xmlns:a16="http://schemas.microsoft.com/office/drawing/2014/main" id="{335ED887-CF6A-495E-9FF8-79FD8D96C0AD}"/>
              </a:ext>
            </a:extLst>
          </p:cNvPr>
          <p:cNvSpPr txBox="1"/>
          <p:nvPr/>
        </p:nvSpPr>
        <p:spPr>
          <a:xfrm>
            <a:off x="181484" y="558412"/>
            <a:ext cx="8048116" cy="3416320"/>
          </a:xfrm>
          <a:prstGeom prst="rect">
            <a:avLst/>
          </a:prstGeom>
          <a:noFill/>
        </p:spPr>
        <p:txBody>
          <a:bodyPr wrap="square" rtlCol="0">
            <a:spAutoFit/>
          </a:bodyPr>
          <a:lstStyle/>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If we just add up the differences from the mean ... the negatives cancel the positives:</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Ex:</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So that won't work. How about we use </a:t>
            </a:r>
            <a:r>
              <a:rPr lang="en-US" sz="1200" dirty="0">
                <a:solidFill>
                  <a:schemeClr val="bg2">
                    <a:lumMod val="50000"/>
                    <a:lumOff val="50000"/>
                  </a:schemeClr>
                </a:solidFill>
                <a:latin typeface="Verdana" panose="020B0604030504040204" pitchFamily="34" charset="0"/>
                <a:hlinkClick r:id="rId2">
                  <a:extLst>
                    <a:ext uri="{A12FA001-AC4F-418D-AE19-62706E023703}">
                      <ahyp:hlinkClr xmlns:ahyp="http://schemas.microsoft.com/office/drawing/2018/hyperlinkcolor" val="tx"/>
                    </a:ext>
                  </a:extLst>
                </a:hlinkClick>
              </a:rPr>
              <a:t>absolute values</a:t>
            </a:r>
            <a:r>
              <a:rPr lang="en-US" sz="1200" dirty="0">
                <a:solidFill>
                  <a:schemeClr val="bg2">
                    <a:lumMod val="50000"/>
                    <a:lumOff val="50000"/>
                  </a:schemeClr>
                </a:solidFill>
                <a:latin typeface="Verdana" panose="020B0604030504040204" pitchFamily="34" charset="0"/>
              </a:rPr>
              <a:t>?</a:t>
            </a:r>
            <a:br>
              <a:rPr lang="en-US" sz="1200" dirty="0">
                <a:solidFill>
                  <a:schemeClr val="bg2">
                    <a:lumMod val="50000"/>
                    <a:lumOff val="50000"/>
                  </a:schemeClr>
                </a:solidFill>
                <a:latin typeface="Verdana" panose="020B0604030504040204" pitchFamily="34" charset="0"/>
              </a:rPr>
            </a:b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Ex:</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That looks good (and is the </a:t>
            </a:r>
            <a:r>
              <a:rPr lang="en-US" sz="1200" dirty="0">
                <a:solidFill>
                  <a:schemeClr val="bg2">
                    <a:lumMod val="50000"/>
                    <a:lumOff val="50000"/>
                  </a:schemeClr>
                </a:solidFill>
                <a:latin typeface="Verdana" panose="020B0604030504040204" pitchFamily="34" charset="0"/>
                <a:hlinkClick r:id="rId3">
                  <a:extLst>
                    <a:ext uri="{A12FA001-AC4F-418D-AE19-62706E023703}">
                      <ahyp:hlinkClr xmlns:ahyp="http://schemas.microsoft.com/office/drawing/2018/hyperlinkcolor" val="tx"/>
                    </a:ext>
                  </a:extLst>
                </a:hlinkClick>
              </a:rPr>
              <a:t>Mean Deviation</a:t>
            </a:r>
            <a:r>
              <a:rPr lang="en-US" sz="1200" dirty="0">
                <a:solidFill>
                  <a:schemeClr val="bg2">
                    <a:lumMod val="50000"/>
                    <a:lumOff val="50000"/>
                  </a:schemeClr>
                </a:solidFill>
                <a:latin typeface="Verdana" panose="020B0604030504040204" pitchFamily="34" charset="0"/>
              </a:rPr>
              <a:t>), but what about this case:</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Ex:</a:t>
            </a:r>
          </a:p>
        </p:txBody>
      </p:sp>
      <p:pic>
        <p:nvPicPr>
          <p:cNvPr id="5" name="Picture 4">
            <a:extLst>
              <a:ext uri="{FF2B5EF4-FFF2-40B4-BE49-F238E27FC236}">
                <a16:creationId xmlns:a16="http://schemas.microsoft.com/office/drawing/2014/main" id="{46EF63B6-C861-4B4A-BA4A-3E222C70C7D5}"/>
              </a:ext>
            </a:extLst>
          </p:cNvPr>
          <p:cNvPicPr>
            <a:picLocks noChangeAspect="1"/>
          </p:cNvPicPr>
          <p:nvPr/>
        </p:nvPicPr>
        <p:blipFill>
          <a:blip r:embed="rId4"/>
          <a:stretch>
            <a:fillRect/>
          </a:stretch>
        </p:blipFill>
        <p:spPr>
          <a:xfrm>
            <a:off x="654172" y="868666"/>
            <a:ext cx="2130910" cy="880711"/>
          </a:xfrm>
          <a:prstGeom prst="rect">
            <a:avLst/>
          </a:prstGeom>
        </p:spPr>
      </p:pic>
      <p:pic>
        <p:nvPicPr>
          <p:cNvPr id="7" name="Picture 6">
            <a:extLst>
              <a:ext uri="{FF2B5EF4-FFF2-40B4-BE49-F238E27FC236}">
                <a16:creationId xmlns:a16="http://schemas.microsoft.com/office/drawing/2014/main" id="{FF31FC51-1BB6-4110-984E-4ADCFEAD3B9D}"/>
              </a:ext>
            </a:extLst>
          </p:cNvPr>
          <p:cNvPicPr>
            <a:picLocks noChangeAspect="1"/>
          </p:cNvPicPr>
          <p:nvPr/>
        </p:nvPicPr>
        <p:blipFill>
          <a:blip r:embed="rId4"/>
          <a:stretch>
            <a:fillRect/>
          </a:stretch>
        </p:blipFill>
        <p:spPr>
          <a:xfrm>
            <a:off x="654173" y="2183727"/>
            <a:ext cx="2130910" cy="1048037"/>
          </a:xfrm>
          <a:prstGeom prst="rect">
            <a:avLst/>
          </a:prstGeom>
        </p:spPr>
      </p:pic>
      <p:pic>
        <p:nvPicPr>
          <p:cNvPr id="9" name="Picture 8">
            <a:extLst>
              <a:ext uri="{FF2B5EF4-FFF2-40B4-BE49-F238E27FC236}">
                <a16:creationId xmlns:a16="http://schemas.microsoft.com/office/drawing/2014/main" id="{64CAF348-C2B3-4FF9-97C9-997DD4E807AA}"/>
              </a:ext>
            </a:extLst>
          </p:cNvPr>
          <p:cNvPicPr>
            <a:picLocks noChangeAspect="1"/>
          </p:cNvPicPr>
          <p:nvPr/>
        </p:nvPicPr>
        <p:blipFill>
          <a:blip r:embed="rId5"/>
          <a:stretch>
            <a:fillRect/>
          </a:stretch>
        </p:blipFill>
        <p:spPr>
          <a:xfrm>
            <a:off x="654173" y="3666113"/>
            <a:ext cx="2130910" cy="1111583"/>
          </a:xfrm>
          <a:prstGeom prst="rect">
            <a:avLst/>
          </a:prstGeom>
        </p:spPr>
      </p:pic>
    </p:spTree>
    <p:extLst>
      <p:ext uri="{BB962C8B-B14F-4D97-AF65-F5344CB8AC3E}">
        <p14:creationId xmlns:p14="http://schemas.microsoft.com/office/powerpoint/2010/main" val="1560366396"/>
      </p:ext>
    </p:extLst>
  </p:cSld>
  <p:clrMapOvr>
    <a:masterClrMapping/>
  </p:clrMapOvr>
  <p:transition spd="med">
    <p:wipe dir="r"/>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10AC9D2-C166-483A-A9F8-A47C63C5C8F9}"/>
              </a:ext>
            </a:extLst>
          </p:cNvPr>
          <p:cNvSpPr>
            <a:spLocks noGrp="1"/>
          </p:cNvSpPr>
          <p:nvPr>
            <p:ph type="title"/>
          </p:nvPr>
        </p:nvSpPr>
        <p:spPr>
          <a:xfrm>
            <a:off x="0" y="0"/>
            <a:ext cx="8229600" cy="637794"/>
          </a:xfrm>
        </p:spPr>
        <p:txBody>
          <a:bodyPr/>
          <a:lstStyle/>
          <a:p>
            <a:r>
              <a:rPr lang="en-US" dirty="0"/>
              <a:t>Why Square the difference ? - Continued </a:t>
            </a:r>
          </a:p>
        </p:txBody>
      </p:sp>
      <p:sp>
        <p:nvSpPr>
          <p:cNvPr id="4" name="TextBox 3">
            <a:extLst>
              <a:ext uri="{FF2B5EF4-FFF2-40B4-BE49-F238E27FC236}">
                <a16:creationId xmlns:a16="http://schemas.microsoft.com/office/drawing/2014/main" id="{F548E1AB-BBD9-419A-A5BF-9DF1DF5C418E}"/>
              </a:ext>
            </a:extLst>
          </p:cNvPr>
          <p:cNvSpPr txBox="1"/>
          <p:nvPr/>
        </p:nvSpPr>
        <p:spPr>
          <a:xfrm>
            <a:off x="97722" y="637794"/>
            <a:ext cx="7231438" cy="3970318"/>
          </a:xfrm>
          <a:prstGeom prst="rect">
            <a:avLst/>
          </a:prstGeom>
          <a:noFill/>
        </p:spPr>
        <p:txBody>
          <a:bodyPr wrap="square" rtlCol="0">
            <a:spAutoFit/>
          </a:bodyPr>
          <a:lstStyle/>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So let us try squaring each difference (and taking the square root at the end):</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That is nice! The Standard Deviation is bigger when the differences are more spread out ... just what we want.</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p:txBody>
      </p:sp>
      <p:pic>
        <p:nvPicPr>
          <p:cNvPr id="5" name="Picture 4">
            <a:extLst>
              <a:ext uri="{FF2B5EF4-FFF2-40B4-BE49-F238E27FC236}">
                <a16:creationId xmlns:a16="http://schemas.microsoft.com/office/drawing/2014/main" id="{EA9BD20E-FBEB-49E3-A54D-D22AB7DB24EA}"/>
              </a:ext>
            </a:extLst>
          </p:cNvPr>
          <p:cNvPicPr>
            <a:picLocks noChangeAspect="1"/>
          </p:cNvPicPr>
          <p:nvPr/>
        </p:nvPicPr>
        <p:blipFill>
          <a:blip r:embed="rId2"/>
          <a:stretch>
            <a:fillRect/>
          </a:stretch>
        </p:blipFill>
        <p:spPr>
          <a:xfrm>
            <a:off x="305891" y="967696"/>
            <a:ext cx="1439147" cy="2767590"/>
          </a:xfrm>
          <a:prstGeom prst="rect">
            <a:avLst/>
          </a:prstGeom>
        </p:spPr>
      </p:pic>
    </p:spTree>
    <p:extLst>
      <p:ext uri="{BB962C8B-B14F-4D97-AF65-F5344CB8AC3E}">
        <p14:creationId xmlns:p14="http://schemas.microsoft.com/office/powerpoint/2010/main" val="2153491599"/>
      </p:ext>
    </p:extLst>
  </p:cSld>
  <p:clrMapOvr>
    <a:masterClrMapping/>
  </p:clrMapOvr>
  <p:transition spd="med">
    <p:wipe dir="r"/>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72BBF-B8CB-4B04-883C-EAE35BBFAAEE}"/>
              </a:ext>
            </a:extLst>
          </p:cNvPr>
          <p:cNvSpPr>
            <a:spLocks noGrp="1"/>
          </p:cNvSpPr>
          <p:nvPr>
            <p:ph type="title"/>
          </p:nvPr>
        </p:nvSpPr>
        <p:spPr>
          <a:xfrm>
            <a:off x="0" y="0"/>
            <a:ext cx="8229600" cy="637794"/>
          </a:xfrm>
        </p:spPr>
        <p:txBody>
          <a:bodyPr/>
          <a:lstStyle/>
          <a:p>
            <a:r>
              <a:rPr lang="en-US" dirty="0"/>
              <a:t>Range of Standard Deviation/ Empirical Formula</a:t>
            </a:r>
          </a:p>
        </p:txBody>
      </p:sp>
      <p:sp>
        <p:nvSpPr>
          <p:cNvPr id="3" name="TextBox 2">
            <a:extLst>
              <a:ext uri="{FF2B5EF4-FFF2-40B4-BE49-F238E27FC236}">
                <a16:creationId xmlns:a16="http://schemas.microsoft.com/office/drawing/2014/main" id="{3DA067BC-3687-477F-9DC3-3BDF694F3DCD}"/>
              </a:ext>
            </a:extLst>
          </p:cNvPr>
          <p:cNvSpPr txBox="1"/>
          <p:nvPr/>
        </p:nvSpPr>
        <p:spPr>
          <a:xfrm>
            <a:off x="0" y="855069"/>
            <a:ext cx="8348262"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chemeClr val="bg2">
                    <a:lumMod val="50000"/>
                    <a:lumOff val="50000"/>
                  </a:schemeClr>
                </a:solidFill>
                <a:effectLst/>
                <a:latin typeface="Verdana" panose="020B0604030504040204" pitchFamily="34" charset="0"/>
              </a:rPr>
              <a:t>We can expect about 68% of values to be within plus-or-minus 1 standard deviation.</a:t>
            </a:r>
            <a:endParaRPr lang="en-US" sz="1400" dirty="0">
              <a:solidFill>
                <a:schemeClr val="bg2">
                  <a:lumMod val="50000"/>
                  <a:lumOff val="50000"/>
                </a:schemeClr>
              </a:solidFill>
              <a:latin typeface="+mn-lt"/>
            </a:endParaRPr>
          </a:p>
        </p:txBody>
      </p:sp>
      <p:pic>
        <p:nvPicPr>
          <p:cNvPr id="5" name="Picture 4">
            <a:extLst>
              <a:ext uri="{FF2B5EF4-FFF2-40B4-BE49-F238E27FC236}">
                <a16:creationId xmlns:a16="http://schemas.microsoft.com/office/drawing/2014/main" id="{79A5D72F-9407-40CB-B562-4DDFB8CB5986}"/>
              </a:ext>
            </a:extLst>
          </p:cNvPr>
          <p:cNvPicPr>
            <a:picLocks noChangeAspect="1"/>
          </p:cNvPicPr>
          <p:nvPr/>
        </p:nvPicPr>
        <p:blipFill>
          <a:blip r:embed="rId2"/>
          <a:stretch>
            <a:fillRect/>
          </a:stretch>
        </p:blipFill>
        <p:spPr>
          <a:xfrm>
            <a:off x="235035" y="1641788"/>
            <a:ext cx="4748795" cy="2515838"/>
          </a:xfrm>
          <a:prstGeom prst="rect">
            <a:avLst/>
          </a:prstGeom>
        </p:spPr>
      </p:pic>
      <p:sp>
        <p:nvSpPr>
          <p:cNvPr id="6" name="TextBox 5">
            <a:extLst>
              <a:ext uri="{FF2B5EF4-FFF2-40B4-BE49-F238E27FC236}">
                <a16:creationId xmlns:a16="http://schemas.microsoft.com/office/drawing/2014/main" id="{7A1F70E6-13D8-4A77-9FAF-ACD6F5789C79}"/>
              </a:ext>
            </a:extLst>
          </p:cNvPr>
          <p:cNvSpPr txBox="1"/>
          <p:nvPr/>
        </p:nvSpPr>
        <p:spPr>
          <a:xfrm>
            <a:off x="5060612" y="1354894"/>
            <a:ext cx="3925135" cy="3077766"/>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Verdana" panose="020B0604030504040204" pitchFamily="34" charset="0"/>
              </a:rPr>
              <a:t>Following the empirical rule:.</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marL="285750" indent="-285750">
              <a:spcBef>
                <a:spcPts val="0"/>
              </a:spcBef>
              <a:spcAft>
                <a:spcPts val="0"/>
              </a:spcAft>
              <a:buClr>
                <a:schemeClr val="bg1"/>
              </a:buClr>
              <a:buFont typeface="Wingdings" panose="05000000000000000000" pitchFamily="2" charset="2"/>
              <a:buChar char="q"/>
            </a:pPr>
            <a:r>
              <a:rPr lang="en-US" sz="1800" dirty="0">
                <a:solidFill>
                  <a:schemeClr val="bg2">
                    <a:lumMod val="50000"/>
                    <a:lumOff val="50000"/>
                  </a:schemeClr>
                </a:solidFill>
                <a:latin typeface="Verdana" panose="020B0604030504040204" pitchFamily="34" charset="0"/>
              </a:rPr>
              <a:t>Around 68% of scores are between 40 and 60</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marL="285750" indent="-285750">
              <a:spcBef>
                <a:spcPts val="0"/>
              </a:spcBef>
              <a:spcAft>
                <a:spcPts val="0"/>
              </a:spcAft>
              <a:buClr>
                <a:schemeClr val="bg1"/>
              </a:buClr>
              <a:buFont typeface="Wingdings" panose="05000000000000000000" pitchFamily="2" charset="2"/>
              <a:buChar char="q"/>
            </a:pPr>
            <a:r>
              <a:rPr lang="en-US" sz="1800" dirty="0">
                <a:solidFill>
                  <a:schemeClr val="bg2">
                    <a:lumMod val="50000"/>
                    <a:lumOff val="50000"/>
                  </a:schemeClr>
                </a:solidFill>
                <a:latin typeface="Verdana" panose="020B0604030504040204" pitchFamily="34" charset="0"/>
              </a:rPr>
              <a:t>Around 95% of scores are between 30 and 70</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marL="285750" indent="-285750">
              <a:spcBef>
                <a:spcPts val="0"/>
              </a:spcBef>
              <a:spcAft>
                <a:spcPts val="0"/>
              </a:spcAft>
              <a:buClr>
                <a:schemeClr val="bg1"/>
              </a:buClr>
              <a:buFont typeface="Wingdings" panose="05000000000000000000" pitchFamily="2" charset="2"/>
              <a:buChar char="q"/>
            </a:pPr>
            <a:r>
              <a:rPr lang="en-US" sz="1800" dirty="0">
                <a:solidFill>
                  <a:schemeClr val="bg2">
                    <a:lumMod val="50000"/>
                    <a:lumOff val="50000"/>
                  </a:schemeClr>
                </a:solidFill>
                <a:latin typeface="Verdana" panose="020B0604030504040204" pitchFamily="34" charset="0"/>
              </a:rPr>
              <a:t>Around 99.7% of scores are between 20 and 80.</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3825623888"/>
      </p:ext>
    </p:extLst>
  </p:cSld>
  <p:clrMapOvr>
    <a:masterClrMapping/>
  </p:clrMapOvr>
  <p:transition spd="med">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l PPT Theme_201609">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 PPT Theme_201609" id="{FF30C829-293E-4456-BF26-F010FAA61FD1}" vid="{671CC896-344E-4270-8267-102DA59EDDE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3612</TotalTime>
  <Words>14284</Words>
  <Application>Microsoft Office PowerPoint</Application>
  <PresentationFormat>On-screen Show (16:9)</PresentationFormat>
  <Paragraphs>1566</Paragraphs>
  <Slides>240</Slides>
  <Notes>13</Notes>
  <HiddenSlides>0</HiddenSlides>
  <MMClips>0</MMClips>
  <ScaleCrop>false</ScaleCrop>
  <HeadingPairs>
    <vt:vector size="8" baseType="variant">
      <vt:variant>
        <vt:lpstr>Fonts Used</vt:lpstr>
      </vt:variant>
      <vt:variant>
        <vt:i4>20</vt:i4>
      </vt:variant>
      <vt:variant>
        <vt:lpstr>Theme</vt:lpstr>
      </vt:variant>
      <vt:variant>
        <vt:i4>1</vt:i4>
      </vt:variant>
      <vt:variant>
        <vt:lpstr>Embedded OLE Servers</vt:lpstr>
      </vt:variant>
      <vt:variant>
        <vt:i4>1</vt:i4>
      </vt:variant>
      <vt:variant>
        <vt:lpstr>Slide Titles</vt:lpstr>
      </vt:variant>
      <vt:variant>
        <vt:i4>240</vt:i4>
      </vt:variant>
    </vt:vector>
  </HeadingPairs>
  <TitlesOfParts>
    <vt:vector size="262" baseType="lpstr">
      <vt:lpstr>champ</vt:lpstr>
      <vt:lpstr>Gilmer</vt:lpstr>
      <vt:lpstr>inherit</vt:lpstr>
      <vt:lpstr>Inter</vt:lpstr>
      <vt:lpstr>Museo For Dell 300</vt:lpstr>
      <vt:lpstr>museo sans for dell</vt:lpstr>
      <vt:lpstr>museo sans for dell</vt:lpstr>
      <vt:lpstr>proxima-nova</vt:lpstr>
      <vt:lpstr>Arial</vt:lpstr>
      <vt:lpstr>Arial Black</vt:lpstr>
      <vt:lpstr>Calibri</vt:lpstr>
      <vt:lpstr>Courier New</vt:lpstr>
      <vt:lpstr>Lato</vt:lpstr>
      <vt:lpstr>Open Sans</vt:lpstr>
      <vt:lpstr>PT Sans</vt:lpstr>
      <vt:lpstr>Raleway</vt:lpstr>
      <vt:lpstr>Roboto</vt:lpstr>
      <vt:lpstr>Times New Roman</vt:lpstr>
      <vt:lpstr>Verdana</vt:lpstr>
      <vt:lpstr>Wingdings</vt:lpstr>
      <vt:lpstr>Dell PPT Theme_201609</vt:lpstr>
      <vt:lpstr>think-cell Slide</vt:lpstr>
      <vt:lpstr>Statistics for  Data Science   </vt:lpstr>
      <vt:lpstr>What is Statistics ? </vt:lpstr>
      <vt:lpstr>Some examples of how statistics shape our life</vt:lpstr>
      <vt:lpstr>Worksheet</vt:lpstr>
      <vt:lpstr>Some statistical statements</vt:lpstr>
      <vt:lpstr>What is Statistics ? </vt:lpstr>
      <vt:lpstr>Terminology commonly used terminology in the discipline of statistics </vt:lpstr>
      <vt:lpstr>Types of Variables</vt:lpstr>
      <vt:lpstr>Quick exercise – Identify type of Data</vt:lpstr>
      <vt:lpstr>Worksheet</vt:lpstr>
      <vt:lpstr>Population &amp; Sample</vt:lpstr>
      <vt:lpstr>Worksheet</vt:lpstr>
      <vt:lpstr>Why Sample should be Random &amp; Representative? </vt:lpstr>
      <vt:lpstr>Bias in sampling : </vt:lpstr>
      <vt:lpstr>Worksheet</vt:lpstr>
      <vt:lpstr>PowerPoint Presentation</vt:lpstr>
      <vt:lpstr>Inferential Statistics</vt:lpstr>
      <vt:lpstr>Descriptive Statistics</vt:lpstr>
      <vt:lpstr>Descriptive Statistics – Example You’ve performed a survey to 40 respondents about their favorite car color. And now you have a spreadsheet with the results.</vt:lpstr>
      <vt:lpstr>Difference between Descriptive &amp; Inferential Statistics</vt:lpstr>
      <vt:lpstr>Independent, Dependent &amp; Control variable</vt:lpstr>
      <vt:lpstr>Types of Statistical Studies</vt:lpstr>
      <vt:lpstr>Understanding Observational Study &amp; Experiment              With an Example</vt:lpstr>
      <vt:lpstr>Understanding Observational Study &amp; Experiment              With an Example</vt:lpstr>
      <vt:lpstr>Understanding Observational Study &amp; Experiment              With an Example</vt:lpstr>
      <vt:lpstr>Control Experiment – drug test example</vt:lpstr>
      <vt:lpstr>Controlled Experiment</vt:lpstr>
      <vt:lpstr>Correlation and Causation</vt:lpstr>
      <vt:lpstr>Confounding Variable</vt:lpstr>
      <vt:lpstr>Confounding variable – another example</vt:lpstr>
      <vt:lpstr>What is hypothesis ? </vt:lpstr>
      <vt:lpstr>Blinding</vt:lpstr>
      <vt:lpstr>Double Blinding</vt:lpstr>
      <vt:lpstr>Why blinding is important in Statistics?</vt:lpstr>
      <vt:lpstr>Describing Data through Statistics   </vt:lpstr>
      <vt:lpstr>Measure of   Central Tendency   </vt:lpstr>
      <vt:lpstr>Finding Central Value</vt:lpstr>
      <vt:lpstr>Measure of Central Tendency</vt:lpstr>
      <vt:lpstr>Ready ??????????????</vt:lpstr>
      <vt:lpstr>Mean </vt:lpstr>
      <vt:lpstr>Median</vt:lpstr>
      <vt:lpstr>Median – Two middle numbers</vt:lpstr>
      <vt:lpstr>Mode</vt:lpstr>
      <vt:lpstr>Mode</vt:lpstr>
      <vt:lpstr>Grouping</vt:lpstr>
      <vt:lpstr>Grouping another example</vt:lpstr>
      <vt:lpstr>Outlier </vt:lpstr>
      <vt:lpstr>Outlier - continued</vt:lpstr>
      <vt:lpstr>Mean – Continued Different types of Mean</vt:lpstr>
      <vt:lpstr>Geometric Mean</vt:lpstr>
      <vt:lpstr>Harmonic Mean</vt:lpstr>
      <vt:lpstr>Harmonic Mean - Continued</vt:lpstr>
      <vt:lpstr>Harmonic Mean</vt:lpstr>
      <vt:lpstr>Conclusion : Mean, Median, Mode</vt:lpstr>
      <vt:lpstr>The Mean from a Frequency Table</vt:lpstr>
      <vt:lpstr>The Mean from a Frequency Table - Continued</vt:lpstr>
      <vt:lpstr>Another example of Mean from a Freq Table</vt:lpstr>
      <vt:lpstr>Weighted Mean</vt:lpstr>
      <vt:lpstr>Weighted Mean</vt:lpstr>
      <vt:lpstr>Weighted Mean – Example </vt:lpstr>
      <vt:lpstr>What if the weights don’t add to 1 ?</vt:lpstr>
      <vt:lpstr>What if the weights don’t add to 1 ?</vt:lpstr>
      <vt:lpstr>What if the weights don’t add to 1 ?</vt:lpstr>
      <vt:lpstr>What if the weights don’t add to 1 ?</vt:lpstr>
      <vt:lpstr>Weighted Mean : Summary</vt:lpstr>
      <vt:lpstr>Measure of   Variability   </vt:lpstr>
      <vt:lpstr>Measure of Variability </vt:lpstr>
      <vt:lpstr>Why does variability matters? </vt:lpstr>
      <vt:lpstr>Range</vt:lpstr>
      <vt:lpstr>Range can be misleading</vt:lpstr>
      <vt:lpstr>Quartiles</vt:lpstr>
      <vt:lpstr>Quartile</vt:lpstr>
      <vt:lpstr>Quartile</vt:lpstr>
      <vt:lpstr>How to find Q1, Q2, Q3 ? lets do a small example to get the understanding </vt:lpstr>
      <vt:lpstr>Interquartile Range</vt:lpstr>
      <vt:lpstr>Interquartile Range</vt:lpstr>
      <vt:lpstr>Interquartile Range</vt:lpstr>
      <vt:lpstr>Worksheet</vt:lpstr>
      <vt:lpstr>Box and Whiskers Plot</vt:lpstr>
      <vt:lpstr>Putting it all together – Quartiles &amp; Box and Whisker Plot</vt:lpstr>
      <vt:lpstr>Quartile – Five-number summary</vt:lpstr>
      <vt:lpstr>Mean Deviation</vt:lpstr>
      <vt:lpstr>Mean Deviation</vt:lpstr>
      <vt:lpstr>Mean Deviation</vt:lpstr>
      <vt:lpstr>Mean Deviation - Formula</vt:lpstr>
      <vt:lpstr>Mean Deviation – Real life example </vt:lpstr>
      <vt:lpstr>Mean Deviation – Ex continued</vt:lpstr>
      <vt:lpstr>Mean Deviation – A useful check</vt:lpstr>
      <vt:lpstr>Mean Deviation – A useful check</vt:lpstr>
      <vt:lpstr>Standard Deviation</vt:lpstr>
      <vt:lpstr>Variance - Ex</vt:lpstr>
      <vt:lpstr>Variance – Ex continued</vt:lpstr>
      <vt:lpstr>Standard Deviation </vt:lpstr>
      <vt:lpstr>Another Example – Standard Deviation </vt:lpstr>
      <vt:lpstr>Standard Deviation – Population &amp; Sample</vt:lpstr>
      <vt:lpstr>Standard Deviation - Formula</vt:lpstr>
      <vt:lpstr>Why Square the difference ? </vt:lpstr>
      <vt:lpstr>Why Square the difference ? - Continued </vt:lpstr>
      <vt:lpstr>Range of Standard Deviation/ Empirical Formula</vt:lpstr>
      <vt:lpstr>Coefficient of Variance (CV)</vt:lpstr>
      <vt:lpstr>Example :   The CV is particularly useful when you want to compare results from two different surveys or tests that have different measures or values. For example, if you are comparing the results from two tests that have different scoring mechanisms. </vt:lpstr>
      <vt:lpstr>Standard deviation - Example</vt:lpstr>
      <vt:lpstr>Standard Scores – Z score</vt:lpstr>
      <vt:lpstr>Standard Scores – Z score</vt:lpstr>
      <vt:lpstr>Histograms</vt:lpstr>
      <vt:lpstr>Histograms</vt:lpstr>
      <vt:lpstr>Difference between Bar chart and Histogram? </vt:lpstr>
      <vt:lpstr>Frequency Histogram</vt:lpstr>
      <vt:lpstr>Normal Distribution</vt:lpstr>
      <vt:lpstr>Normal Distribution - Continued</vt:lpstr>
      <vt:lpstr>Correlation</vt:lpstr>
      <vt:lpstr>Correlation Coefficient</vt:lpstr>
      <vt:lpstr>Correlation - continued</vt:lpstr>
      <vt:lpstr>Correlation is NOT Causation</vt:lpstr>
      <vt:lpstr>Correlation is NOT Causation</vt:lpstr>
      <vt:lpstr>Correlation is NOT Causation – A real case</vt:lpstr>
      <vt:lpstr>Skewness</vt:lpstr>
      <vt:lpstr>Skewness</vt:lpstr>
      <vt:lpstr>Kurtosis</vt:lpstr>
      <vt:lpstr>Kurtosis - Leptokurtic (kurtosis &gt; 3)</vt:lpstr>
      <vt:lpstr>Kurtosis - Platykurtic (kurtosis &lt; 3)</vt:lpstr>
      <vt:lpstr>Kurtosis - Mesokurtic (kurtosis = 3)</vt:lpstr>
      <vt:lpstr>Skewness - Summary</vt:lpstr>
      <vt:lpstr>Central Limit Theorem</vt:lpstr>
      <vt:lpstr>Central Limit Theorem</vt:lpstr>
      <vt:lpstr>Central Limit Theorem</vt:lpstr>
      <vt:lpstr>Central Limit Theorem</vt:lpstr>
      <vt:lpstr>Central Limit Theorem</vt:lpstr>
      <vt:lpstr>Why CLT is important ? </vt:lpstr>
      <vt:lpstr>Probability</vt:lpstr>
      <vt:lpstr>Probability</vt:lpstr>
      <vt:lpstr>Probability Example</vt:lpstr>
      <vt:lpstr>Probability Line</vt:lpstr>
      <vt:lpstr>Probability - Words</vt:lpstr>
      <vt:lpstr>Probability - Words</vt:lpstr>
      <vt:lpstr>Probability - Words</vt:lpstr>
      <vt:lpstr>Probability - Words</vt:lpstr>
      <vt:lpstr>Probability - Words</vt:lpstr>
      <vt:lpstr>Probability – Let’s use the words</vt:lpstr>
      <vt:lpstr>Basic Counting Principle</vt:lpstr>
      <vt:lpstr>Basic Counting Principle</vt:lpstr>
      <vt:lpstr>Basic Counting Principle – Ex continued</vt:lpstr>
      <vt:lpstr>Independent or Dependent </vt:lpstr>
      <vt:lpstr>Independent or Dependent – Ex continued </vt:lpstr>
      <vt:lpstr>Mutually Exclusive Events</vt:lpstr>
      <vt:lpstr>Mutually Exclusive Events</vt:lpstr>
      <vt:lpstr>Mutually Exclusive Events</vt:lpstr>
      <vt:lpstr>Mutually Exclusive Events</vt:lpstr>
      <vt:lpstr>Mutually exclusive events</vt:lpstr>
      <vt:lpstr>When events are not Mutually exclusive – be careful in calculation !! </vt:lpstr>
      <vt:lpstr>When events are not Mutually exclusive – be careful in calculation !!</vt:lpstr>
      <vt:lpstr>Conditional Probability </vt:lpstr>
      <vt:lpstr>Conditional Probability – Example 2  </vt:lpstr>
      <vt:lpstr>Conditional Probability</vt:lpstr>
      <vt:lpstr>Conditional Probability</vt:lpstr>
      <vt:lpstr>Confusion Matrix</vt:lpstr>
      <vt:lpstr>Confusion Matrix</vt:lpstr>
      <vt:lpstr>Confusion Matrix</vt:lpstr>
      <vt:lpstr>Example : Allergy or Not ? </vt:lpstr>
      <vt:lpstr>Question :  </vt:lpstr>
      <vt:lpstr>Solution 1 : Imagine a thousand people</vt:lpstr>
      <vt:lpstr>Solution 2 : Tree Diagram </vt:lpstr>
      <vt:lpstr>Bayes Theorem – When to apply ? </vt:lpstr>
      <vt:lpstr>Bayes theorem</vt:lpstr>
      <vt:lpstr>Bayes theorem - continued</vt:lpstr>
      <vt:lpstr>Bayes theorem – Example 1 </vt:lpstr>
      <vt:lpstr>Bayes theorem – Example 1 </vt:lpstr>
      <vt:lpstr>Bayes theorem – Example 1 </vt:lpstr>
      <vt:lpstr>Bayes theorem – Example 1 </vt:lpstr>
      <vt:lpstr>Bayes theorem – Example 2 </vt:lpstr>
      <vt:lpstr>Solution 3: Hunter’s test &gt; Bayes Theorem</vt:lpstr>
      <vt:lpstr>Solution 3 : Bayes Theorem</vt:lpstr>
      <vt:lpstr>Random Variable</vt:lpstr>
      <vt:lpstr>Random Variable</vt:lpstr>
      <vt:lpstr>Sample Space</vt:lpstr>
      <vt:lpstr>Probability</vt:lpstr>
      <vt:lpstr>Probability - Continued</vt:lpstr>
      <vt:lpstr>Random Variable – Discrete data</vt:lpstr>
      <vt:lpstr>Random Variable – Continuous data</vt:lpstr>
      <vt:lpstr>Confidence Intervals</vt:lpstr>
      <vt:lpstr>Calculating the Confidence Interval</vt:lpstr>
      <vt:lpstr>Calculating the Confidence Interval</vt:lpstr>
      <vt:lpstr>Calculating the Confidence Interval</vt:lpstr>
      <vt:lpstr>Calculating the Confidence Interval</vt:lpstr>
      <vt:lpstr>Calculating the Confidence Interval</vt:lpstr>
      <vt:lpstr>Example 2 : Apple Orchid</vt:lpstr>
      <vt:lpstr>Example 2 : Apple Orchid</vt:lpstr>
      <vt:lpstr>Example 2 : Apple Orchid – True Mean</vt:lpstr>
      <vt:lpstr>Example 2 : Apple Orchid – True Mean</vt:lpstr>
      <vt:lpstr>Example 2 : Apple Orchid – True Mean</vt:lpstr>
      <vt:lpstr>Sampling Techniques</vt:lpstr>
      <vt:lpstr>Importance of p-Value</vt:lpstr>
      <vt:lpstr>Importance of p-Value</vt:lpstr>
      <vt:lpstr>Importance of p-Value</vt:lpstr>
      <vt:lpstr>Linear Algebra     </vt:lpstr>
      <vt:lpstr>Linear Algebra</vt:lpstr>
      <vt:lpstr>Data representation : examples</vt:lpstr>
      <vt:lpstr>Hypothesis Testing     </vt:lpstr>
      <vt:lpstr>Hypothesis testing</vt:lpstr>
      <vt:lpstr>Hypothesis Testing </vt:lpstr>
      <vt:lpstr>Hypothesis Testing</vt:lpstr>
      <vt:lpstr>Characteristics of Hypothesis</vt:lpstr>
      <vt:lpstr>Null hypothesis</vt:lpstr>
      <vt:lpstr>Alternate Hypothesis</vt:lpstr>
      <vt:lpstr>Level of Significance and Confidence Interval</vt:lpstr>
      <vt:lpstr>Risk of rejecting a Null Hypothesis</vt:lpstr>
      <vt:lpstr>Type 1 &amp; Type 2 Error</vt:lpstr>
      <vt:lpstr>Two Tailed Test @ 5% Significance Level</vt:lpstr>
      <vt:lpstr>Hypothesis Testing Examples</vt:lpstr>
      <vt:lpstr>Hypothesis Testing - Steps</vt:lpstr>
      <vt:lpstr>Hypothesis testing : Example 1</vt:lpstr>
      <vt:lpstr>Hypothesis testing : Example 1</vt:lpstr>
      <vt:lpstr>Hypothesis testing : Example 1</vt:lpstr>
      <vt:lpstr>Hypothesis testing : Example 1</vt:lpstr>
      <vt:lpstr>Hypothesis testing : Example 1</vt:lpstr>
      <vt:lpstr>Hypothesis testing : Example 1</vt:lpstr>
      <vt:lpstr>Hypothesis testing : Example 2</vt:lpstr>
      <vt:lpstr>Hypothesis testing : Example 2</vt:lpstr>
      <vt:lpstr>Hypothesis testing : Example 2</vt:lpstr>
      <vt:lpstr>Hypothesis testing : Example 2</vt:lpstr>
      <vt:lpstr>Hypothesis testing : Example 2</vt:lpstr>
      <vt:lpstr>Important Takeaways</vt:lpstr>
      <vt:lpstr>Important Takeaways</vt:lpstr>
      <vt:lpstr>Important Takeaways</vt:lpstr>
      <vt:lpstr>PowerPoint Presentation</vt:lpstr>
      <vt:lpstr>Chi – Square Test - Example </vt:lpstr>
      <vt:lpstr>Chi – Square Test - Example </vt:lpstr>
      <vt:lpstr>Chi – Square Test - Example </vt:lpstr>
      <vt:lpstr>Chi – Square Test - Example </vt:lpstr>
      <vt:lpstr>Chi – Square Test - Example </vt:lpstr>
      <vt:lpstr>ANOVA   </vt:lpstr>
      <vt:lpstr>ANOVA test – Analysis of variance test</vt:lpstr>
      <vt:lpstr>PowerPoint Presentation</vt:lpstr>
      <vt:lpstr>Percentiles</vt:lpstr>
      <vt:lpstr>Why Statistics is Important?</vt:lpstr>
      <vt:lpstr>Standard error</vt:lpstr>
      <vt:lpstr>Standard error example</vt:lpstr>
      <vt:lpstr>Standard Scores</vt:lpstr>
      <vt:lpstr>Pearson correlation coefficient</vt:lpstr>
      <vt:lpstr>Sampling different types</vt:lpstr>
    </vt:vector>
  </TitlesOfParts>
  <Company>Dell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un_r2@dell.com</dc:creator>
  <cp:keywords>Internal Use</cp:keywords>
  <cp:lastModifiedBy>R2, Arun</cp:lastModifiedBy>
  <cp:revision>500</cp:revision>
  <dcterms:created xsi:type="dcterms:W3CDTF">2016-10-16T11:20:54Z</dcterms:created>
  <dcterms:modified xsi:type="dcterms:W3CDTF">2022-02-13T16:25: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c7d0e0ab-4d80-4e64-940a-7bb474d0a4c0</vt:lpwstr>
  </property>
  <property fmtid="{D5CDD505-2E9C-101B-9397-08002B2CF9AE}" pid="3" name="DellClassification">
    <vt:lpwstr>Internal Use</vt:lpwstr>
  </property>
  <property fmtid="{D5CDD505-2E9C-101B-9397-08002B2CF9AE}" pid="4" name="DellSubLabels">
    <vt:lpwstr/>
  </property>
  <property fmtid="{D5CDD505-2E9C-101B-9397-08002B2CF9AE}" pid="5" name="DellVisual Markings (PPT)">
    <vt:lpwstr>Classification Footer</vt:lpwstr>
  </property>
  <property fmtid="{D5CDD505-2E9C-101B-9397-08002B2CF9AE}" pid="6" name="titusconfig">
    <vt:lpwstr>1.3APJ</vt:lpwstr>
  </property>
  <property fmtid="{D5CDD505-2E9C-101B-9397-08002B2CF9AE}" pid="7" name="MSIP_Label_7de70ee2-0cb4-4d60-aee5-75ef2c4c8a90_Enabled">
    <vt:lpwstr>True</vt:lpwstr>
  </property>
  <property fmtid="{D5CDD505-2E9C-101B-9397-08002B2CF9AE}" pid="8" name="MSIP_Label_7de70ee2-0cb4-4d60-aee5-75ef2c4c8a90_SiteId">
    <vt:lpwstr>945c199a-83a2-4e80-9f8c-5a91be5752dd</vt:lpwstr>
  </property>
  <property fmtid="{D5CDD505-2E9C-101B-9397-08002B2CF9AE}" pid="9" name="MSIP_Label_7de70ee2-0cb4-4d60-aee5-75ef2c4c8a90_Owner">
    <vt:lpwstr>Aphidalin_Syiemlieh@DELL.com</vt:lpwstr>
  </property>
  <property fmtid="{D5CDD505-2E9C-101B-9397-08002B2CF9AE}" pid="10" name="MSIP_Label_7de70ee2-0cb4-4d60-aee5-75ef2c4c8a90_SetDate">
    <vt:lpwstr>2019-06-10T23:10:14.0206521Z</vt:lpwstr>
  </property>
  <property fmtid="{D5CDD505-2E9C-101B-9397-08002B2CF9AE}" pid="11" name="MSIP_Label_7de70ee2-0cb4-4d60-aee5-75ef2c4c8a90_Name">
    <vt:lpwstr>Internal Use</vt:lpwstr>
  </property>
  <property fmtid="{D5CDD505-2E9C-101B-9397-08002B2CF9AE}" pid="12" name="MSIP_Label_7de70ee2-0cb4-4d60-aee5-75ef2c4c8a90_Application">
    <vt:lpwstr>Microsoft Azure Information Protection</vt:lpwstr>
  </property>
  <property fmtid="{D5CDD505-2E9C-101B-9397-08002B2CF9AE}" pid="13" name="MSIP_Label_7de70ee2-0cb4-4d60-aee5-75ef2c4c8a90_Extended_MSFT_Method">
    <vt:lpwstr>Manual</vt:lpwstr>
  </property>
  <property fmtid="{D5CDD505-2E9C-101B-9397-08002B2CF9AE}" pid="14" name="MSIP_Label_da6fab74-d5af-4af7-a9a4-78d84655a626_Enabled">
    <vt:lpwstr>True</vt:lpwstr>
  </property>
  <property fmtid="{D5CDD505-2E9C-101B-9397-08002B2CF9AE}" pid="15" name="MSIP_Label_da6fab74-d5af-4af7-a9a4-78d84655a626_SiteId">
    <vt:lpwstr>945c199a-83a2-4e80-9f8c-5a91be5752dd</vt:lpwstr>
  </property>
  <property fmtid="{D5CDD505-2E9C-101B-9397-08002B2CF9AE}" pid="16" name="MSIP_Label_da6fab74-d5af-4af7-a9a4-78d84655a626_Owner">
    <vt:lpwstr>Aphidalin_Syiemlieh@DELL.com</vt:lpwstr>
  </property>
  <property fmtid="{D5CDD505-2E9C-101B-9397-08002B2CF9AE}" pid="17" name="MSIP_Label_da6fab74-d5af-4af7-a9a4-78d84655a626_SetDate">
    <vt:lpwstr>2019-06-10T23:10:14.0206521Z</vt:lpwstr>
  </property>
  <property fmtid="{D5CDD505-2E9C-101B-9397-08002B2CF9AE}" pid="18" name="MSIP_Label_da6fab74-d5af-4af7-a9a4-78d84655a626_Name">
    <vt:lpwstr>Visual Marking</vt:lpwstr>
  </property>
  <property fmtid="{D5CDD505-2E9C-101B-9397-08002B2CF9AE}" pid="19" name="MSIP_Label_da6fab74-d5af-4af7-a9a4-78d84655a626_Application">
    <vt:lpwstr>Microsoft Azure Information Protection</vt:lpwstr>
  </property>
  <property fmtid="{D5CDD505-2E9C-101B-9397-08002B2CF9AE}" pid="20" name="MSIP_Label_da6fab74-d5af-4af7-a9a4-78d84655a626_Parent">
    <vt:lpwstr>7de70ee2-0cb4-4d60-aee5-75ef2c4c8a90</vt:lpwstr>
  </property>
  <property fmtid="{D5CDD505-2E9C-101B-9397-08002B2CF9AE}" pid="21" name="MSIP_Label_da6fab74-d5af-4af7-a9a4-78d84655a626_Extended_MSFT_Method">
    <vt:lpwstr>Manual</vt:lpwstr>
  </property>
  <property fmtid="{D5CDD505-2E9C-101B-9397-08002B2CF9AE}" pid="22" name="aiplabel">
    <vt:lpwstr>Internal Use Visual Marking</vt:lpwstr>
  </property>
</Properties>
</file>